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3.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4.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7.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8.xml" ContentType="application/vnd.openxmlformats-officedocument.them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8" r:id="rId2"/>
    <p:sldMasterId id="2147483750" r:id="rId3"/>
    <p:sldMasterId id="2147483791" r:id="rId4"/>
    <p:sldMasterId id="2147483831" r:id="rId5"/>
    <p:sldMasterId id="2147483872" r:id="rId6"/>
    <p:sldMasterId id="2147483911" r:id="rId7"/>
    <p:sldMasterId id="2147483960" r:id="rId8"/>
    <p:sldMasterId id="2147484005" r:id="rId9"/>
  </p:sldMasterIdLst>
  <p:notesMasterIdLst>
    <p:notesMasterId r:id="rId41"/>
  </p:notesMasterIdLst>
  <p:sldIdLst>
    <p:sldId id="657" r:id="rId10"/>
    <p:sldId id="795" r:id="rId11"/>
    <p:sldId id="796" r:id="rId12"/>
    <p:sldId id="792" r:id="rId13"/>
    <p:sldId id="762" r:id="rId14"/>
    <p:sldId id="607" r:id="rId15"/>
    <p:sldId id="761" r:id="rId16"/>
    <p:sldId id="608" r:id="rId17"/>
    <p:sldId id="610" r:id="rId18"/>
    <p:sldId id="766" r:id="rId19"/>
    <p:sldId id="791" r:id="rId20"/>
    <p:sldId id="790" r:id="rId21"/>
    <p:sldId id="797" r:id="rId22"/>
    <p:sldId id="798" r:id="rId23"/>
    <p:sldId id="799" r:id="rId24"/>
    <p:sldId id="777" r:id="rId25"/>
    <p:sldId id="706" r:id="rId26"/>
    <p:sldId id="708" r:id="rId27"/>
    <p:sldId id="768" r:id="rId28"/>
    <p:sldId id="769" r:id="rId29"/>
    <p:sldId id="832" r:id="rId30"/>
    <p:sldId id="833" r:id="rId31"/>
    <p:sldId id="625" r:id="rId32"/>
    <p:sldId id="635" r:id="rId33"/>
    <p:sldId id="637" r:id="rId34"/>
    <p:sldId id="715" r:id="rId35"/>
    <p:sldId id="636" r:id="rId36"/>
    <p:sldId id="669" r:id="rId37"/>
    <p:sldId id="788" r:id="rId38"/>
    <p:sldId id="713" r:id="rId39"/>
    <p:sldId id="824" r:id="rId40"/>
  </p:sldIdLst>
  <p:sldSz cx="12192000" cy="6858000"/>
  <p:notesSz cx="6858000" cy="9144000"/>
  <p:defaultTextStyle>
    <a:defPPr>
      <a:defRPr lang="en-US"/>
    </a:defPPr>
    <a:lvl1pPr marL="0" algn="l" defTabSz="914309" rtl="0" eaLnBrk="1" latinLnBrk="0" hangingPunct="1">
      <a:defRPr sz="1900" kern="1200">
        <a:solidFill>
          <a:schemeClr val="tx1"/>
        </a:solidFill>
        <a:latin typeface="+mn-lt"/>
        <a:ea typeface="+mn-ea"/>
        <a:cs typeface="+mn-cs"/>
      </a:defRPr>
    </a:lvl1pPr>
    <a:lvl2pPr marL="457155"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4" algn="l" defTabSz="914309" rtl="0" eaLnBrk="1" latinLnBrk="0" hangingPunct="1">
      <a:defRPr sz="1900" kern="1200">
        <a:solidFill>
          <a:schemeClr val="tx1"/>
        </a:solidFill>
        <a:latin typeface="+mn-lt"/>
        <a:ea typeface="+mn-ea"/>
        <a:cs typeface="+mn-cs"/>
      </a:defRPr>
    </a:lvl4pPr>
    <a:lvl5pPr marL="1828618" algn="l" defTabSz="914309" rtl="0" eaLnBrk="1" latinLnBrk="0" hangingPunct="1">
      <a:defRPr sz="1900" kern="1200">
        <a:solidFill>
          <a:schemeClr val="tx1"/>
        </a:solidFill>
        <a:latin typeface="+mn-lt"/>
        <a:ea typeface="+mn-ea"/>
        <a:cs typeface="+mn-cs"/>
      </a:defRPr>
    </a:lvl5pPr>
    <a:lvl6pPr marL="2285774"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5" algn="l" defTabSz="914309"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exander Langlais -X (alanglai - BASIC SOLUTIONS CORP at Cisco)" initials="AL-(-BSCaC"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7C80"/>
    <a:srgbClr val="F8F69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6933" autoAdjust="0"/>
    <p:restoredTop sz="86349" autoAdjust="0"/>
  </p:normalViewPr>
  <p:slideViewPr>
    <p:cSldViewPr snapToGrid="0">
      <p:cViewPr varScale="1">
        <p:scale>
          <a:sx n="110" d="100"/>
          <a:sy n="110" d="100"/>
        </p:scale>
        <p:origin x="1464" y="16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commentAuthors" Target="commen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presProps" Target="presProp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59FB6A-B474-4413-A391-BDB6E25FFA79}" type="datetimeFigureOut">
              <a:rPr lang="en-US" smtClean="0"/>
              <a:t>10/15/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DDC914-9A03-48B0-A98F-A98F30F05B28}" type="slidenum">
              <a:rPr lang="en-US" smtClean="0"/>
              <a:t>‹#›</a:t>
            </a:fld>
            <a:endParaRPr lang="en-US"/>
          </a:p>
        </p:txBody>
      </p:sp>
    </p:spTree>
    <p:extLst>
      <p:ext uri="{BB962C8B-B14F-4D97-AF65-F5344CB8AC3E}">
        <p14:creationId xmlns:p14="http://schemas.microsoft.com/office/powerpoint/2010/main" val="539337678"/>
      </p:ext>
    </p:extLst>
  </p:cSld>
  <p:clrMap bg1="lt1" tx1="dk1" bg2="lt2" tx2="dk2" accent1="accent1" accent2="accent2" accent3="accent3" accent4="accent4" accent5="accent5" accent6="accent6" hlink="hlink" folHlink="folHlink"/>
  <p:notesStyle>
    <a:lvl1pPr marL="0" algn="l" defTabSz="914309" rtl="0" eaLnBrk="1" latinLnBrk="0" hangingPunct="1">
      <a:defRPr sz="1200" kern="1200">
        <a:solidFill>
          <a:schemeClr val="tx1"/>
        </a:solidFill>
        <a:latin typeface="+mn-lt"/>
        <a:ea typeface="+mn-ea"/>
        <a:cs typeface="+mn-cs"/>
      </a:defRPr>
    </a:lvl1pPr>
    <a:lvl2pPr marL="457155" algn="l" defTabSz="914309" rtl="0" eaLnBrk="1" latinLnBrk="0" hangingPunct="1">
      <a:defRPr sz="1200" kern="1200">
        <a:solidFill>
          <a:schemeClr val="tx1"/>
        </a:solidFill>
        <a:latin typeface="+mn-lt"/>
        <a:ea typeface="+mn-ea"/>
        <a:cs typeface="+mn-cs"/>
      </a:defRPr>
    </a:lvl2pPr>
    <a:lvl3pPr marL="914309" algn="l" defTabSz="914309" rtl="0" eaLnBrk="1" latinLnBrk="0" hangingPunct="1">
      <a:defRPr sz="1200" kern="1200">
        <a:solidFill>
          <a:schemeClr val="tx1"/>
        </a:solidFill>
        <a:latin typeface="+mn-lt"/>
        <a:ea typeface="+mn-ea"/>
        <a:cs typeface="+mn-cs"/>
      </a:defRPr>
    </a:lvl3pPr>
    <a:lvl4pPr marL="1371464" algn="l" defTabSz="914309" rtl="0" eaLnBrk="1" latinLnBrk="0" hangingPunct="1">
      <a:defRPr sz="1200" kern="1200">
        <a:solidFill>
          <a:schemeClr val="tx1"/>
        </a:solidFill>
        <a:latin typeface="+mn-lt"/>
        <a:ea typeface="+mn-ea"/>
        <a:cs typeface="+mn-cs"/>
      </a:defRPr>
    </a:lvl4pPr>
    <a:lvl5pPr marL="1828618" algn="l" defTabSz="914309" rtl="0" eaLnBrk="1" latinLnBrk="0" hangingPunct="1">
      <a:defRPr sz="1200" kern="1200">
        <a:solidFill>
          <a:schemeClr val="tx1"/>
        </a:solidFill>
        <a:latin typeface="+mn-lt"/>
        <a:ea typeface="+mn-ea"/>
        <a:cs typeface="+mn-cs"/>
      </a:defRPr>
    </a:lvl5pPr>
    <a:lvl6pPr marL="2285774" algn="l" defTabSz="914309" rtl="0" eaLnBrk="1" latinLnBrk="0" hangingPunct="1">
      <a:defRPr sz="1200" kern="1200">
        <a:solidFill>
          <a:schemeClr val="tx1"/>
        </a:solidFill>
        <a:latin typeface="+mn-lt"/>
        <a:ea typeface="+mn-ea"/>
        <a:cs typeface="+mn-cs"/>
      </a:defRPr>
    </a:lvl6pPr>
    <a:lvl7pPr marL="2742926" algn="l" defTabSz="914309" rtl="0" eaLnBrk="1" latinLnBrk="0" hangingPunct="1">
      <a:defRPr sz="1200" kern="1200">
        <a:solidFill>
          <a:schemeClr val="tx1"/>
        </a:solidFill>
        <a:latin typeface="+mn-lt"/>
        <a:ea typeface="+mn-ea"/>
        <a:cs typeface="+mn-cs"/>
      </a:defRPr>
    </a:lvl7pPr>
    <a:lvl8pPr marL="3200080" algn="l" defTabSz="914309" rtl="0" eaLnBrk="1" latinLnBrk="0" hangingPunct="1">
      <a:defRPr sz="1200" kern="1200">
        <a:solidFill>
          <a:schemeClr val="tx1"/>
        </a:solidFill>
        <a:latin typeface="+mn-lt"/>
        <a:ea typeface="+mn-ea"/>
        <a:cs typeface="+mn-cs"/>
      </a:defRPr>
    </a:lvl8pPr>
    <a:lvl9pPr marL="3657235" algn="l" defTabSz="91430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7168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7168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07D59DEB-6CFF-4EEE-AB00-E7E4E500712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1</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Header Placeholder 4"/>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isco Live 2014</a:t>
            </a:r>
          </a:p>
        </p:txBody>
      </p:sp>
      <p:sp>
        <p:nvSpPr>
          <p:cNvPr id="71686"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6E58CB90-3E84-0847-B828-476C88B82865}" type="datetime1">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15/10/201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4732967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7168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7168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07D59DEB-6CFF-4EEE-AB00-E7E4E500712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31</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Header Placeholder 4"/>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isco Live 2014</a:t>
            </a:r>
          </a:p>
        </p:txBody>
      </p:sp>
      <p:sp>
        <p:nvSpPr>
          <p:cNvPr id="71686"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6E58CB90-3E84-0847-B828-476C88B82865}" type="datetime1">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15/10/201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666758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7168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7168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07D59DEB-6CFF-4EEE-AB00-E7E4E500712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2</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Header Placeholder 4"/>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isco Live 2014</a:t>
            </a:r>
          </a:p>
        </p:txBody>
      </p:sp>
      <p:sp>
        <p:nvSpPr>
          <p:cNvPr id="71686"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6E58CB90-3E84-0847-B828-476C88B82865}" type="datetime1">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15/10/201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6565311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7168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7168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07D59DEB-6CFF-4EEE-AB00-E7E4E500712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4</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Header Placeholder 4"/>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isco Live 2014</a:t>
            </a:r>
          </a:p>
        </p:txBody>
      </p:sp>
      <p:sp>
        <p:nvSpPr>
          <p:cNvPr id="71686"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6E58CB90-3E84-0847-B828-476C88B82865}" type="datetime1">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15/10/201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5576041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7168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7168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07D59DEB-6CFF-4EEE-AB00-E7E4E500712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11</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Header Placeholder 4"/>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isco Live 2014</a:t>
            </a:r>
          </a:p>
        </p:txBody>
      </p:sp>
      <p:sp>
        <p:nvSpPr>
          <p:cNvPr id="71686"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6E58CB90-3E84-0847-B828-476C88B82865}" type="datetime1">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15/10/201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706989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7168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7168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07D59DEB-6CFF-4EEE-AB00-E7E4E500712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1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Header Placeholder 4"/>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isco Live 2014</a:t>
            </a:r>
          </a:p>
        </p:txBody>
      </p:sp>
      <p:sp>
        <p:nvSpPr>
          <p:cNvPr id="71686"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6E58CB90-3E84-0847-B828-476C88B82865}" type="datetime1">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15/10/201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5527941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DDC914-9A03-48B0-A98F-A98F30F05B28}" type="slidenum">
              <a:rPr lang="en-US" smtClean="0"/>
              <a:t>19</a:t>
            </a:fld>
            <a:endParaRPr lang="en-US"/>
          </a:p>
        </p:txBody>
      </p:sp>
    </p:spTree>
    <p:extLst>
      <p:ext uri="{BB962C8B-B14F-4D97-AF65-F5344CB8AC3E}">
        <p14:creationId xmlns:p14="http://schemas.microsoft.com/office/powerpoint/2010/main" val="1814179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7168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7168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07D59DEB-6CFF-4EEE-AB00-E7E4E500712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23</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Header Placeholder 4"/>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isco Live 2014</a:t>
            </a:r>
          </a:p>
        </p:txBody>
      </p:sp>
      <p:sp>
        <p:nvSpPr>
          <p:cNvPr id="71686" name="Date Placeholder 5"/>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6E58CB90-3E84-0847-B828-476C88B82865}" type="datetime1">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685800" rtl="0" eaLnBrk="1" fontAlgn="auto" latinLnBrk="0" hangingPunct="1">
                <a:lnSpc>
                  <a:spcPct val="100000"/>
                </a:lnSpc>
                <a:spcBef>
                  <a:spcPct val="0"/>
                </a:spcBef>
                <a:spcAft>
                  <a:spcPts val="0"/>
                </a:spcAft>
                <a:buClrTx/>
                <a:buSzTx/>
                <a:buFontTx/>
                <a:buNone/>
                <a:tabLst/>
                <a:defRPr/>
              </a:pPr>
              <a:t>15/10/201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9803070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DDC914-9A03-48B0-A98F-A98F30F05B28}" type="slidenum">
              <a:rPr lang="en-US" smtClean="0"/>
              <a:t>28</a:t>
            </a:fld>
            <a:endParaRPr lang="en-US"/>
          </a:p>
        </p:txBody>
      </p:sp>
    </p:spTree>
    <p:extLst>
      <p:ext uri="{BB962C8B-B14F-4D97-AF65-F5344CB8AC3E}">
        <p14:creationId xmlns:p14="http://schemas.microsoft.com/office/powerpoint/2010/main" val="33428888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DDC914-9A03-48B0-A98F-A98F30F05B28}" type="slidenum">
              <a:rPr lang="en-US" smtClean="0"/>
              <a:t>29</a:t>
            </a:fld>
            <a:endParaRPr lang="en-US"/>
          </a:p>
        </p:txBody>
      </p:sp>
    </p:spTree>
    <p:extLst>
      <p:ext uri="{BB962C8B-B14F-4D97-AF65-F5344CB8AC3E}">
        <p14:creationId xmlns:p14="http://schemas.microsoft.com/office/powerpoint/2010/main" val="19059338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tif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2.tiff"/><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tiff"/><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tiff"/><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4.bin"/></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2.emf"/><Relationship Id="rId4" Type="http://schemas.openxmlformats.org/officeDocument/2006/relationships/oleObject" Target="../embeddings/oleObject5.bin"/></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6.jpg"/><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3_Title Slide-animated gradient">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7216" y="432000"/>
            <a:ext cx="1254896" cy="780288"/>
          </a:xfrm>
          <a:prstGeom prst="rect">
            <a:avLst/>
          </a:prstGeom>
        </p:spPr>
      </p:pic>
      <p:sp>
        <p:nvSpPr>
          <p:cNvPr id="16" name="Subtitle 2"/>
          <p:cNvSpPr>
            <a:spLocks noGrp="1"/>
          </p:cNvSpPr>
          <p:nvPr>
            <p:ph type="subTitle" idx="1" hasCustomPrompt="1"/>
          </p:nvPr>
        </p:nvSpPr>
        <p:spPr>
          <a:xfrm>
            <a:off x="626001" y="5057603"/>
            <a:ext cx="11061895" cy="384175"/>
          </a:xfrm>
          <a:prstGeom prst="rect">
            <a:avLst/>
          </a:prstGeom>
        </p:spPr>
        <p:txBody>
          <a:bodyPr lIns="91412" tIns="45710" rIns="91412" bIns="45710" anchor="b" anchorCtr="0">
            <a:noAutofit/>
          </a:bodyPr>
          <a:lstStyle>
            <a:lvl1pPr marL="0" indent="0" algn="l">
              <a:buNone/>
              <a:defRPr sz="1900" b="0" i="0">
                <a:solidFill>
                  <a:srgbClr val="FFFFFE"/>
                </a:solidFill>
                <a:latin typeface="+mn-lt"/>
                <a:cs typeface="CiscoSans"/>
              </a:defRPr>
            </a:lvl1pPr>
            <a:lvl2pPr marL="457083" indent="0" algn="ctr">
              <a:buNone/>
              <a:defRPr>
                <a:solidFill>
                  <a:schemeClr val="tx1">
                    <a:tint val="75000"/>
                  </a:schemeClr>
                </a:solidFill>
              </a:defRPr>
            </a:lvl2pPr>
            <a:lvl3pPr marL="914180" indent="0" algn="ctr">
              <a:buNone/>
              <a:defRPr>
                <a:solidFill>
                  <a:schemeClr val="tx1">
                    <a:tint val="75000"/>
                  </a:schemeClr>
                </a:solidFill>
              </a:defRPr>
            </a:lvl3pPr>
            <a:lvl4pPr marL="1371268" indent="0" algn="ctr">
              <a:buNone/>
              <a:defRPr>
                <a:solidFill>
                  <a:schemeClr val="tx1">
                    <a:tint val="75000"/>
                  </a:schemeClr>
                </a:solidFill>
              </a:defRPr>
            </a:lvl4pPr>
            <a:lvl5pPr marL="1828361" indent="0" algn="ctr">
              <a:buNone/>
              <a:defRPr>
                <a:solidFill>
                  <a:schemeClr val="tx1">
                    <a:tint val="75000"/>
                  </a:schemeClr>
                </a:solidFill>
              </a:defRPr>
            </a:lvl5pPr>
            <a:lvl6pPr marL="2285446" indent="0" algn="ctr">
              <a:buNone/>
              <a:defRPr>
                <a:solidFill>
                  <a:schemeClr val="tx1">
                    <a:tint val="75000"/>
                  </a:schemeClr>
                </a:solidFill>
              </a:defRPr>
            </a:lvl6pPr>
            <a:lvl7pPr marL="2742541" indent="0" algn="ctr">
              <a:buNone/>
              <a:defRPr>
                <a:solidFill>
                  <a:schemeClr val="tx1">
                    <a:tint val="75000"/>
                  </a:schemeClr>
                </a:solidFill>
              </a:defRPr>
            </a:lvl7pPr>
            <a:lvl8pPr marL="3199627" indent="0" algn="ctr">
              <a:buNone/>
              <a:defRPr>
                <a:solidFill>
                  <a:schemeClr val="tx1">
                    <a:tint val="75000"/>
                  </a:schemeClr>
                </a:solidFill>
              </a:defRPr>
            </a:lvl8pPr>
            <a:lvl9pPr marL="3656719"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6001" y="5377599"/>
            <a:ext cx="11061895" cy="384175"/>
          </a:xfrm>
          <a:prstGeom prst="rect">
            <a:avLst/>
          </a:prstGeom>
        </p:spPr>
        <p:txBody>
          <a:bodyPr lIns="91412" tIns="45710" rIns="91412" bIns="45710"/>
          <a:lstStyle>
            <a:lvl1pPr marL="0" indent="0" algn="l">
              <a:buFontTx/>
              <a:buNone/>
              <a:defRPr lang="en-US" sz="1900"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6001" y="5697595"/>
            <a:ext cx="11061895" cy="384175"/>
          </a:xfrm>
          <a:prstGeom prst="rect">
            <a:avLst/>
          </a:prstGeom>
        </p:spPr>
        <p:txBody>
          <a:bodyPr lIns="91412" tIns="45710" rIns="91412" bIns="45710"/>
          <a:lstStyle>
            <a:lvl1pPr marL="0" indent="0" algn="l">
              <a:buFontTx/>
              <a:buNone/>
              <a:defRPr lang="en-US" sz="1900"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9" y="4281951"/>
            <a:ext cx="11070167" cy="398668"/>
          </a:xfrm>
          <a:prstGeom prst="rect">
            <a:avLst/>
          </a:prstGeom>
        </p:spPr>
        <p:txBody>
          <a:bodyPr lIns="91412" tIns="45710" rIns="91412" bIns="45710"/>
          <a:lstStyle>
            <a:lvl1pPr marL="0" indent="0">
              <a:buFont typeface="Arial" panose="020B0604020202020204" pitchFamily="34" charset="0"/>
              <a:buNone/>
              <a:defRPr sz="2900" baseline="0">
                <a:solidFill>
                  <a:srgbClr val="FFFFFE"/>
                </a:solidFill>
                <a:latin typeface="+mj-lt"/>
              </a:defRPr>
            </a:lvl1pPr>
            <a:lvl2pPr marL="406325" indent="0">
              <a:buNone/>
              <a:defRPr/>
            </a:lvl2pPr>
            <a:lvl3pPr marL="569798" indent="0">
              <a:buNone/>
              <a:defRPr/>
            </a:lvl3pPr>
            <a:lvl4pPr marL="688839" indent="0">
              <a:buNone/>
              <a:defRPr/>
            </a:lvl4pPr>
            <a:lvl5pPr marL="801528" indent="0">
              <a:buNone/>
              <a:defRPr/>
            </a:lvl5pPr>
          </a:lstStyle>
          <a:p>
            <a:pPr lvl="0"/>
            <a:r>
              <a:rPr lang="en-GB" dirty="0"/>
              <a:t>Subtitle Goes Here</a:t>
            </a:r>
          </a:p>
        </p:txBody>
      </p:sp>
      <p:sp>
        <p:nvSpPr>
          <p:cNvPr id="20" name="Title 1"/>
          <p:cNvSpPr>
            <a:spLocks noGrp="1"/>
          </p:cNvSpPr>
          <p:nvPr>
            <p:ph type="ctrTitle" hasCustomPrompt="1"/>
          </p:nvPr>
        </p:nvSpPr>
        <p:spPr>
          <a:xfrm>
            <a:off x="567689" y="3519969"/>
            <a:ext cx="11120203" cy="859640"/>
          </a:xfrm>
          <a:prstGeom prst="rect">
            <a:avLst/>
          </a:prstGeom>
        </p:spPr>
        <p:txBody>
          <a:bodyPr anchor="b"/>
          <a:lstStyle>
            <a:lvl1pPr marL="0" indent="0" algn="l">
              <a:lnSpc>
                <a:spcPct val="90000"/>
              </a:lnSpc>
              <a:buFont typeface="Arial" panose="020B0604020202020204" pitchFamily="34" charset="0"/>
              <a:buNone/>
              <a:defRPr sz="69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2331075735"/>
      </p:ext>
    </p:extLst>
  </p:cSld>
  <p:clrMapOvr>
    <a:masterClrMapping/>
  </p:clrMapOvr>
  <p:transition spd="slow">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04852" y="1168479"/>
            <a:ext cx="11013016" cy="4224280"/>
          </a:xfrm>
          <a:prstGeom prst="rect">
            <a:avLst/>
          </a:prstGeom>
        </p:spPr>
        <p:txBody>
          <a:bodyPr lIns="91412" tIns="45710" rIns="91412" bIns="45710">
            <a:noAutofit/>
          </a:bodyPr>
          <a:lstStyle>
            <a:lvl1pPr marL="283166" indent="-523138">
              <a:lnSpc>
                <a:spcPts val="5920"/>
              </a:lnSpc>
              <a:spcBef>
                <a:spcPts val="0"/>
              </a:spcBef>
              <a:buClr>
                <a:schemeClr val="tx1"/>
              </a:buClr>
              <a:buSzPct val="80000"/>
              <a:buFont typeface="Arial"/>
              <a:buChar char="•"/>
              <a:defRPr sz="4900" b="0" i="0">
                <a:solidFill>
                  <a:srgbClr val="676767"/>
                </a:solidFill>
                <a:latin typeface="+mn-lt"/>
                <a:cs typeface="CiscoSans ExtraLight"/>
              </a:defRPr>
            </a:lvl1pPr>
            <a:lvl2pPr marL="677110" indent="-287767">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622" indent="-228526">
              <a:buClr>
                <a:schemeClr val="tx1"/>
              </a:buClr>
              <a:buSzPct val="80000"/>
              <a:buFont typeface="Arial"/>
              <a:buChar char="•"/>
              <a:defRPr sz="2100" b="0" i="0">
                <a:solidFill>
                  <a:srgbClr val="676767"/>
                </a:solidFill>
                <a:latin typeface="+mn-lt"/>
                <a:cs typeface="CiscoSans ExtraLight"/>
              </a:defRPr>
            </a:lvl3pPr>
            <a:lvl4pPr marL="1214562" indent="-228526">
              <a:buClr>
                <a:schemeClr val="tx1"/>
              </a:buClr>
              <a:buSzPct val="80000"/>
              <a:buFont typeface="Arial"/>
              <a:buChar char="•"/>
              <a:defRPr sz="1900" b="0" i="0">
                <a:solidFill>
                  <a:srgbClr val="676767"/>
                </a:solidFill>
                <a:latin typeface="+mn-lt"/>
                <a:cs typeface="CiscoSans ExtraLight"/>
              </a:defRPr>
            </a:lvl4pPr>
            <a:lvl5pPr marL="1443087" indent="-224293">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3609690098"/>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83688" y="1797053"/>
            <a:ext cx="11127317" cy="3544971"/>
          </a:xfrm>
          <a:prstGeom prst="rect">
            <a:avLst/>
          </a:prstGeom>
        </p:spPr>
        <p:txBody>
          <a:bodyPr lIns="121874" tIns="60937" rIns="121874" bIns="60937">
            <a:noAutofit/>
          </a:bodyPr>
          <a:lstStyle>
            <a:lvl1pPr marL="0" indent="0" algn="ctr">
              <a:buNone/>
              <a:defRPr sz="27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hasCustomPrompt="1"/>
          </p:nvPr>
        </p:nvSpPr>
        <p:spPr>
          <a:xfrm>
            <a:off x="583692" y="5530968"/>
            <a:ext cx="9573749" cy="434977"/>
          </a:xfrm>
          <a:prstGeom prst="rect">
            <a:avLst/>
          </a:prstGeom>
        </p:spPr>
        <p:txBody>
          <a:bodyPr wrap="square" lIns="121874" tIns="60937" rIns="121874" bIns="60937" anchor="b" anchorCtr="0">
            <a:noAutofit/>
          </a:bodyPr>
          <a:lstStyle>
            <a:lvl1pPr algn="l" defTabSz="804633">
              <a:lnSpc>
                <a:spcPct val="100000"/>
              </a:lnSpc>
              <a:spcBef>
                <a:spcPct val="50000"/>
              </a:spcBef>
              <a:buNone/>
              <a:defRPr sz="21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Source</a:t>
            </a:r>
          </a:p>
        </p:txBody>
      </p:sp>
      <p:sp>
        <p:nvSpPr>
          <p:cNvPr id="5" name="Title Placeholder 5"/>
          <p:cNvSpPr>
            <a:spLocks noGrp="1"/>
          </p:cNvSpPr>
          <p:nvPr>
            <p:ph type="title" hasCustomPrompt="1"/>
          </p:nvPr>
        </p:nvSpPr>
        <p:spPr bwMode="auto">
          <a:xfrm>
            <a:off x="583688" y="455091"/>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0" tIns="60940" rIns="121880" bIns="60940"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1243184323"/>
      </p:ext>
    </p:extLst>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83688" y="1799168"/>
            <a:ext cx="11127317" cy="3547533"/>
          </a:xfrm>
          <a:prstGeom prst="rect">
            <a:avLst/>
          </a:prstGeom>
        </p:spPr>
        <p:txBody>
          <a:bodyPr vert="horz" lIns="121874" tIns="60937" rIns="121874" bIns="60937">
            <a:noAutofit/>
          </a:bodyPr>
          <a:lstStyle>
            <a:lvl1pPr marL="0" indent="0" algn="ctr">
              <a:buNone/>
              <a:defRPr sz="27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hasCustomPrompt="1"/>
          </p:nvPr>
        </p:nvSpPr>
        <p:spPr>
          <a:xfrm>
            <a:off x="583692" y="5530968"/>
            <a:ext cx="9573749" cy="434977"/>
          </a:xfrm>
          <a:prstGeom prst="rect">
            <a:avLst/>
          </a:prstGeom>
        </p:spPr>
        <p:txBody>
          <a:bodyPr wrap="square" lIns="121874" tIns="60937" rIns="121874" bIns="60937" anchor="b" anchorCtr="0">
            <a:noAutofit/>
          </a:bodyPr>
          <a:lstStyle>
            <a:lvl1pPr algn="l" defTabSz="804633">
              <a:lnSpc>
                <a:spcPct val="100000"/>
              </a:lnSpc>
              <a:spcBef>
                <a:spcPct val="50000"/>
              </a:spcBef>
              <a:buNone/>
              <a:defRPr sz="21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Source</a:t>
            </a:r>
          </a:p>
        </p:txBody>
      </p:sp>
      <p:sp>
        <p:nvSpPr>
          <p:cNvPr id="5" name="Title Placeholder 5"/>
          <p:cNvSpPr>
            <a:spLocks noGrp="1"/>
          </p:cNvSpPr>
          <p:nvPr>
            <p:ph type="title"/>
          </p:nvPr>
        </p:nvSpPr>
        <p:spPr bwMode="auto">
          <a:xfrm>
            <a:off x="583688" y="455091"/>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0" tIns="60940" rIns="121880" bIns="6094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295538447"/>
      </p:ext>
    </p:extLst>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691" y="1799275"/>
            <a:ext cx="5342668" cy="4054364"/>
          </a:xfrm>
          <a:prstGeom prst="rect">
            <a:avLst/>
          </a:prstGeom>
        </p:spPr>
        <p:txBody>
          <a:bodyPr lIns="121874" tIns="60937" rIns="121874" bIns="60937" anchor="ctr" anchorCtr="0">
            <a:noAutofit/>
          </a:bodyPr>
          <a:lstStyle>
            <a:lvl1pPr marL="0" indent="0">
              <a:buNone/>
              <a:defRPr sz="32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6279877" y="1799173"/>
            <a:ext cx="5431128" cy="4052529"/>
          </a:xfrm>
          <a:prstGeom prst="rect">
            <a:avLst/>
          </a:prstGeom>
        </p:spPr>
        <p:txBody>
          <a:bodyPr vert="horz" lIns="121874" tIns="60937" rIns="121874" bIns="60937">
            <a:noAutofit/>
          </a:bodyPr>
          <a:lstStyle>
            <a:lvl1pPr marL="0" indent="0" algn="ctr">
              <a:buNone/>
              <a:defRPr sz="2700">
                <a:solidFill>
                  <a:schemeClr val="tx1"/>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583688" y="455091"/>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0" tIns="60940" rIns="121880" bIns="6094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273874391"/>
      </p:ext>
    </p:extLst>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691" y="1799139"/>
            <a:ext cx="5338660" cy="4054500"/>
          </a:xfrm>
          <a:prstGeom prst="rect">
            <a:avLst/>
          </a:prstGeom>
        </p:spPr>
        <p:txBody>
          <a:bodyPr lIns="121874" tIns="60937" rIns="121874" bIns="60937" anchor="ctr" anchorCtr="0">
            <a:noAutofit/>
          </a:bodyPr>
          <a:lstStyle>
            <a:lvl1pPr marL="0" indent="0">
              <a:buNone/>
              <a:defRPr sz="32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6277480" y="1799167"/>
            <a:ext cx="5433525" cy="4054944"/>
          </a:xfrm>
          <a:prstGeom prst="rect">
            <a:avLst/>
          </a:prstGeom>
        </p:spPr>
        <p:txBody>
          <a:bodyPr vert="horz" lIns="121874" tIns="60937" rIns="121874" bIns="60937">
            <a:noAutofit/>
          </a:bodyPr>
          <a:lstStyle>
            <a:lvl1pPr marL="0" indent="0" algn="ctr">
              <a:buNone/>
              <a:defRPr sz="2700" b="0" i="0">
                <a:solidFill>
                  <a:schemeClr val="tx1"/>
                </a:solidFill>
                <a:latin typeface="+mn-lt"/>
                <a:cs typeface="CiscoSans ExtraLight"/>
              </a:defRPr>
            </a:lvl1pPr>
          </a:lstStyle>
          <a:p>
            <a:pPr lvl="0"/>
            <a:r>
              <a:rPr lang="en-US" noProof="0"/>
              <a:t>Click icon to add picture</a:t>
            </a:r>
            <a:endParaRPr lang="en-US" noProof="0" dirty="0"/>
          </a:p>
        </p:txBody>
      </p:sp>
      <p:sp>
        <p:nvSpPr>
          <p:cNvPr id="5" name="Title Placeholder 5"/>
          <p:cNvSpPr>
            <a:spLocks noGrp="1"/>
          </p:cNvSpPr>
          <p:nvPr>
            <p:ph type="title"/>
          </p:nvPr>
        </p:nvSpPr>
        <p:spPr bwMode="auto">
          <a:xfrm>
            <a:off x="583688" y="455091"/>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0" tIns="60940" rIns="121880" bIns="6094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368160457"/>
      </p:ext>
    </p:extLst>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p:cNvSpPr/>
          <p:nvPr/>
        </p:nvSpPr>
        <p:spPr>
          <a:xfrm>
            <a:off x="8113489" y="2163193"/>
            <a:ext cx="3091419" cy="3091419"/>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1" tIns="60950" rIns="121901" bIns="60950" rtlCol="0" anchor="ctr"/>
          <a:lstStyle/>
          <a:p>
            <a:pPr algn="ctr" eaLnBrk="0" fontAlgn="base" hangingPunct="0">
              <a:lnSpc>
                <a:spcPct val="90000"/>
              </a:lnSpc>
              <a:spcBef>
                <a:spcPct val="0"/>
              </a:spcBef>
              <a:spcAft>
                <a:spcPct val="0"/>
              </a:spcAft>
            </a:pPr>
            <a:endParaRPr lang="en-US" sz="3200" dirty="0">
              <a:solidFill>
                <a:srgbClr val="FFFFFF"/>
              </a:solidFill>
              <a:latin typeface="Arial"/>
              <a:cs typeface="Arial"/>
            </a:endParaRPr>
          </a:p>
        </p:txBody>
      </p:sp>
      <p:sp>
        <p:nvSpPr>
          <p:cNvPr id="4" name="Oval 3"/>
          <p:cNvSpPr/>
          <p:nvPr/>
        </p:nvSpPr>
        <p:spPr>
          <a:xfrm>
            <a:off x="4564309" y="2163193"/>
            <a:ext cx="3091419" cy="3091419"/>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1" tIns="60950" rIns="121901" bIns="60950" rtlCol="0" anchor="ctr"/>
          <a:lstStyle/>
          <a:p>
            <a:pPr algn="ctr" eaLnBrk="0" fontAlgn="base" hangingPunct="0">
              <a:lnSpc>
                <a:spcPct val="90000"/>
              </a:lnSpc>
              <a:spcBef>
                <a:spcPct val="0"/>
              </a:spcBef>
              <a:spcAft>
                <a:spcPct val="0"/>
              </a:spcAft>
            </a:pPr>
            <a:endParaRPr lang="en-US" sz="3200" dirty="0">
              <a:solidFill>
                <a:srgbClr val="FFFFFF"/>
              </a:solidFill>
              <a:latin typeface="Arial"/>
              <a:cs typeface="Arial"/>
            </a:endParaRPr>
          </a:p>
        </p:txBody>
      </p:sp>
      <p:sp>
        <p:nvSpPr>
          <p:cNvPr id="7" name="Oval 6"/>
          <p:cNvSpPr/>
          <p:nvPr/>
        </p:nvSpPr>
        <p:spPr>
          <a:xfrm>
            <a:off x="1019029" y="2163193"/>
            <a:ext cx="3091419" cy="3091419"/>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1" tIns="60950" rIns="121901" bIns="60950" rtlCol="0" anchor="ctr"/>
          <a:lstStyle/>
          <a:p>
            <a:pPr algn="ctr" eaLnBrk="0" fontAlgn="base" hangingPunct="0">
              <a:lnSpc>
                <a:spcPct val="90000"/>
              </a:lnSpc>
              <a:spcBef>
                <a:spcPct val="0"/>
              </a:spcBef>
              <a:spcAft>
                <a:spcPct val="0"/>
              </a:spcAft>
            </a:pPr>
            <a:endParaRPr lang="en-US" sz="3200" dirty="0">
              <a:solidFill>
                <a:srgbClr val="FFFFFF"/>
              </a:solidFill>
              <a:latin typeface="Arial"/>
              <a:cs typeface="Arial"/>
            </a:endParaRPr>
          </a:p>
        </p:txBody>
      </p:sp>
      <p:sp>
        <p:nvSpPr>
          <p:cNvPr id="17" name="Text Placeholder 17"/>
          <p:cNvSpPr>
            <a:spLocks noGrp="1"/>
          </p:cNvSpPr>
          <p:nvPr>
            <p:ph type="body" sz="quarter" idx="11" hasCustomPrompt="1"/>
          </p:nvPr>
        </p:nvSpPr>
        <p:spPr>
          <a:xfrm>
            <a:off x="1036648" y="3733530"/>
            <a:ext cx="3056181" cy="804881"/>
          </a:xfrm>
          <a:prstGeom prst="rect">
            <a:avLst/>
          </a:prstGeom>
        </p:spPr>
        <p:txBody>
          <a:bodyPr lIns="121874" tIns="60937" rIns="121874" bIns="60937"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4581928" y="3730934"/>
            <a:ext cx="3056181" cy="804881"/>
          </a:xfrm>
          <a:prstGeom prst="rect">
            <a:avLst/>
          </a:prstGeom>
        </p:spPr>
        <p:txBody>
          <a:bodyPr lIns="121874" tIns="60937" rIns="121874" bIns="60937"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8131108" y="3730934"/>
            <a:ext cx="3056181" cy="804881"/>
          </a:xfrm>
          <a:prstGeom prst="rect">
            <a:avLst/>
          </a:prstGeom>
        </p:spPr>
        <p:txBody>
          <a:bodyPr lIns="121874" tIns="60937" rIns="121874" bIns="60937"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2027767" y="2857372"/>
            <a:ext cx="1051984" cy="1051984"/>
          </a:xfrm>
          <a:prstGeom prst="rect">
            <a:avLst/>
          </a:prstGeom>
        </p:spPr>
        <p:txBody>
          <a:bodyPr vert="horz" lIns="121901" tIns="60950" rIns="121901" bIns="60950"/>
          <a:lstStyle>
            <a:lvl1pPr marL="0" indent="0" algn="ctr">
              <a:buNone/>
              <a:defRPr sz="16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5603827" y="2870412"/>
            <a:ext cx="1051984" cy="1051984"/>
          </a:xfrm>
          <a:prstGeom prst="rect">
            <a:avLst/>
          </a:prstGeom>
        </p:spPr>
        <p:txBody>
          <a:bodyPr vert="horz" lIns="121901" tIns="60950" rIns="121901" bIns="60950"/>
          <a:lstStyle>
            <a:lvl1pPr marL="0" indent="0" algn="ctr">
              <a:buNone/>
              <a:defRPr sz="16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9122480" y="2857372"/>
            <a:ext cx="1051984" cy="1051984"/>
          </a:xfrm>
          <a:prstGeom prst="rect">
            <a:avLst/>
          </a:prstGeom>
        </p:spPr>
        <p:txBody>
          <a:bodyPr vert="horz" lIns="121901" tIns="60950" rIns="121901" bIns="60950"/>
          <a:lstStyle>
            <a:lvl1pPr marL="0" indent="0" algn="ctr">
              <a:buNone/>
              <a:defRPr sz="1600">
                <a:solidFill>
                  <a:schemeClr val="bg1"/>
                </a:solidFill>
              </a:defRPr>
            </a:lvl1pPr>
          </a:lstStyle>
          <a:p>
            <a:r>
              <a:rPr lang="en-US" dirty="0"/>
              <a:t>Icon</a:t>
            </a:r>
          </a:p>
        </p:txBody>
      </p:sp>
    </p:spTree>
    <p:extLst>
      <p:ext uri="{BB962C8B-B14F-4D97-AF65-F5344CB8AC3E}">
        <p14:creationId xmlns:p14="http://schemas.microsoft.com/office/powerpoint/2010/main" val="3353944565"/>
      </p:ext>
    </p:extLst>
  </p:cSld>
  <p:clrMapOvr>
    <a:masterClrMapping/>
  </p:clrMapOvr>
  <p:transition spd="slow">
    <p:wip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43" name="Oval 42"/>
          <p:cNvSpPr/>
          <p:nvPr/>
        </p:nvSpPr>
        <p:spPr>
          <a:xfrm>
            <a:off x="1033102" y="2163193"/>
            <a:ext cx="3075001" cy="3074624"/>
          </a:xfrm>
          <a:prstGeom prst="ellipse">
            <a:avLst/>
          </a:prstGeom>
          <a:solidFill>
            <a:sysClr val="windowText" lastClr="000000">
              <a:alpha val="30000"/>
            </a:sysClr>
          </a:solidFill>
          <a:ln w="25400" cap="flat" cmpd="sng" algn="ctr">
            <a:noFill/>
            <a:prstDash val="solid"/>
          </a:ln>
          <a:effectLst/>
        </p:spPr>
        <p:txBody>
          <a:bodyPr lIns="91422" tIns="45714" rIns="91422" bIns="45714" anchor="ctr"/>
          <a:lstStyle/>
          <a:p>
            <a:pPr algn="ctr" defTabSz="1218998">
              <a:defRPr/>
            </a:pPr>
            <a:endParaRPr lang="en-US" sz="2400" kern="0">
              <a:solidFill>
                <a:prstClr val="white"/>
              </a:solidFill>
              <a:latin typeface="Arial"/>
            </a:endParaRPr>
          </a:p>
        </p:txBody>
      </p:sp>
      <p:sp>
        <p:nvSpPr>
          <p:cNvPr id="44" name="Oval 43"/>
          <p:cNvSpPr/>
          <p:nvPr/>
        </p:nvSpPr>
        <p:spPr>
          <a:xfrm>
            <a:off x="4563797" y="2163193"/>
            <a:ext cx="3075001" cy="3074624"/>
          </a:xfrm>
          <a:prstGeom prst="ellipse">
            <a:avLst/>
          </a:prstGeom>
          <a:solidFill>
            <a:sysClr val="windowText" lastClr="000000">
              <a:alpha val="30000"/>
            </a:sysClr>
          </a:solidFill>
          <a:ln w="25400" cap="flat" cmpd="sng" algn="ctr">
            <a:noFill/>
            <a:prstDash val="solid"/>
          </a:ln>
          <a:effectLst/>
        </p:spPr>
        <p:txBody>
          <a:bodyPr lIns="91422" tIns="45714" rIns="91422" bIns="45714" anchor="ctr"/>
          <a:lstStyle/>
          <a:p>
            <a:pPr algn="ctr" defTabSz="1218998">
              <a:defRPr/>
            </a:pPr>
            <a:endParaRPr lang="en-US" sz="2400" kern="0">
              <a:solidFill>
                <a:prstClr val="white"/>
              </a:solidFill>
              <a:latin typeface="Arial"/>
            </a:endParaRPr>
          </a:p>
        </p:txBody>
      </p:sp>
      <p:sp>
        <p:nvSpPr>
          <p:cNvPr id="45" name="Oval 44"/>
          <p:cNvSpPr/>
          <p:nvPr/>
        </p:nvSpPr>
        <p:spPr>
          <a:xfrm>
            <a:off x="8116486" y="2163193"/>
            <a:ext cx="3075001" cy="3074624"/>
          </a:xfrm>
          <a:prstGeom prst="ellipse">
            <a:avLst/>
          </a:prstGeom>
          <a:solidFill>
            <a:sysClr val="windowText" lastClr="000000">
              <a:alpha val="30000"/>
            </a:sysClr>
          </a:solidFill>
          <a:ln w="25400" cap="flat" cmpd="sng" algn="ctr">
            <a:noFill/>
            <a:prstDash val="solid"/>
          </a:ln>
          <a:effectLst/>
        </p:spPr>
        <p:txBody>
          <a:bodyPr lIns="91422" tIns="45714" rIns="91422" bIns="45714" anchor="ctr"/>
          <a:lstStyle/>
          <a:p>
            <a:pPr algn="ctr" defTabSz="1218998">
              <a:defRPr/>
            </a:pPr>
            <a:endParaRPr lang="en-US" sz="2400" kern="0">
              <a:solidFill>
                <a:prstClr val="white"/>
              </a:solidFill>
              <a:latin typeface="Arial"/>
            </a:endParaRPr>
          </a:p>
        </p:txBody>
      </p:sp>
      <p:sp>
        <p:nvSpPr>
          <p:cNvPr id="3" name="Title Placeholder 5"/>
          <p:cNvSpPr>
            <a:spLocks noGrp="1"/>
          </p:cNvSpPr>
          <p:nvPr>
            <p:ph type="title"/>
          </p:nvPr>
        </p:nvSpPr>
        <p:spPr bwMode="auto">
          <a:xfrm>
            <a:off x="583688" y="455091"/>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0" tIns="60940" rIns="121880" bIns="60940" numCol="1" anchor="ctr" anchorCtr="0" compatLnSpc="1">
            <a:prstTxWarp prst="textNoShape">
              <a:avLst/>
            </a:prstTxWarp>
          </a:bodyPr>
          <a:lstStyle/>
          <a:p>
            <a:pPr lvl="0"/>
            <a:r>
              <a:rPr lang="en-US"/>
              <a:t>Click to edit Master title style</a:t>
            </a:r>
            <a:endParaRPr lang="en-GB" dirty="0"/>
          </a:p>
        </p:txBody>
      </p:sp>
      <p:sp>
        <p:nvSpPr>
          <p:cNvPr id="35" name="Picture Placeholder 25"/>
          <p:cNvSpPr>
            <a:spLocks noGrp="1"/>
          </p:cNvSpPr>
          <p:nvPr>
            <p:ph type="pic" sz="quarter" idx="10" hasCustomPrompt="1"/>
          </p:nvPr>
        </p:nvSpPr>
        <p:spPr>
          <a:xfrm>
            <a:off x="1033288" y="2163193"/>
            <a:ext cx="3074624" cy="3074624"/>
          </a:xfrm>
          <a:prstGeom prst="ellipse">
            <a:avLst/>
          </a:prstGeom>
          <a:solidFill>
            <a:schemeClr val="bg1">
              <a:alpha val="30000"/>
            </a:schemeClr>
          </a:solidFill>
          <a:ln>
            <a:noFill/>
          </a:ln>
          <a:effectLst/>
        </p:spPr>
        <p:txBody>
          <a:bodyPr lIns="121880" tIns="60940" rIns="121880" bIns="60940" anchor="ctr" anchorCtr="0"/>
          <a:lstStyle>
            <a:lvl1pPr algn="l">
              <a:buFontTx/>
              <a:buNone/>
              <a:defRPr sz="1700"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4563981" y="2163193"/>
            <a:ext cx="3074624" cy="3074624"/>
          </a:xfrm>
          <a:prstGeom prst="ellipse">
            <a:avLst/>
          </a:prstGeom>
          <a:solidFill>
            <a:schemeClr val="bg1">
              <a:alpha val="30000"/>
            </a:schemeClr>
          </a:solidFill>
          <a:ln>
            <a:noFill/>
          </a:ln>
          <a:effectLst/>
        </p:spPr>
        <p:txBody>
          <a:bodyPr lIns="121880" tIns="60940" rIns="121880" bIns="60940" anchor="ctr" anchorCtr="0"/>
          <a:lstStyle>
            <a:lvl1pPr algn="l">
              <a:buFontTx/>
              <a:buNone/>
              <a:defRPr sz="17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8116671" y="2163193"/>
            <a:ext cx="3074624" cy="3074624"/>
          </a:xfrm>
          <a:prstGeom prst="ellipse">
            <a:avLst/>
          </a:prstGeom>
          <a:solidFill>
            <a:schemeClr val="bg1">
              <a:alpha val="30000"/>
            </a:schemeClr>
          </a:solidFill>
          <a:ln>
            <a:noFill/>
          </a:ln>
          <a:effectLst/>
        </p:spPr>
        <p:txBody>
          <a:bodyPr lIns="121880" tIns="60940" rIns="121880" bIns="60940" anchor="ctr" anchorCtr="0"/>
          <a:lstStyle>
            <a:lvl1pPr algn="l">
              <a:buFontTx/>
              <a:buNone/>
              <a:defRPr sz="17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1051732" y="5164192"/>
            <a:ext cx="3056181" cy="804881"/>
          </a:xfrm>
          <a:prstGeom prst="rect">
            <a:avLst/>
          </a:prstGeom>
        </p:spPr>
        <p:txBody>
          <a:bodyPr lIns="121874" tIns="60937" rIns="121874" bIns="60937"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4582424" y="5161596"/>
            <a:ext cx="3056181" cy="804881"/>
          </a:xfrm>
          <a:prstGeom prst="rect">
            <a:avLst/>
          </a:prstGeom>
        </p:spPr>
        <p:txBody>
          <a:bodyPr lIns="121874" tIns="60937" rIns="121874" bIns="60937"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8135116" y="5161596"/>
            <a:ext cx="3056181" cy="804881"/>
          </a:xfrm>
          <a:prstGeom prst="rect">
            <a:avLst/>
          </a:prstGeom>
        </p:spPr>
        <p:txBody>
          <a:bodyPr lIns="121874" tIns="60937" rIns="121874" bIns="60937"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Tree>
    <p:extLst>
      <p:ext uri="{BB962C8B-B14F-4D97-AF65-F5344CB8AC3E}">
        <p14:creationId xmlns:p14="http://schemas.microsoft.com/office/powerpoint/2010/main" val="120314717"/>
      </p:ext>
    </p:extLst>
  </p:cSld>
  <p:clrMapOvr>
    <a:masterClrMapping/>
  </p:clrMapOvr>
  <p:transition spd="slow">
    <p:wip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87" y="6172208"/>
            <a:ext cx="977900"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2000" cy="6858000"/>
          </a:xfrm>
          <a:prstGeom prst="rect">
            <a:avLst/>
          </a:prstGeom>
        </p:spPr>
        <p:txBody>
          <a:bodyPr vert="horz" lIns="121874" tIns="60937" rIns="121874" bIns="60937"/>
          <a:lstStyle>
            <a:lvl1pPr marL="0" indent="0" algn="ctr">
              <a:buNone/>
              <a:defRPr sz="2900" baseline="0">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hasCustomPrompt="1"/>
          </p:nvPr>
        </p:nvSpPr>
        <p:spPr bwMode="auto">
          <a:xfrm>
            <a:off x="666752" y="4637678"/>
            <a:ext cx="10852149" cy="689921"/>
          </a:xfrm>
          <a:prstGeom prst="rect">
            <a:avLst/>
          </a:prstGeom>
          <a:solidFill>
            <a:schemeClr val="bg1">
              <a:alpha val="70000"/>
            </a:schemeClr>
          </a:solidFill>
        </p:spPr>
        <p:txBody>
          <a:bodyPr wrap="square" lIns="143975" tIns="0" rIns="121901" bIns="60950" numCol="1" anchor="ctr" anchorCtr="0" compatLnSpc="1">
            <a:prstTxWarp prst="textNoShape">
              <a:avLst/>
            </a:prstTxWarp>
            <a:spAutoFit/>
          </a:bodyPr>
          <a:lstStyle>
            <a:lvl1pPr marL="230364" indent="0">
              <a:lnSpc>
                <a:spcPts val="4907"/>
              </a:lnSpc>
              <a:spcBef>
                <a:spcPts val="0"/>
              </a:spcBef>
              <a:buNone/>
              <a:defRPr sz="3200" i="1"/>
            </a:lvl1pPr>
          </a:lstStyle>
          <a:p>
            <a:pPr lvl="0"/>
            <a:r>
              <a:rPr lang="en-GB" dirty="0"/>
              <a:t>Text Goes Here</a:t>
            </a:r>
          </a:p>
        </p:txBody>
      </p:sp>
    </p:spTree>
    <p:extLst>
      <p:ext uri="{BB962C8B-B14F-4D97-AF65-F5344CB8AC3E}">
        <p14:creationId xmlns:p14="http://schemas.microsoft.com/office/powerpoint/2010/main" val="4051425953"/>
      </p:ext>
    </p:extLst>
  </p:cSld>
  <p:clrMapOvr>
    <a:masterClrMapping/>
  </p:clrMapOvr>
  <p:transition spd="slow">
    <p:wip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5" y="401390"/>
            <a:ext cx="11417563" cy="3389567"/>
          </a:xfrm>
          <a:prstGeom prst="rect">
            <a:avLst/>
          </a:prstGeom>
        </p:spPr>
        <p:txBody>
          <a:bodyPr vert="horz" lIns="121874" tIns="60937" rIns="121874" bIns="60937"/>
          <a:lstStyle>
            <a:lvl1pPr marL="0" indent="0" algn="ctr">
              <a:buNone/>
              <a:defRPr sz="2900" baseline="0">
                <a:solidFill>
                  <a:srgbClr val="676767"/>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hasCustomPrompt="1"/>
          </p:nvPr>
        </p:nvSpPr>
        <p:spPr>
          <a:xfrm>
            <a:off x="598381" y="4072698"/>
            <a:ext cx="11152315" cy="752343"/>
          </a:xfrm>
          <a:prstGeom prst="rect">
            <a:avLst/>
          </a:prstGeom>
        </p:spPr>
        <p:txBody>
          <a:bodyPr vert="horz" wrap="square" lIns="121901" tIns="60950" rIns="121901" bIns="60950">
            <a:spAutoFit/>
          </a:bodyPr>
          <a:lstStyle>
            <a:lvl1pPr marL="0" indent="0">
              <a:buNone/>
              <a:defRPr sz="4300"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1761730116"/>
      </p:ext>
    </p:extLst>
  </p:cSld>
  <p:clrMapOvr>
    <a:masterClrMapping/>
  </p:clrMapOvr>
  <p:transition spd="slow">
    <p:wip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19_Full bleed photo">
    <p:spTree>
      <p:nvGrpSpPr>
        <p:cNvPr id="1" name=""/>
        <p:cNvGrpSpPr/>
        <p:nvPr/>
      </p:nvGrpSpPr>
      <p:grpSpPr>
        <a:xfrm>
          <a:off x="0" y="0"/>
          <a:ext cx="0" cy="0"/>
          <a:chOff x="0" y="0"/>
          <a:chExt cx="0" cy="0"/>
        </a:xfrm>
      </p:grpSpPr>
      <p:pic>
        <p:nvPicPr>
          <p:cNvPr id="12" name="Picture Placeholder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96464" cy="6858000"/>
          </a:xfrm>
          <a:prstGeom prst="rect">
            <a:avLst/>
          </a:prstGeom>
        </p:spPr>
      </p:pic>
      <p:sp>
        <p:nvSpPr>
          <p:cNvPr id="14" name="Text Placeholder 2"/>
          <p:cNvSpPr>
            <a:spLocks noGrp="1"/>
          </p:cNvSpPr>
          <p:nvPr>
            <p:ph type="body" sz="quarter" idx="12" hasCustomPrompt="1"/>
          </p:nvPr>
        </p:nvSpPr>
        <p:spPr bwMode="auto">
          <a:xfrm>
            <a:off x="666752" y="4634961"/>
            <a:ext cx="10852149" cy="695347"/>
          </a:xfrm>
          <a:prstGeom prst="rect">
            <a:avLst/>
          </a:prstGeom>
          <a:solidFill>
            <a:schemeClr val="bg1">
              <a:alpha val="70000"/>
            </a:schemeClr>
          </a:solidFill>
        </p:spPr>
        <p:txBody>
          <a:bodyPr wrap="square" lIns="143975" tIns="0" rIns="121901" bIns="60950" numCol="1" anchor="b" anchorCtr="0" compatLnSpc="1">
            <a:prstTxWarp prst="textNoShape">
              <a:avLst/>
            </a:prstTxWarp>
            <a:spAutoFit/>
          </a:bodyPr>
          <a:lstStyle>
            <a:lvl1pPr marL="230364" indent="-239959">
              <a:lnSpc>
                <a:spcPts val="4907"/>
              </a:lnSpc>
              <a:spcBef>
                <a:spcPts val="0"/>
              </a:spcBef>
              <a:buNone/>
              <a:defRPr sz="4300" i="1"/>
            </a:lvl1pPr>
          </a:lstStyle>
          <a:p>
            <a:pPr lvl="0"/>
            <a:r>
              <a:rPr lang="en-GB" dirty="0"/>
              <a:t>Text Goes Here</a:t>
            </a:r>
          </a:p>
        </p:txBody>
      </p:sp>
      <p:pic>
        <p:nvPicPr>
          <p:cNvPr id="11" name="Picture 2" descr="C:\Users\spius\Pictures\cisco logo blue gradient.png"/>
          <p:cNvPicPr>
            <a:picLocks noChangeAspect="1" noChangeArrowheads="1"/>
          </p:cNvPicPr>
          <p:nvPr/>
        </p:nvPicPr>
        <p:blipFill>
          <a:blip r:embed="rId3" cstate="print">
            <a:biLevel thresh="25000"/>
            <a:extLst>
              <a:ext uri="{28A0092B-C50C-407E-A947-70E740481C1C}">
                <a14:useLocalDpi xmlns:a14="http://schemas.microsoft.com/office/drawing/2010/main"/>
              </a:ext>
            </a:extLst>
          </a:blip>
          <a:srcRect/>
          <a:stretch>
            <a:fillRect/>
          </a:stretch>
        </p:blipFill>
        <p:spPr bwMode="auto">
          <a:xfrm>
            <a:off x="632237" y="6167697"/>
            <a:ext cx="57508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p:nvSpPr>
        <p:spPr bwMode="ltGray">
          <a:xfrm>
            <a:off x="11351438" y="6334145"/>
            <a:ext cx="294063" cy="195761"/>
          </a:xfrm>
          <a:prstGeom prst="rect">
            <a:avLst/>
          </a:prstGeom>
          <a:noFill/>
          <a:ln w="9525" algn="ctr">
            <a:noFill/>
            <a:miter lim="800000"/>
            <a:headEnd/>
            <a:tailEnd/>
          </a:ln>
          <a:effectLst/>
        </p:spPr>
        <p:txBody>
          <a:bodyPr wrap="none" lIns="82101" tIns="41054" rIns="82101" bIns="41054" anchor="b">
            <a:spAutoFit/>
          </a:bodyPr>
          <a:lstStyle/>
          <a:p>
            <a:pPr algn="r" defTabSz="814192" eaLnBrk="0" hangingPunct="0">
              <a:lnSpc>
                <a:spcPct val="90000"/>
              </a:lnSpc>
              <a:defRPr/>
            </a:pPr>
            <a:fld id="{4ABDCABE-3F10-B64C-92F1-862014417034}" type="slidenum">
              <a:rPr lang="en-US" sz="800">
                <a:solidFill>
                  <a:srgbClr val="FFFFFF">
                    <a:alpha val="60000"/>
                  </a:srgbClr>
                </a:solidFill>
                <a:latin typeface="Arial"/>
                <a:cs typeface="CiscoSans Thin"/>
              </a:rPr>
              <a:pPr algn="r" defTabSz="814192" eaLnBrk="0" hangingPunct="0">
                <a:lnSpc>
                  <a:spcPct val="90000"/>
                </a:lnSpc>
                <a:defRPr/>
              </a:pPr>
              <a:t>‹#›</a:t>
            </a:fld>
            <a:endParaRPr lang="en-US" sz="800" dirty="0">
              <a:solidFill>
                <a:srgbClr val="FFFFFF">
                  <a:alpha val="60000"/>
                </a:srgbClr>
              </a:solidFill>
              <a:latin typeface="Arial"/>
              <a:cs typeface="CiscoSans Thin"/>
            </a:endParaRPr>
          </a:p>
        </p:txBody>
      </p:sp>
      <p:sp>
        <p:nvSpPr>
          <p:cNvPr id="10" name="Rectangle 4"/>
          <p:cNvSpPr>
            <a:spLocks noChangeArrowheads="1"/>
          </p:cNvSpPr>
          <p:nvPr/>
        </p:nvSpPr>
        <p:spPr bwMode="ltGray">
          <a:xfrm>
            <a:off x="7823345" y="6332473"/>
            <a:ext cx="3544024" cy="195761"/>
          </a:xfrm>
          <a:prstGeom prst="rect">
            <a:avLst/>
          </a:prstGeom>
          <a:noFill/>
          <a:ln w="9525">
            <a:noFill/>
            <a:miter lim="800000"/>
            <a:headEnd/>
            <a:tailEnd/>
          </a:ln>
          <a:effectLst/>
        </p:spPr>
        <p:txBody>
          <a:bodyPr lIns="82101" tIns="41054" rIns="82101" bIns="41054" anchor="b">
            <a:spAutoFit/>
          </a:bodyPr>
          <a:lstStyle/>
          <a:p>
            <a:pPr algn="ctr" defTabSz="814192" eaLnBrk="0" hangingPunct="0">
              <a:lnSpc>
                <a:spcPct val="90000"/>
              </a:lnSpc>
              <a:defRPr/>
            </a:pPr>
            <a:r>
              <a:rPr lang="en-US" sz="800" dirty="0">
                <a:solidFill>
                  <a:srgbClr val="FFFFFF">
                    <a:alpha val="60000"/>
                  </a:srgbClr>
                </a:solidFill>
                <a:latin typeface="Arial"/>
                <a:cs typeface="CiscoSans Thin"/>
              </a:rPr>
              <a:t>© 2015  Cisco and/or its affiliates. All rights reserved.   Cisco Confidential</a:t>
            </a:r>
          </a:p>
        </p:txBody>
      </p:sp>
    </p:spTree>
    <p:extLst>
      <p:ext uri="{BB962C8B-B14F-4D97-AF65-F5344CB8AC3E}">
        <p14:creationId xmlns:p14="http://schemas.microsoft.com/office/powerpoint/2010/main" val="1624465883"/>
      </p:ext>
    </p:extLst>
  </p:cSld>
  <p:clrMapOvr>
    <a:masterClrMapping/>
  </p:clrMapOvr>
  <p:transition spd="slow">
    <p:wip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87" y="6172208"/>
            <a:ext cx="977900"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6464" cy="6858000"/>
          </a:xfrm>
          <a:prstGeom prst="rect">
            <a:avLst/>
          </a:prstGeom>
        </p:spPr>
        <p:txBody>
          <a:bodyPr vert="horz" lIns="121874" tIns="60937" rIns="121874" bIns="60937"/>
          <a:lstStyle>
            <a:lvl1pPr marL="0" indent="0" algn="ctr">
              <a:buNone/>
              <a:defRPr sz="29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542383586"/>
      </p:ext>
    </p:extLst>
  </p:cSld>
  <p:clrMapOvr>
    <a:masterClrMapping/>
  </p:clrMapOvr>
  <p:transition spd="slow">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797051"/>
            <a:ext cx="11036459" cy="4224280"/>
          </a:xfrm>
          <a:prstGeom prst="rect">
            <a:avLst/>
          </a:prstGeom>
        </p:spPr>
        <p:txBody>
          <a:bodyPr lIns="91412" tIns="45710" rIns="91412" bIns="45710">
            <a:noAutofit/>
          </a:bodyPr>
          <a:lstStyle>
            <a:lvl1pPr marL="374524" indent="-298351">
              <a:lnSpc>
                <a:spcPct val="95000"/>
              </a:lnSpc>
              <a:spcBef>
                <a:spcPts val="1480"/>
              </a:spcBef>
              <a:buClr>
                <a:schemeClr val="tx1"/>
              </a:buClr>
              <a:buSzPct val="80000"/>
              <a:buFont typeface="Arial"/>
              <a:buChar char="•"/>
              <a:defRPr sz="2700" b="0" i="0">
                <a:solidFill>
                  <a:srgbClr val="676767"/>
                </a:solidFill>
                <a:latin typeface="+mn-lt"/>
                <a:cs typeface="CiscoSans ExtraLight"/>
              </a:defRPr>
            </a:lvl1pPr>
            <a:lvl2pPr marL="677110" indent="-287767">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622" indent="-228526">
              <a:buClr>
                <a:schemeClr val="tx1"/>
              </a:buClr>
              <a:buSzPct val="80000"/>
              <a:buFont typeface="Arial"/>
              <a:buChar char="•"/>
              <a:defRPr sz="2100" b="0" i="0">
                <a:solidFill>
                  <a:srgbClr val="676767"/>
                </a:solidFill>
                <a:latin typeface="+mn-lt"/>
                <a:cs typeface="CiscoSans ExtraLight"/>
              </a:defRPr>
            </a:lvl3pPr>
            <a:lvl4pPr marL="1214562" indent="-228526">
              <a:buClr>
                <a:schemeClr val="tx1"/>
              </a:buClr>
              <a:buSzPct val="80000"/>
              <a:buFont typeface="Arial"/>
              <a:buChar char="•"/>
              <a:defRPr sz="1900" b="0" i="0">
                <a:solidFill>
                  <a:srgbClr val="676767"/>
                </a:solidFill>
                <a:latin typeface="+mn-lt"/>
                <a:cs typeface="CiscoSans ExtraLight"/>
              </a:defRPr>
            </a:lvl4pPr>
            <a:lvl5pPr marL="1443087" indent="-224293">
              <a:buClr>
                <a:schemeClr val="tx1"/>
              </a:buClr>
              <a:buSzPct val="80000"/>
              <a:buFont typeface="Arial"/>
              <a:buChar char="•"/>
              <a:defRPr sz="16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725602785"/>
      </p:ext>
    </p:extLst>
  </p:cSld>
  <p:clrMapOvr>
    <a:masterClrMapping/>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3" y="320844"/>
            <a:ext cx="11307184" cy="5688861"/>
          </a:xfrm>
          <a:prstGeom prst="rect">
            <a:avLst/>
          </a:prstGeom>
        </p:spPr>
        <p:txBody>
          <a:bodyPr vert="horz" lIns="121880" tIns="60940" rIns="121880" bIns="60940"/>
          <a:lstStyle>
            <a:lvl1pPr marL="0" indent="0" algn="ctr">
              <a:buNone/>
              <a:defRPr sz="20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097498487"/>
      </p:ext>
    </p:extLst>
  </p:cSld>
  <p:clrMapOvr>
    <a:masterClrMapping/>
  </p:clrMapOvr>
  <p:transition spd="slow">
    <p:wip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4" name="Rectangle 3"/>
          <p:cNvSpPr/>
          <p:nvPr/>
        </p:nvSpPr>
        <p:spPr>
          <a:xfrm>
            <a:off x="2523069" y="795868"/>
            <a:ext cx="7131051" cy="40047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4" rIns="91422" bIns="45714" anchor="ctr"/>
          <a:lstStyle/>
          <a:p>
            <a:pPr algn="ctr" eaLnBrk="0" hangingPunct="0">
              <a:lnSpc>
                <a:spcPct val="90000"/>
              </a:lnSpc>
              <a:defRPr/>
            </a:pPr>
            <a:endParaRPr lang="en-US" sz="3200">
              <a:solidFill>
                <a:srgbClr val="FFFFFF"/>
              </a:solidFill>
              <a:latin typeface="Arial"/>
            </a:endParaRPr>
          </a:p>
        </p:txBody>
      </p:sp>
      <p:sp>
        <p:nvSpPr>
          <p:cNvPr id="5" name="Rectangle 4"/>
          <p:cNvSpPr/>
          <p:nvPr/>
        </p:nvSpPr>
        <p:spPr>
          <a:xfrm>
            <a:off x="2523068" y="4794252"/>
            <a:ext cx="7128933" cy="99694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2" tIns="45714" rIns="91422" bIns="45714" anchor="ctr"/>
          <a:lstStyle/>
          <a:p>
            <a:pPr algn="ctr" eaLnBrk="0" hangingPunct="0">
              <a:lnSpc>
                <a:spcPct val="90000"/>
              </a:lnSpc>
              <a:defRPr/>
            </a:pPr>
            <a:endParaRPr lang="en-US" sz="3200">
              <a:solidFill>
                <a:srgbClr val="FFFFFF"/>
              </a:solidFill>
              <a:latin typeface="Arial"/>
            </a:endParaRPr>
          </a:p>
        </p:txBody>
      </p:sp>
      <p:sp>
        <p:nvSpPr>
          <p:cNvPr id="26" name="Picture Placeholder 25"/>
          <p:cNvSpPr>
            <a:spLocks noGrp="1"/>
          </p:cNvSpPr>
          <p:nvPr>
            <p:ph type="pic" sz="quarter" idx="10"/>
          </p:nvPr>
        </p:nvSpPr>
        <p:spPr>
          <a:xfrm>
            <a:off x="2533653" y="795528"/>
            <a:ext cx="7105651" cy="4005072"/>
          </a:xfrm>
          <a:prstGeom prst="rect">
            <a:avLst/>
          </a:prstGeom>
          <a:solidFill>
            <a:schemeClr val="bg1">
              <a:alpha val="30000"/>
            </a:schemeClr>
          </a:solidFill>
          <a:ln>
            <a:solidFill>
              <a:srgbClr val="676767"/>
            </a:solidFill>
          </a:ln>
          <a:effectLst/>
        </p:spPr>
        <p:txBody>
          <a:bodyPr lIns="121880" tIns="60940" rIns="121880" bIns="60940"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hasCustomPrompt="1"/>
          </p:nvPr>
        </p:nvSpPr>
        <p:spPr>
          <a:xfrm>
            <a:off x="2754497" y="4873439"/>
            <a:ext cx="6765427" cy="838200"/>
          </a:xfrm>
        </p:spPr>
        <p:txBody>
          <a:bodyPr anchor="ctr"/>
          <a:lstStyle>
            <a:lvl1pPr>
              <a:defRPr sz="2700">
                <a:solidFill>
                  <a:srgbClr val="676767"/>
                </a:solidFill>
                <a:latin typeface="+mj-lt"/>
              </a:defRPr>
            </a:lvl1pPr>
          </a:lstStyle>
          <a:p>
            <a:r>
              <a:rPr lang="en-GB" dirty="0"/>
              <a:t>Click to edit title</a:t>
            </a:r>
            <a:endParaRPr lang="en-US" dirty="0"/>
          </a:p>
        </p:txBody>
      </p:sp>
      <p:sp>
        <p:nvSpPr>
          <p:cNvPr id="6" name="Rectangle 5"/>
          <p:cNvSpPr/>
          <p:nvPr/>
        </p:nvSpPr>
        <p:spPr>
          <a:xfrm>
            <a:off x="2522500" y="4794355"/>
            <a:ext cx="7130069" cy="99637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6" tIns="45718" rIns="91426" bIns="45718" rtlCol="0" anchor="ctr"/>
          <a:lstStyle/>
          <a:p>
            <a:pPr algn="ctr" eaLnBrk="0" fontAlgn="base" hangingPunct="0">
              <a:lnSpc>
                <a:spcPct val="90000"/>
              </a:lnSpc>
              <a:spcBef>
                <a:spcPct val="0"/>
              </a:spcBef>
              <a:spcAft>
                <a:spcPct val="0"/>
              </a:spcAft>
            </a:pPr>
            <a:endParaRPr lang="en-US" sz="3200">
              <a:solidFill>
                <a:srgbClr val="FFFFFF"/>
              </a:solidFill>
              <a:latin typeface="Arial"/>
            </a:endParaRPr>
          </a:p>
        </p:txBody>
      </p:sp>
      <p:sp>
        <p:nvSpPr>
          <p:cNvPr id="7" name="Rectangle 7"/>
          <p:cNvSpPr>
            <a:spLocks noChangeArrowheads="1"/>
          </p:cNvSpPr>
          <p:nvPr/>
        </p:nvSpPr>
        <p:spPr bwMode="ltGray">
          <a:xfrm>
            <a:off x="11549886" y="6549644"/>
            <a:ext cx="291945" cy="206029"/>
          </a:xfrm>
          <a:prstGeom prst="rect">
            <a:avLst/>
          </a:prstGeom>
          <a:noFill/>
          <a:ln w="9525" algn="ctr">
            <a:noFill/>
            <a:miter lim="800000"/>
            <a:headEnd/>
            <a:tailEnd/>
          </a:ln>
          <a:effectLst/>
        </p:spPr>
        <p:txBody>
          <a:bodyPr wrap="none" lIns="82109" tIns="41058" rIns="82109" bIns="41058" anchor="b">
            <a:spAutoFit/>
          </a:bodyPr>
          <a:lstStyle/>
          <a:p>
            <a:pPr algn="r" defTabSz="814260" eaLnBrk="0" fontAlgn="base" hangingPunct="0">
              <a:spcBef>
                <a:spcPct val="0"/>
              </a:spcBef>
              <a:spcAft>
                <a:spcPct val="0"/>
              </a:spcAft>
            </a:pPr>
            <a:fld id="{DFCF27A5-1A5B-48D3-A060-2758FFBB1ADD}" type="slidenum">
              <a:rPr lang="en-US" sz="800">
                <a:solidFill>
                  <a:srgbClr val="2968AF"/>
                </a:solidFill>
                <a:latin typeface="Arial"/>
              </a:rPr>
              <a:pPr algn="r" defTabSz="814260" eaLnBrk="0" fontAlgn="base" hangingPunct="0">
                <a:spcBef>
                  <a:spcPct val="0"/>
                </a:spcBef>
                <a:spcAft>
                  <a:spcPct val="0"/>
                </a:spcAft>
              </a:pPr>
              <a:t>‹#›</a:t>
            </a:fld>
            <a:endParaRPr lang="en-US" sz="800" dirty="0">
              <a:solidFill>
                <a:srgbClr val="2968AF"/>
              </a:solidFill>
              <a:latin typeface="Arial"/>
            </a:endParaRPr>
          </a:p>
        </p:txBody>
      </p:sp>
      <p:sp>
        <p:nvSpPr>
          <p:cNvPr id="8" name="Rectangle 5"/>
          <p:cNvSpPr>
            <a:spLocks noChangeArrowheads="1"/>
          </p:cNvSpPr>
          <p:nvPr/>
        </p:nvSpPr>
        <p:spPr bwMode="ltGray">
          <a:xfrm>
            <a:off x="10417676" y="6576141"/>
            <a:ext cx="1016525" cy="206040"/>
          </a:xfrm>
          <a:prstGeom prst="rect">
            <a:avLst/>
          </a:prstGeom>
          <a:noFill/>
          <a:ln w="9525">
            <a:noFill/>
            <a:miter lim="800000"/>
            <a:headEnd/>
            <a:tailEnd/>
          </a:ln>
          <a:effectLst/>
        </p:spPr>
        <p:txBody>
          <a:bodyPr wrap="none" lIns="82105" tIns="41054" rIns="82105" bIns="41054" anchor="b">
            <a:spAutoFit/>
          </a:bodyPr>
          <a:lstStyle/>
          <a:p>
            <a:pPr algn="r" defTabSz="814225" eaLnBrk="0" fontAlgn="base" hangingPunct="0">
              <a:spcBef>
                <a:spcPct val="0"/>
              </a:spcBef>
              <a:spcAft>
                <a:spcPct val="0"/>
              </a:spcAft>
            </a:pPr>
            <a:r>
              <a:rPr lang="en-US" sz="800" dirty="0">
                <a:solidFill>
                  <a:srgbClr val="FFFFFF"/>
                </a:solidFill>
                <a:latin typeface="Arial"/>
                <a:cs typeface="CiscoSans Thin"/>
              </a:rPr>
              <a:t>Cisco Confidential</a:t>
            </a:r>
          </a:p>
        </p:txBody>
      </p:sp>
      <p:sp>
        <p:nvSpPr>
          <p:cNvPr id="9" name="Rectangle 7"/>
          <p:cNvSpPr>
            <a:spLocks noChangeArrowheads="1"/>
          </p:cNvSpPr>
          <p:nvPr/>
        </p:nvSpPr>
        <p:spPr bwMode="ltGray">
          <a:xfrm>
            <a:off x="11549894" y="6572053"/>
            <a:ext cx="291937" cy="206024"/>
          </a:xfrm>
          <a:prstGeom prst="rect">
            <a:avLst/>
          </a:prstGeom>
          <a:noFill/>
          <a:ln w="9525" algn="ctr">
            <a:noFill/>
            <a:miter lim="800000"/>
            <a:headEnd/>
            <a:tailEnd/>
          </a:ln>
          <a:effectLst/>
        </p:spPr>
        <p:txBody>
          <a:bodyPr wrap="none" lIns="82105" tIns="41054" rIns="82105" bIns="41054" anchor="b">
            <a:spAutoFit/>
          </a:bodyPr>
          <a:lstStyle/>
          <a:p>
            <a:pPr algn="r" defTabSz="814225" eaLnBrk="0" fontAlgn="base" hangingPunct="0">
              <a:spcBef>
                <a:spcPct val="0"/>
              </a:spcBef>
              <a:spcAft>
                <a:spcPct val="0"/>
              </a:spcAft>
            </a:pPr>
            <a:fld id="{DFCF27A5-1A5B-48D3-A060-2758FFBB1ADD}" type="slidenum">
              <a:rPr lang="en-US" sz="800">
                <a:solidFill>
                  <a:srgbClr val="FFFFFF"/>
                </a:solidFill>
                <a:latin typeface="Arial"/>
                <a:cs typeface="CiscoSans Thin"/>
              </a:rPr>
              <a:pPr algn="r" defTabSz="814225" eaLnBrk="0" fontAlgn="base" hangingPunct="0">
                <a:spcBef>
                  <a:spcPct val="0"/>
                </a:spcBef>
                <a:spcAft>
                  <a:spcPct val="0"/>
                </a:spcAft>
              </a:pPr>
              <a:t>‹#›</a:t>
            </a:fld>
            <a:endParaRPr lang="en-US" sz="800" dirty="0">
              <a:solidFill>
                <a:srgbClr val="FFFFFF"/>
              </a:solidFill>
              <a:latin typeface="Arial"/>
              <a:cs typeface="CiscoSans Thin"/>
            </a:endParaRPr>
          </a:p>
        </p:txBody>
      </p:sp>
      <p:sp>
        <p:nvSpPr>
          <p:cNvPr id="10" name="Rectangle 4"/>
          <p:cNvSpPr>
            <a:spLocks noChangeArrowheads="1"/>
          </p:cNvSpPr>
          <p:nvPr/>
        </p:nvSpPr>
        <p:spPr bwMode="ltGray">
          <a:xfrm>
            <a:off x="389402" y="6555465"/>
            <a:ext cx="4560687" cy="206040"/>
          </a:xfrm>
          <a:prstGeom prst="rect">
            <a:avLst/>
          </a:prstGeom>
          <a:noFill/>
          <a:ln w="9525">
            <a:noFill/>
            <a:miter lim="800000"/>
            <a:headEnd/>
            <a:tailEnd/>
          </a:ln>
          <a:effectLst/>
        </p:spPr>
        <p:txBody>
          <a:bodyPr wrap="square" lIns="82105" tIns="41054" rIns="82105" bIns="41054" anchor="b" anchorCtr="0">
            <a:spAutoFit/>
          </a:bodyPr>
          <a:lstStyle/>
          <a:p>
            <a:pPr defTabSz="814225" eaLnBrk="0" fontAlgn="base" hangingPunct="0">
              <a:spcBef>
                <a:spcPct val="0"/>
              </a:spcBef>
              <a:spcAft>
                <a:spcPct val="0"/>
              </a:spcAft>
            </a:pPr>
            <a:r>
              <a:rPr lang="en-US" sz="800" dirty="0">
                <a:solidFill>
                  <a:srgbClr val="FFFFFF"/>
                </a:solidFill>
                <a:latin typeface="Arial"/>
                <a:cs typeface="CiscoSans Thin"/>
              </a:rPr>
              <a:t>© 2013-2014  Cisco and/or its affiliates. All rights reserved.</a:t>
            </a:r>
          </a:p>
        </p:txBody>
      </p:sp>
    </p:spTree>
    <p:extLst>
      <p:ext uri="{BB962C8B-B14F-4D97-AF65-F5344CB8AC3E}">
        <p14:creationId xmlns:p14="http://schemas.microsoft.com/office/powerpoint/2010/main" val="707619995"/>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4" name="Rectangle 3"/>
          <p:cNvSpPr/>
          <p:nvPr/>
        </p:nvSpPr>
        <p:spPr>
          <a:xfrm>
            <a:off x="733073" y="311158"/>
            <a:ext cx="4364567" cy="24595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4" rIns="91422" bIns="45714" anchor="ctr"/>
          <a:lstStyle/>
          <a:p>
            <a:pPr algn="ctr" eaLnBrk="0" hangingPunct="0">
              <a:lnSpc>
                <a:spcPct val="90000"/>
              </a:lnSpc>
              <a:defRPr/>
            </a:pPr>
            <a:endParaRPr lang="en-US" sz="3200">
              <a:solidFill>
                <a:srgbClr val="FFFFFF"/>
              </a:solidFill>
              <a:latin typeface="Arial"/>
            </a:endParaRPr>
          </a:p>
        </p:txBody>
      </p:sp>
      <p:sp>
        <p:nvSpPr>
          <p:cNvPr id="26" name="Picture Placeholder 25"/>
          <p:cNvSpPr>
            <a:spLocks noGrp="1"/>
          </p:cNvSpPr>
          <p:nvPr>
            <p:ph type="pic" sz="quarter" idx="10"/>
          </p:nvPr>
        </p:nvSpPr>
        <p:spPr>
          <a:xfrm>
            <a:off x="733323" y="310896"/>
            <a:ext cx="4364736" cy="2459736"/>
          </a:xfrm>
          <a:prstGeom prst="rect">
            <a:avLst/>
          </a:prstGeom>
          <a:solidFill>
            <a:schemeClr val="bg1">
              <a:alpha val="30000"/>
            </a:schemeClr>
          </a:solidFill>
          <a:ln>
            <a:solidFill>
              <a:srgbClr val="676767"/>
            </a:solidFill>
          </a:ln>
          <a:effectLst/>
        </p:spPr>
        <p:txBody>
          <a:bodyPr vert="horz" lIns="91422" tIns="45714" rIns="91422" bIns="45714"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574588" y="3307598"/>
            <a:ext cx="8973153" cy="2152559"/>
          </a:xfrm>
        </p:spPr>
        <p:txBody>
          <a:bodyPr>
            <a:noAutofit/>
          </a:bodyPr>
          <a:lstStyle>
            <a:lvl1pPr marL="0" marR="0" indent="0" algn="l" defTabSz="914217" rtl="0" eaLnBrk="1" fontAlgn="auto" latinLnBrk="0" hangingPunct="1">
              <a:lnSpc>
                <a:spcPct val="80000"/>
              </a:lnSpc>
              <a:spcBef>
                <a:spcPct val="0"/>
              </a:spcBef>
              <a:spcAft>
                <a:spcPts val="0"/>
              </a:spcAft>
              <a:buClrTx/>
              <a:buSzTx/>
              <a:buFontTx/>
              <a:buNone/>
              <a:tabLst/>
              <a:defRPr sz="6000">
                <a:solidFill>
                  <a:srgbClr val="676767"/>
                </a:solidFill>
                <a:latin typeface="+mj-lt"/>
              </a:defRPr>
            </a:lvl1pPr>
          </a:lstStyle>
          <a:p>
            <a:r>
              <a:rPr lang="en-GB" dirty="0"/>
              <a:t>Click to edit title</a:t>
            </a:r>
            <a:endParaRPr lang="en-US" dirty="0"/>
          </a:p>
        </p:txBody>
      </p:sp>
      <p:sp>
        <p:nvSpPr>
          <p:cNvPr id="5" name="Rectangle 4"/>
          <p:cNvSpPr>
            <a:spLocks noChangeArrowheads="1"/>
          </p:cNvSpPr>
          <p:nvPr/>
        </p:nvSpPr>
        <p:spPr bwMode="ltGray">
          <a:xfrm>
            <a:off x="389401" y="6555470"/>
            <a:ext cx="4560687" cy="206047"/>
          </a:xfrm>
          <a:prstGeom prst="rect">
            <a:avLst/>
          </a:prstGeom>
          <a:noFill/>
          <a:ln w="9525">
            <a:noFill/>
            <a:miter lim="800000"/>
            <a:headEnd/>
            <a:tailEnd/>
          </a:ln>
          <a:effectLst/>
        </p:spPr>
        <p:txBody>
          <a:bodyPr wrap="square" lIns="82109" tIns="41058" rIns="82109" bIns="41058" anchor="b" anchorCtr="0">
            <a:spAutoFit/>
          </a:bodyPr>
          <a:lstStyle/>
          <a:p>
            <a:pPr defTabSz="814260" eaLnBrk="0" fontAlgn="base" hangingPunct="0">
              <a:spcBef>
                <a:spcPct val="0"/>
              </a:spcBef>
              <a:spcAft>
                <a:spcPct val="0"/>
              </a:spcAft>
            </a:pPr>
            <a:r>
              <a:rPr lang="en-US" sz="800" dirty="0">
                <a:solidFill>
                  <a:srgbClr val="2968AF"/>
                </a:solidFill>
                <a:latin typeface="Arial"/>
              </a:rPr>
              <a:t>© 2013  Cisco and/or its affiliates. All rights reserved.</a:t>
            </a:r>
          </a:p>
        </p:txBody>
      </p:sp>
      <p:sp>
        <p:nvSpPr>
          <p:cNvPr id="6" name="Rectangle 7"/>
          <p:cNvSpPr>
            <a:spLocks noChangeArrowheads="1"/>
          </p:cNvSpPr>
          <p:nvPr/>
        </p:nvSpPr>
        <p:spPr bwMode="ltGray">
          <a:xfrm>
            <a:off x="11549886" y="6549644"/>
            <a:ext cx="291945" cy="206029"/>
          </a:xfrm>
          <a:prstGeom prst="rect">
            <a:avLst/>
          </a:prstGeom>
          <a:noFill/>
          <a:ln w="9525" algn="ctr">
            <a:noFill/>
            <a:miter lim="800000"/>
            <a:headEnd/>
            <a:tailEnd/>
          </a:ln>
          <a:effectLst/>
        </p:spPr>
        <p:txBody>
          <a:bodyPr wrap="none" lIns="82109" tIns="41058" rIns="82109" bIns="41058" anchor="b">
            <a:spAutoFit/>
          </a:bodyPr>
          <a:lstStyle/>
          <a:p>
            <a:pPr algn="r" defTabSz="814260" eaLnBrk="0" fontAlgn="base" hangingPunct="0">
              <a:spcBef>
                <a:spcPct val="0"/>
              </a:spcBef>
              <a:spcAft>
                <a:spcPct val="0"/>
              </a:spcAft>
            </a:pPr>
            <a:fld id="{DFCF27A5-1A5B-48D3-A060-2758FFBB1ADD}" type="slidenum">
              <a:rPr lang="en-US" sz="800">
                <a:solidFill>
                  <a:srgbClr val="2968AF"/>
                </a:solidFill>
                <a:latin typeface="Arial"/>
              </a:rPr>
              <a:pPr algn="r" defTabSz="814260" eaLnBrk="0" fontAlgn="base" hangingPunct="0">
                <a:spcBef>
                  <a:spcPct val="0"/>
                </a:spcBef>
                <a:spcAft>
                  <a:spcPct val="0"/>
                </a:spcAft>
              </a:pPr>
              <a:t>‹#›</a:t>
            </a:fld>
            <a:endParaRPr lang="en-US" sz="800" dirty="0">
              <a:solidFill>
                <a:srgbClr val="2968AF"/>
              </a:solidFill>
              <a:latin typeface="Arial"/>
            </a:endParaRPr>
          </a:p>
        </p:txBody>
      </p:sp>
      <p:sp>
        <p:nvSpPr>
          <p:cNvPr id="7" name="Rectangle 5"/>
          <p:cNvSpPr>
            <a:spLocks noChangeArrowheads="1"/>
          </p:cNvSpPr>
          <p:nvPr/>
        </p:nvSpPr>
        <p:spPr bwMode="ltGray">
          <a:xfrm>
            <a:off x="10102660" y="6576173"/>
            <a:ext cx="1331541" cy="206015"/>
          </a:xfrm>
          <a:prstGeom prst="rect">
            <a:avLst/>
          </a:prstGeom>
          <a:noFill/>
          <a:ln w="9525">
            <a:noFill/>
            <a:miter lim="800000"/>
            <a:headEnd/>
            <a:tailEnd/>
          </a:ln>
          <a:effectLst/>
        </p:spPr>
        <p:txBody>
          <a:bodyPr wrap="none" lIns="82105" tIns="41054" rIns="82105" bIns="41054" anchor="b">
            <a:spAutoFit/>
          </a:bodyPr>
          <a:lstStyle/>
          <a:p>
            <a:pPr algn="r" defTabSz="814225" eaLnBrk="0" fontAlgn="base" hangingPunct="0">
              <a:spcBef>
                <a:spcPct val="0"/>
              </a:spcBef>
              <a:spcAft>
                <a:spcPct val="0"/>
              </a:spcAft>
            </a:pPr>
            <a:r>
              <a:rPr lang="en-US" sz="800" dirty="0">
                <a:solidFill>
                  <a:srgbClr val="FFFFFF"/>
                </a:solidFill>
                <a:latin typeface="Arial"/>
                <a:cs typeface="CiscoSans Thin"/>
              </a:rPr>
              <a:t>Cisco Highly Confidential</a:t>
            </a:r>
          </a:p>
        </p:txBody>
      </p:sp>
      <p:sp>
        <p:nvSpPr>
          <p:cNvPr id="8" name="Rectangle 7"/>
          <p:cNvSpPr>
            <a:spLocks noChangeArrowheads="1"/>
          </p:cNvSpPr>
          <p:nvPr/>
        </p:nvSpPr>
        <p:spPr bwMode="ltGray">
          <a:xfrm>
            <a:off x="11549894" y="6572053"/>
            <a:ext cx="291937" cy="206024"/>
          </a:xfrm>
          <a:prstGeom prst="rect">
            <a:avLst/>
          </a:prstGeom>
          <a:noFill/>
          <a:ln w="9525" algn="ctr">
            <a:noFill/>
            <a:miter lim="800000"/>
            <a:headEnd/>
            <a:tailEnd/>
          </a:ln>
          <a:effectLst/>
        </p:spPr>
        <p:txBody>
          <a:bodyPr wrap="none" lIns="82105" tIns="41054" rIns="82105" bIns="41054" anchor="b">
            <a:spAutoFit/>
          </a:bodyPr>
          <a:lstStyle/>
          <a:p>
            <a:pPr algn="r" defTabSz="814225" eaLnBrk="0" fontAlgn="base" hangingPunct="0">
              <a:spcBef>
                <a:spcPct val="0"/>
              </a:spcBef>
              <a:spcAft>
                <a:spcPct val="0"/>
              </a:spcAft>
            </a:pPr>
            <a:fld id="{DFCF27A5-1A5B-48D3-A060-2758FFBB1ADD}" type="slidenum">
              <a:rPr lang="en-US" sz="800">
                <a:solidFill>
                  <a:srgbClr val="FFFFFF"/>
                </a:solidFill>
                <a:latin typeface="Arial"/>
                <a:cs typeface="CiscoSans Thin"/>
              </a:rPr>
              <a:pPr algn="r" defTabSz="814225" eaLnBrk="0" fontAlgn="base" hangingPunct="0">
                <a:spcBef>
                  <a:spcPct val="0"/>
                </a:spcBef>
                <a:spcAft>
                  <a:spcPct val="0"/>
                </a:spcAft>
              </a:pPr>
              <a:t>‹#›</a:t>
            </a:fld>
            <a:endParaRPr lang="en-US" sz="800" dirty="0">
              <a:solidFill>
                <a:srgbClr val="FFFFFF"/>
              </a:solidFill>
              <a:latin typeface="Arial"/>
              <a:cs typeface="CiscoSans Thin"/>
            </a:endParaRPr>
          </a:p>
        </p:txBody>
      </p:sp>
      <p:sp>
        <p:nvSpPr>
          <p:cNvPr id="10" name="Rectangle 4"/>
          <p:cNvSpPr>
            <a:spLocks noChangeArrowheads="1"/>
          </p:cNvSpPr>
          <p:nvPr/>
        </p:nvSpPr>
        <p:spPr bwMode="ltGray">
          <a:xfrm>
            <a:off x="389402" y="6555465"/>
            <a:ext cx="4560687" cy="206040"/>
          </a:xfrm>
          <a:prstGeom prst="rect">
            <a:avLst/>
          </a:prstGeom>
          <a:noFill/>
          <a:ln w="9525">
            <a:noFill/>
            <a:miter lim="800000"/>
            <a:headEnd/>
            <a:tailEnd/>
          </a:ln>
          <a:effectLst/>
        </p:spPr>
        <p:txBody>
          <a:bodyPr wrap="square" lIns="82105" tIns="41054" rIns="82105" bIns="41054" anchor="b" anchorCtr="0">
            <a:spAutoFit/>
          </a:bodyPr>
          <a:lstStyle/>
          <a:p>
            <a:pPr defTabSz="814225" eaLnBrk="0" fontAlgn="base" hangingPunct="0">
              <a:spcBef>
                <a:spcPct val="0"/>
              </a:spcBef>
              <a:spcAft>
                <a:spcPct val="0"/>
              </a:spcAft>
            </a:pPr>
            <a:r>
              <a:rPr lang="en-US" sz="800" dirty="0">
                <a:solidFill>
                  <a:srgbClr val="FFFFFF"/>
                </a:solidFill>
                <a:latin typeface="Arial"/>
                <a:cs typeface="CiscoSans Thin"/>
              </a:rPr>
              <a:t>© 2013-2014  Cisco and/or its affiliates. All rights reserved.</a:t>
            </a:r>
          </a:p>
        </p:txBody>
      </p:sp>
    </p:spTree>
    <p:extLst>
      <p:ext uri="{BB962C8B-B14F-4D97-AF65-F5344CB8AC3E}">
        <p14:creationId xmlns:p14="http://schemas.microsoft.com/office/powerpoint/2010/main" val="3317727552"/>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 name="Rectangle 3"/>
          <p:cNvSpPr/>
          <p:nvPr/>
        </p:nvSpPr>
        <p:spPr>
          <a:xfrm>
            <a:off x="6656917" y="728812"/>
            <a:ext cx="4840816" cy="515975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4" rIns="91422" bIns="45714" anchor="ctr"/>
          <a:lstStyle/>
          <a:p>
            <a:pPr algn="ctr" eaLnBrk="0" hangingPunct="0">
              <a:lnSpc>
                <a:spcPct val="90000"/>
              </a:lnSpc>
              <a:defRPr/>
            </a:pPr>
            <a:endParaRPr lang="en-US" sz="3200">
              <a:solidFill>
                <a:srgbClr val="FFFFFF"/>
              </a:solidFill>
              <a:latin typeface="Arial"/>
            </a:endParaRPr>
          </a:p>
        </p:txBody>
      </p:sp>
      <p:sp>
        <p:nvSpPr>
          <p:cNvPr id="26" name="Picture Placeholder 25"/>
          <p:cNvSpPr>
            <a:spLocks noGrp="1"/>
          </p:cNvSpPr>
          <p:nvPr>
            <p:ph type="pic" sz="quarter" idx="10"/>
          </p:nvPr>
        </p:nvSpPr>
        <p:spPr>
          <a:xfrm>
            <a:off x="6656832" y="728980"/>
            <a:ext cx="4840224" cy="5159757"/>
          </a:xfrm>
          <a:prstGeom prst="rect">
            <a:avLst/>
          </a:prstGeom>
          <a:solidFill>
            <a:schemeClr val="bg1">
              <a:alpha val="30000"/>
            </a:schemeClr>
          </a:solidFill>
          <a:ln>
            <a:solidFill>
              <a:srgbClr val="2968AF"/>
            </a:solidFill>
          </a:ln>
          <a:effectLst/>
        </p:spPr>
        <p:txBody>
          <a:bodyPr lIns="121880" tIns="60940" rIns="121880" bIns="60940"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583560" y="728986"/>
            <a:ext cx="5799891" cy="1085313"/>
          </a:xfrm>
        </p:spPr>
        <p:txBody>
          <a:bodyPr wrap="none" anchor="t" anchorCtr="0">
            <a:noAutofit/>
          </a:bodyPr>
          <a:lstStyle>
            <a:lvl1pPr>
              <a:lnSpc>
                <a:spcPct val="90000"/>
              </a:lnSpc>
              <a:defRPr sz="3300">
                <a:solidFill>
                  <a:schemeClr val="bg1"/>
                </a:solidFill>
                <a:latin typeface="+mj-lt"/>
              </a:defRPr>
            </a:lvl1pPr>
          </a:lstStyle>
          <a:p>
            <a:r>
              <a:rPr lang="en-GB" dirty="0"/>
              <a:t>Click to edit title</a:t>
            </a:r>
            <a:endParaRPr lang="en-US" dirty="0"/>
          </a:p>
        </p:txBody>
      </p:sp>
      <p:sp>
        <p:nvSpPr>
          <p:cNvPr id="5" name="Rectangle 4"/>
          <p:cNvSpPr>
            <a:spLocks noChangeArrowheads="1"/>
          </p:cNvSpPr>
          <p:nvPr/>
        </p:nvSpPr>
        <p:spPr bwMode="ltGray">
          <a:xfrm>
            <a:off x="354233" y="6555470"/>
            <a:ext cx="4560687" cy="206047"/>
          </a:xfrm>
          <a:prstGeom prst="rect">
            <a:avLst/>
          </a:prstGeom>
          <a:noFill/>
          <a:ln w="9525">
            <a:noFill/>
            <a:miter lim="800000"/>
            <a:headEnd/>
            <a:tailEnd/>
          </a:ln>
          <a:effectLst/>
        </p:spPr>
        <p:txBody>
          <a:bodyPr wrap="square" lIns="82109" tIns="41058" rIns="82109" bIns="41058" anchor="b" anchorCtr="0">
            <a:spAutoFit/>
          </a:bodyPr>
          <a:lstStyle/>
          <a:p>
            <a:pPr defTabSz="814260" eaLnBrk="0" fontAlgn="base" hangingPunct="0">
              <a:spcBef>
                <a:spcPct val="0"/>
              </a:spcBef>
              <a:spcAft>
                <a:spcPct val="0"/>
              </a:spcAft>
            </a:pPr>
            <a:r>
              <a:rPr lang="en-US" sz="800" dirty="0">
                <a:solidFill>
                  <a:srgbClr val="2968AF"/>
                </a:solidFill>
                <a:latin typeface="Arial"/>
              </a:rPr>
              <a:t>© 2013  Cisco and/or its affiliates. All rights reserved.</a:t>
            </a:r>
          </a:p>
        </p:txBody>
      </p:sp>
      <p:sp>
        <p:nvSpPr>
          <p:cNvPr id="6" name="Rectangle 7"/>
          <p:cNvSpPr>
            <a:spLocks noChangeArrowheads="1"/>
          </p:cNvSpPr>
          <p:nvPr/>
        </p:nvSpPr>
        <p:spPr bwMode="ltGray">
          <a:xfrm>
            <a:off x="11549886" y="6549644"/>
            <a:ext cx="291945" cy="206029"/>
          </a:xfrm>
          <a:prstGeom prst="rect">
            <a:avLst/>
          </a:prstGeom>
          <a:noFill/>
          <a:ln w="9525" algn="ctr">
            <a:noFill/>
            <a:miter lim="800000"/>
            <a:headEnd/>
            <a:tailEnd/>
          </a:ln>
          <a:effectLst/>
        </p:spPr>
        <p:txBody>
          <a:bodyPr wrap="none" lIns="82109" tIns="41058" rIns="82109" bIns="41058" anchor="b">
            <a:spAutoFit/>
          </a:bodyPr>
          <a:lstStyle/>
          <a:p>
            <a:pPr algn="r" defTabSz="814260" eaLnBrk="0" fontAlgn="base" hangingPunct="0">
              <a:spcBef>
                <a:spcPct val="0"/>
              </a:spcBef>
              <a:spcAft>
                <a:spcPct val="0"/>
              </a:spcAft>
            </a:pPr>
            <a:fld id="{DFCF27A5-1A5B-48D3-A060-2758FFBB1ADD}" type="slidenum">
              <a:rPr lang="en-US" sz="800">
                <a:solidFill>
                  <a:srgbClr val="2968AF"/>
                </a:solidFill>
                <a:latin typeface="Arial"/>
              </a:rPr>
              <a:pPr algn="r" defTabSz="814260" eaLnBrk="0" fontAlgn="base" hangingPunct="0">
                <a:spcBef>
                  <a:spcPct val="0"/>
                </a:spcBef>
                <a:spcAft>
                  <a:spcPct val="0"/>
                </a:spcAft>
              </a:pPr>
              <a:t>‹#›</a:t>
            </a:fld>
            <a:endParaRPr lang="en-US" sz="800" dirty="0">
              <a:solidFill>
                <a:srgbClr val="2968AF"/>
              </a:solidFill>
              <a:latin typeface="Arial"/>
            </a:endParaRPr>
          </a:p>
        </p:txBody>
      </p:sp>
      <p:sp>
        <p:nvSpPr>
          <p:cNvPr id="7" name="Rectangle 5"/>
          <p:cNvSpPr>
            <a:spLocks noChangeArrowheads="1"/>
          </p:cNvSpPr>
          <p:nvPr/>
        </p:nvSpPr>
        <p:spPr bwMode="ltGray">
          <a:xfrm>
            <a:off x="10102660" y="6576173"/>
            <a:ext cx="1331541" cy="206015"/>
          </a:xfrm>
          <a:prstGeom prst="rect">
            <a:avLst/>
          </a:prstGeom>
          <a:noFill/>
          <a:ln w="9525">
            <a:noFill/>
            <a:miter lim="800000"/>
            <a:headEnd/>
            <a:tailEnd/>
          </a:ln>
          <a:effectLst/>
        </p:spPr>
        <p:txBody>
          <a:bodyPr wrap="none" lIns="82105" tIns="41054" rIns="82105" bIns="41054" anchor="b">
            <a:spAutoFit/>
          </a:bodyPr>
          <a:lstStyle/>
          <a:p>
            <a:pPr algn="r" defTabSz="814225" eaLnBrk="0" fontAlgn="base" hangingPunct="0">
              <a:spcBef>
                <a:spcPct val="0"/>
              </a:spcBef>
              <a:spcAft>
                <a:spcPct val="0"/>
              </a:spcAft>
            </a:pPr>
            <a:r>
              <a:rPr lang="en-US" sz="800" dirty="0">
                <a:solidFill>
                  <a:srgbClr val="FFFFFF"/>
                </a:solidFill>
                <a:latin typeface="Arial"/>
                <a:cs typeface="CiscoSans Thin"/>
              </a:rPr>
              <a:t>Cisco Highly Confidential</a:t>
            </a:r>
          </a:p>
        </p:txBody>
      </p:sp>
      <p:sp>
        <p:nvSpPr>
          <p:cNvPr id="8" name="Rectangle 7"/>
          <p:cNvSpPr>
            <a:spLocks noChangeArrowheads="1"/>
          </p:cNvSpPr>
          <p:nvPr/>
        </p:nvSpPr>
        <p:spPr bwMode="ltGray">
          <a:xfrm>
            <a:off x="11549894" y="6572053"/>
            <a:ext cx="291937" cy="206024"/>
          </a:xfrm>
          <a:prstGeom prst="rect">
            <a:avLst/>
          </a:prstGeom>
          <a:noFill/>
          <a:ln w="9525" algn="ctr">
            <a:noFill/>
            <a:miter lim="800000"/>
            <a:headEnd/>
            <a:tailEnd/>
          </a:ln>
          <a:effectLst/>
        </p:spPr>
        <p:txBody>
          <a:bodyPr wrap="none" lIns="82105" tIns="41054" rIns="82105" bIns="41054" anchor="b">
            <a:spAutoFit/>
          </a:bodyPr>
          <a:lstStyle/>
          <a:p>
            <a:pPr algn="r" defTabSz="814225" eaLnBrk="0" fontAlgn="base" hangingPunct="0">
              <a:spcBef>
                <a:spcPct val="0"/>
              </a:spcBef>
              <a:spcAft>
                <a:spcPct val="0"/>
              </a:spcAft>
            </a:pPr>
            <a:fld id="{DFCF27A5-1A5B-48D3-A060-2758FFBB1ADD}" type="slidenum">
              <a:rPr lang="en-US" sz="800">
                <a:solidFill>
                  <a:srgbClr val="FFFFFF"/>
                </a:solidFill>
                <a:latin typeface="Arial"/>
                <a:cs typeface="CiscoSans Thin"/>
              </a:rPr>
              <a:pPr algn="r" defTabSz="814225" eaLnBrk="0" fontAlgn="base" hangingPunct="0">
                <a:spcBef>
                  <a:spcPct val="0"/>
                </a:spcBef>
                <a:spcAft>
                  <a:spcPct val="0"/>
                </a:spcAft>
              </a:pPr>
              <a:t>‹#›</a:t>
            </a:fld>
            <a:endParaRPr lang="en-US" sz="800" dirty="0">
              <a:solidFill>
                <a:srgbClr val="FFFFFF"/>
              </a:solidFill>
              <a:latin typeface="Arial"/>
              <a:cs typeface="CiscoSans Thin"/>
            </a:endParaRPr>
          </a:p>
        </p:txBody>
      </p:sp>
      <p:sp>
        <p:nvSpPr>
          <p:cNvPr id="10" name="Rectangle 4"/>
          <p:cNvSpPr>
            <a:spLocks noChangeArrowheads="1"/>
          </p:cNvSpPr>
          <p:nvPr/>
        </p:nvSpPr>
        <p:spPr bwMode="ltGray">
          <a:xfrm>
            <a:off x="389402" y="6555465"/>
            <a:ext cx="4560687" cy="206040"/>
          </a:xfrm>
          <a:prstGeom prst="rect">
            <a:avLst/>
          </a:prstGeom>
          <a:noFill/>
          <a:ln w="9525">
            <a:noFill/>
            <a:miter lim="800000"/>
            <a:headEnd/>
            <a:tailEnd/>
          </a:ln>
          <a:effectLst/>
        </p:spPr>
        <p:txBody>
          <a:bodyPr wrap="square" lIns="82105" tIns="41054" rIns="82105" bIns="41054" anchor="b" anchorCtr="0">
            <a:spAutoFit/>
          </a:bodyPr>
          <a:lstStyle/>
          <a:p>
            <a:pPr defTabSz="814225" eaLnBrk="0" fontAlgn="base" hangingPunct="0">
              <a:spcBef>
                <a:spcPct val="0"/>
              </a:spcBef>
              <a:spcAft>
                <a:spcPct val="0"/>
              </a:spcAft>
            </a:pPr>
            <a:r>
              <a:rPr lang="en-US" sz="800" dirty="0">
                <a:solidFill>
                  <a:srgbClr val="FFFFFF"/>
                </a:solidFill>
                <a:latin typeface="Arial"/>
                <a:cs typeface="CiscoSans Thin"/>
              </a:rPr>
              <a:t>© 2013-2014  Cisco and/or its affiliates. All rights reserved.</a:t>
            </a:r>
          </a:p>
        </p:txBody>
      </p:sp>
    </p:spTree>
    <p:extLst>
      <p:ext uri="{BB962C8B-B14F-4D97-AF65-F5344CB8AC3E}">
        <p14:creationId xmlns:p14="http://schemas.microsoft.com/office/powerpoint/2010/main" val="4066178039"/>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9" name="Rectangle 8"/>
          <p:cNvSpPr/>
          <p:nvPr/>
        </p:nvSpPr>
        <p:spPr>
          <a:xfrm>
            <a:off x="4891617" y="311158"/>
            <a:ext cx="43582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4" rIns="91418" bIns="45714" anchor="ctr"/>
          <a:lstStyle/>
          <a:p>
            <a:pPr algn="ctr" eaLnBrk="0" hangingPunct="0">
              <a:lnSpc>
                <a:spcPct val="90000"/>
              </a:lnSpc>
              <a:defRPr/>
            </a:pPr>
            <a:endParaRPr lang="en-US" sz="3200">
              <a:solidFill>
                <a:srgbClr val="FFFFFF"/>
              </a:solidFill>
              <a:latin typeface="CiscoSans"/>
              <a:cs typeface="CiscoSans"/>
            </a:endParaRPr>
          </a:p>
        </p:txBody>
      </p:sp>
      <p:sp>
        <p:nvSpPr>
          <p:cNvPr id="10" name="Rectangle 9"/>
          <p:cNvSpPr/>
          <p:nvPr/>
        </p:nvSpPr>
        <p:spPr>
          <a:xfrm>
            <a:off x="446617" y="311158"/>
            <a:ext cx="43836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4" rIns="91418" bIns="45714" anchor="ctr"/>
          <a:lstStyle/>
          <a:p>
            <a:pPr algn="ctr" eaLnBrk="0" hangingPunct="0">
              <a:lnSpc>
                <a:spcPct val="90000"/>
              </a:lnSpc>
              <a:defRPr/>
            </a:pPr>
            <a:endParaRPr lang="en-US" sz="3200">
              <a:solidFill>
                <a:srgbClr val="FFFFFF"/>
              </a:solidFill>
              <a:latin typeface="CiscoSans"/>
              <a:cs typeface="CiscoSans"/>
            </a:endParaRPr>
          </a:p>
        </p:txBody>
      </p:sp>
      <p:sp>
        <p:nvSpPr>
          <p:cNvPr id="11" name="Rectangle 10"/>
          <p:cNvSpPr/>
          <p:nvPr/>
        </p:nvSpPr>
        <p:spPr>
          <a:xfrm>
            <a:off x="9306987" y="311151"/>
            <a:ext cx="2451100"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4" rIns="91418" bIns="45714" anchor="ctr"/>
          <a:lstStyle/>
          <a:p>
            <a:pPr algn="ctr" eaLnBrk="0" hangingPunct="0">
              <a:lnSpc>
                <a:spcPct val="90000"/>
              </a:lnSpc>
              <a:defRPr/>
            </a:pPr>
            <a:endParaRPr lang="en-US" sz="3200">
              <a:solidFill>
                <a:srgbClr val="FFFFFF"/>
              </a:solidFill>
              <a:latin typeface="CiscoSans"/>
              <a:cs typeface="CiscoSans"/>
            </a:endParaRPr>
          </a:p>
        </p:txBody>
      </p:sp>
      <p:sp>
        <p:nvSpPr>
          <p:cNvPr id="12" name="Rectangle 11"/>
          <p:cNvSpPr/>
          <p:nvPr/>
        </p:nvSpPr>
        <p:spPr>
          <a:xfrm>
            <a:off x="446625" y="3028958"/>
            <a:ext cx="3363383"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4" rIns="91418" bIns="45714" anchor="ctr"/>
          <a:lstStyle/>
          <a:p>
            <a:pPr algn="ctr" eaLnBrk="0" hangingPunct="0">
              <a:lnSpc>
                <a:spcPct val="90000"/>
              </a:lnSpc>
              <a:defRPr/>
            </a:pPr>
            <a:endParaRPr lang="en-US" sz="3200">
              <a:solidFill>
                <a:srgbClr val="FFFFFF"/>
              </a:solidFill>
              <a:latin typeface="CiscoSans"/>
              <a:cs typeface="CiscoSans"/>
            </a:endParaRPr>
          </a:p>
        </p:txBody>
      </p:sp>
      <p:sp>
        <p:nvSpPr>
          <p:cNvPr id="13" name="Rectangle 12"/>
          <p:cNvSpPr/>
          <p:nvPr/>
        </p:nvSpPr>
        <p:spPr>
          <a:xfrm>
            <a:off x="3881969" y="3028958"/>
            <a:ext cx="5367867"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4" rIns="91418" bIns="45714" anchor="ctr"/>
          <a:lstStyle/>
          <a:p>
            <a:pPr algn="ctr" eaLnBrk="0" hangingPunct="0">
              <a:lnSpc>
                <a:spcPct val="90000"/>
              </a:lnSpc>
              <a:defRPr/>
            </a:pPr>
            <a:endParaRPr lang="en-US" sz="3200">
              <a:solidFill>
                <a:srgbClr val="FFFFFF"/>
              </a:solidFill>
              <a:latin typeface="CiscoSans"/>
              <a:cs typeface="CiscoSans"/>
            </a:endParaRPr>
          </a:p>
        </p:txBody>
      </p:sp>
      <p:sp>
        <p:nvSpPr>
          <p:cNvPr id="14" name="Rectangle 13"/>
          <p:cNvSpPr/>
          <p:nvPr/>
        </p:nvSpPr>
        <p:spPr>
          <a:xfrm>
            <a:off x="9306987" y="1682751"/>
            <a:ext cx="2451100" cy="34438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4" rIns="91418" bIns="45714" anchor="ctr"/>
          <a:lstStyle/>
          <a:p>
            <a:pPr algn="ctr" eaLnBrk="0" hangingPunct="0">
              <a:lnSpc>
                <a:spcPct val="90000"/>
              </a:lnSpc>
              <a:defRPr/>
            </a:pPr>
            <a:endParaRPr lang="en-US" sz="3200">
              <a:solidFill>
                <a:srgbClr val="FFFFFF"/>
              </a:solidFill>
              <a:latin typeface="CiscoSans"/>
              <a:cs typeface="CiscoSans"/>
            </a:endParaRPr>
          </a:p>
        </p:txBody>
      </p:sp>
      <p:sp>
        <p:nvSpPr>
          <p:cNvPr id="15" name="Rectangle 14"/>
          <p:cNvSpPr/>
          <p:nvPr/>
        </p:nvSpPr>
        <p:spPr>
          <a:xfrm>
            <a:off x="9306987" y="5183717"/>
            <a:ext cx="2451100" cy="13038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4" rIns="91418" bIns="45714" anchor="ctr"/>
          <a:lstStyle/>
          <a:p>
            <a:pPr algn="ctr" eaLnBrk="0" hangingPunct="0">
              <a:lnSpc>
                <a:spcPct val="90000"/>
              </a:lnSpc>
              <a:defRPr/>
            </a:pPr>
            <a:endParaRPr lang="en-US" sz="3200">
              <a:solidFill>
                <a:srgbClr val="FFFFFF"/>
              </a:solidFill>
              <a:latin typeface="CiscoSans"/>
              <a:cs typeface="CiscoSans"/>
            </a:endParaRPr>
          </a:p>
        </p:txBody>
      </p:sp>
      <p:sp>
        <p:nvSpPr>
          <p:cNvPr id="49" name="Picture Placeholder 25"/>
          <p:cNvSpPr>
            <a:spLocks noGrp="1"/>
          </p:cNvSpPr>
          <p:nvPr>
            <p:ph type="pic" sz="quarter" idx="11"/>
          </p:nvPr>
        </p:nvSpPr>
        <p:spPr>
          <a:xfrm>
            <a:off x="4891995" y="311151"/>
            <a:ext cx="4357148" cy="2660652"/>
          </a:xfrm>
          <a:prstGeom prst="rect">
            <a:avLst/>
          </a:prstGeom>
          <a:solidFill>
            <a:schemeClr val="bg1">
              <a:alpha val="30000"/>
            </a:schemeClr>
          </a:solidFill>
          <a:ln>
            <a:solidFill>
              <a:schemeClr val="bg2"/>
            </a:solidFill>
          </a:ln>
          <a:effectLst/>
        </p:spPr>
        <p:txBody>
          <a:bodyPr vert="horz" lIns="91418" tIns="45714" rIns="91418" bIns="45714" rtlCol="0" anchor="ctr" anchorCtr="0">
            <a:normAutofit/>
          </a:bodyPr>
          <a:lstStyle>
            <a:lvl1pPr marL="0" indent="0" algn="ctr" defTabSz="914180"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427775" y="311151"/>
            <a:ext cx="4402668" cy="2660652"/>
          </a:xfrm>
          <a:prstGeom prst="rect">
            <a:avLst/>
          </a:prstGeom>
          <a:solidFill>
            <a:schemeClr val="bg1">
              <a:alpha val="30000"/>
            </a:schemeClr>
          </a:solidFill>
          <a:ln>
            <a:solidFill>
              <a:schemeClr val="bg2"/>
            </a:solidFill>
          </a:ln>
          <a:effectLst/>
        </p:spPr>
        <p:txBody>
          <a:bodyPr vert="horz" lIns="91418" tIns="45714" rIns="91418" bIns="45714" rtlCol="0" anchor="ctr" anchorCtr="0">
            <a:normAutofit/>
          </a:bodyPr>
          <a:lstStyle>
            <a:lvl1pPr marL="0" indent="0" algn="ctr" defTabSz="914180"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9306444" y="311151"/>
            <a:ext cx="2451640" cy="1308101"/>
          </a:xfrm>
          <a:prstGeom prst="rect">
            <a:avLst/>
          </a:prstGeom>
          <a:solidFill>
            <a:schemeClr val="bg1">
              <a:alpha val="30000"/>
            </a:schemeClr>
          </a:solidFill>
          <a:ln>
            <a:solidFill>
              <a:schemeClr val="bg2"/>
            </a:solidFill>
          </a:ln>
          <a:effectLst/>
        </p:spPr>
        <p:txBody>
          <a:bodyPr vert="horz" lIns="91418" tIns="45714" rIns="91418" bIns="45714" rtlCol="0" anchor="ctr" anchorCtr="0">
            <a:normAutofit/>
          </a:bodyPr>
          <a:lstStyle>
            <a:lvl1pPr marL="0" indent="0" algn="ctr" defTabSz="914180"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427765" y="3028965"/>
            <a:ext cx="3383227" cy="3458935"/>
          </a:xfrm>
          <a:prstGeom prst="rect">
            <a:avLst/>
          </a:prstGeom>
          <a:solidFill>
            <a:schemeClr val="bg1">
              <a:alpha val="30000"/>
            </a:schemeClr>
          </a:solidFill>
          <a:ln>
            <a:solidFill>
              <a:schemeClr val="bg2"/>
            </a:solidFill>
          </a:ln>
          <a:effectLst/>
        </p:spPr>
        <p:txBody>
          <a:bodyPr vert="horz" lIns="91418" tIns="45714" rIns="91418" bIns="45714" rtlCol="0" anchor="ctr" anchorCtr="0">
            <a:normAutofit/>
          </a:bodyPr>
          <a:lstStyle>
            <a:lvl1pPr marL="0" indent="0" algn="ctr" defTabSz="914180"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3877781" y="3028965"/>
            <a:ext cx="5371355" cy="3458935"/>
          </a:xfrm>
          <a:prstGeom prst="rect">
            <a:avLst/>
          </a:prstGeom>
          <a:solidFill>
            <a:schemeClr val="bg1">
              <a:alpha val="30000"/>
            </a:schemeClr>
          </a:solidFill>
          <a:ln>
            <a:solidFill>
              <a:schemeClr val="bg2"/>
            </a:solidFill>
          </a:ln>
          <a:effectLst/>
        </p:spPr>
        <p:txBody>
          <a:bodyPr vert="horz" lIns="91418" tIns="45714" rIns="91418" bIns="45714" rtlCol="0" anchor="ctr" anchorCtr="0">
            <a:normAutofit/>
          </a:bodyPr>
          <a:lstStyle>
            <a:lvl1pPr marL="0" indent="0" algn="ctr" defTabSz="914180"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9306444" y="1676401"/>
            <a:ext cx="2451640" cy="3449411"/>
          </a:xfrm>
          <a:prstGeom prst="rect">
            <a:avLst/>
          </a:prstGeom>
          <a:solidFill>
            <a:schemeClr val="bg1">
              <a:alpha val="30000"/>
            </a:schemeClr>
          </a:solidFill>
          <a:ln>
            <a:solidFill>
              <a:schemeClr val="bg2"/>
            </a:solidFill>
          </a:ln>
          <a:effectLst/>
        </p:spPr>
        <p:txBody>
          <a:bodyPr vert="horz" lIns="91418" tIns="45714" rIns="91418" bIns="45714" rtlCol="0" anchor="ctr" anchorCtr="0">
            <a:normAutofit/>
          </a:bodyPr>
          <a:lstStyle>
            <a:lvl1pPr marL="0" indent="0" algn="ctr" defTabSz="914180"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9306444" y="5182964"/>
            <a:ext cx="2451640" cy="1304925"/>
          </a:xfrm>
          <a:prstGeom prst="rect">
            <a:avLst/>
          </a:prstGeom>
          <a:solidFill>
            <a:schemeClr val="bg1">
              <a:alpha val="30000"/>
            </a:schemeClr>
          </a:solidFill>
          <a:ln>
            <a:solidFill>
              <a:schemeClr val="bg2"/>
            </a:solidFill>
          </a:ln>
          <a:effectLst/>
        </p:spPr>
        <p:txBody>
          <a:bodyPr vert="horz" lIns="91418" tIns="45714" rIns="91418" bIns="45714" rtlCol="0" anchor="ctr" anchorCtr="0">
            <a:normAutofit/>
          </a:bodyPr>
          <a:lstStyle>
            <a:lvl1pPr marL="0" indent="0" algn="ctr" defTabSz="914180"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16" name="Rectangle 5"/>
          <p:cNvSpPr>
            <a:spLocks noChangeArrowheads="1"/>
          </p:cNvSpPr>
          <p:nvPr/>
        </p:nvSpPr>
        <p:spPr bwMode="ltGray">
          <a:xfrm>
            <a:off x="10102660" y="6576173"/>
            <a:ext cx="1331541" cy="206015"/>
          </a:xfrm>
          <a:prstGeom prst="rect">
            <a:avLst/>
          </a:prstGeom>
          <a:noFill/>
          <a:ln w="9525">
            <a:noFill/>
            <a:miter lim="800000"/>
            <a:headEnd/>
            <a:tailEnd/>
          </a:ln>
          <a:effectLst/>
        </p:spPr>
        <p:txBody>
          <a:bodyPr wrap="none" lIns="82105" tIns="41054" rIns="82105" bIns="41054" anchor="b">
            <a:spAutoFit/>
          </a:bodyPr>
          <a:lstStyle/>
          <a:p>
            <a:pPr algn="r" defTabSz="814225" eaLnBrk="0" fontAlgn="base" hangingPunct="0">
              <a:spcBef>
                <a:spcPct val="0"/>
              </a:spcBef>
              <a:spcAft>
                <a:spcPct val="0"/>
              </a:spcAft>
            </a:pPr>
            <a:r>
              <a:rPr lang="en-US" sz="800" dirty="0">
                <a:solidFill>
                  <a:srgbClr val="FFFFFF"/>
                </a:solidFill>
                <a:latin typeface="Arial"/>
                <a:cs typeface="CiscoSans Thin"/>
              </a:rPr>
              <a:t>Cisco Highly Confidential</a:t>
            </a:r>
          </a:p>
        </p:txBody>
      </p:sp>
      <p:sp>
        <p:nvSpPr>
          <p:cNvPr id="17" name="Rectangle 7"/>
          <p:cNvSpPr>
            <a:spLocks noChangeArrowheads="1"/>
          </p:cNvSpPr>
          <p:nvPr/>
        </p:nvSpPr>
        <p:spPr bwMode="ltGray">
          <a:xfrm>
            <a:off x="11549894" y="6572053"/>
            <a:ext cx="291937" cy="206024"/>
          </a:xfrm>
          <a:prstGeom prst="rect">
            <a:avLst/>
          </a:prstGeom>
          <a:noFill/>
          <a:ln w="9525" algn="ctr">
            <a:noFill/>
            <a:miter lim="800000"/>
            <a:headEnd/>
            <a:tailEnd/>
          </a:ln>
          <a:effectLst/>
        </p:spPr>
        <p:txBody>
          <a:bodyPr wrap="none" lIns="82105" tIns="41054" rIns="82105" bIns="41054" anchor="b">
            <a:spAutoFit/>
          </a:bodyPr>
          <a:lstStyle/>
          <a:p>
            <a:pPr algn="r" defTabSz="814225" eaLnBrk="0" fontAlgn="base" hangingPunct="0">
              <a:spcBef>
                <a:spcPct val="0"/>
              </a:spcBef>
              <a:spcAft>
                <a:spcPct val="0"/>
              </a:spcAft>
            </a:pPr>
            <a:fld id="{DFCF27A5-1A5B-48D3-A060-2758FFBB1ADD}" type="slidenum">
              <a:rPr lang="en-US" sz="800">
                <a:solidFill>
                  <a:srgbClr val="FFFFFF"/>
                </a:solidFill>
                <a:latin typeface="Arial"/>
                <a:cs typeface="CiscoSans Thin"/>
              </a:rPr>
              <a:pPr algn="r" defTabSz="814225" eaLnBrk="0" fontAlgn="base" hangingPunct="0">
                <a:spcBef>
                  <a:spcPct val="0"/>
                </a:spcBef>
                <a:spcAft>
                  <a:spcPct val="0"/>
                </a:spcAft>
              </a:pPr>
              <a:t>‹#›</a:t>
            </a:fld>
            <a:endParaRPr lang="en-US" sz="800" dirty="0">
              <a:solidFill>
                <a:srgbClr val="FFFFFF"/>
              </a:solidFill>
              <a:latin typeface="Arial"/>
              <a:cs typeface="CiscoSans Thin"/>
            </a:endParaRPr>
          </a:p>
        </p:txBody>
      </p:sp>
      <p:sp>
        <p:nvSpPr>
          <p:cNvPr id="18" name="Rectangle 4"/>
          <p:cNvSpPr>
            <a:spLocks noChangeArrowheads="1"/>
          </p:cNvSpPr>
          <p:nvPr/>
        </p:nvSpPr>
        <p:spPr bwMode="ltGray">
          <a:xfrm>
            <a:off x="389402" y="6555465"/>
            <a:ext cx="4560687" cy="206040"/>
          </a:xfrm>
          <a:prstGeom prst="rect">
            <a:avLst/>
          </a:prstGeom>
          <a:noFill/>
          <a:ln w="9525">
            <a:noFill/>
            <a:miter lim="800000"/>
            <a:headEnd/>
            <a:tailEnd/>
          </a:ln>
          <a:effectLst/>
        </p:spPr>
        <p:txBody>
          <a:bodyPr wrap="square" lIns="82105" tIns="41054" rIns="82105" bIns="41054" anchor="b" anchorCtr="0">
            <a:spAutoFit/>
          </a:bodyPr>
          <a:lstStyle/>
          <a:p>
            <a:pPr defTabSz="814225" eaLnBrk="0" fontAlgn="base" hangingPunct="0">
              <a:spcBef>
                <a:spcPct val="0"/>
              </a:spcBef>
              <a:spcAft>
                <a:spcPct val="0"/>
              </a:spcAft>
            </a:pPr>
            <a:r>
              <a:rPr lang="en-US" sz="800" dirty="0">
                <a:solidFill>
                  <a:srgbClr val="FFFFFF"/>
                </a:solidFill>
                <a:latin typeface="Arial"/>
                <a:cs typeface="CiscoSans Thin"/>
              </a:rPr>
              <a:t>© 2013-2014  Cisco and/or its affiliates. All rights reserved.</a:t>
            </a:r>
          </a:p>
        </p:txBody>
      </p:sp>
    </p:spTree>
    <p:extLst>
      <p:ext uri="{BB962C8B-B14F-4D97-AF65-F5344CB8AC3E}">
        <p14:creationId xmlns:p14="http://schemas.microsoft.com/office/powerpoint/2010/main" val="61521622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3119019"/>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Wide screen video">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704858" y="777240"/>
            <a:ext cx="10886575"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91418" tIns="45714" rIns="91418" bIns="45714" rtlCol="0" anchor="ctr">
            <a:normAutofit/>
          </a:bodyPr>
          <a:lstStyle>
            <a:lvl1pPr marL="0" indent="0" algn="ctr" defTabSz="914180" rtl="0" eaLnBrk="1" latinLnBrk="0" hangingPunct="1">
              <a:lnSpc>
                <a:spcPct val="95000"/>
              </a:lnSpc>
              <a:spcBef>
                <a:spcPts val="1440"/>
              </a:spcBef>
              <a:buClr>
                <a:srgbClr val="92D050"/>
              </a:buClr>
              <a:buSzPct val="90000"/>
              <a:buFont typeface="Arial" pitchFamily="34" charset="0"/>
              <a:buNone/>
              <a:tabLst/>
              <a:defRPr lang="en-US" sz="19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
        <p:nvSpPr>
          <p:cNvPr id="3" name="Rectangle 5"/>
          <p:cNvSpPr>
            <a:spLocks noChangeArrowheads="1"/>
          </p:cNvSpPr>
          <p:nvPr/>
        </p:nvSpPr>
        <p:spPr bwMode="ltGray">
          <a:xfrm>
            <a:off x="10102660" y="6576173"/>
            <a:ext cx="1331541" cy="206015"/>
          </a:xfrm>
          <a:prstGeom prst="rect">
            <a:avLst/>
          </a:prstGeom>
          <a:noFill/>
          <a:ln w="9525">
            <a:noFill/>
            <a:miter lim="800000"/>
            <a:headEnd/>
            <a:tailEnd/>
          </a:ln>
          <a:effectLst/>
        </p:spPr>
        <p:txBody>
          <a:bodyPr wrap="none" lIns="82105" tIns="41054" rIns="82105" bIns="41054" anchor="b">
            <a:spAutoFit/>
          </a:bodyPr>
          <a:lstStyle/>
          <a:p>
            <a:pPr algn="r" defTabSz="814225" eaLnBrk="0" fontAlgn="base" hangingPunct="0">
              <a:spcBef>
                <a:spcPct val="0"/>
              </a:spcBef>
              <a:spcAft>
                <a:spcPct val="0"/>
              </a:spcAft>
            </a:pPr>
            <a:r>
              <a:rPr lang="en-US" sz="800" dirty="0">
                <a:solidFill>
                  <a:srgbClr val="FFFFFF"/>
                </a:solidFill>
                <a:latin typeface="Arial"/>
                <a:cs typeface="CiscoSans Thin"/>
              </a:rPr>
              <a:t>Cisco Highly Confidential</a:t>
            </a:r>
          </a:p>
        </p:txBody>
      </p:sp>
      <p:sp>
        <p:nvSpPr>
          <p:cNvPr id="4" name="Rectangle 7"/>
          <p:cNvSpPr>
            <a:spLocks noChangeArrowheads="1"/>
          </p:cNvSpPr>
          <p:nvPr/>
        </p:nvSpPr>
        <p:spPr bwMode="ltGray">
          <a:xfrm>
            <a:off x="11549894" y="6572053"/>
            <a:ext cx="291937" cy="206024"/>
          </a:xfrm>
          <a:prstGeom prst="rect">
            <a:avLst/>
          </a:prstGeom>
          <a:noFill/>
          <a:ln w="9525" algn="ctr">
            <a:noFill/>
            <a:miter lim="800000"/>
            <a:headEnd/>
            <a:tailEnd/>
          </a:ln>
          <a:effectLst/>
        </p:spPr>
        <p:txBody>
          <a:bodyPr wrap="none" lIns="82105" tIns="41054" rIns="82105" bIns="41054" anchor="b">
            <a:spAutoFit/>
          </a:bodyPr>
          <a:lstStyle/>
          <a:p>
            <a:pPr algn="r" defTabSz="814225" eaLnBrk="0" fontAlgn="base" hangingPunct="0">
              <a:spcBef>
                <a:spcPct val="0"/>
              </a:spcBef>
              <a:spcAft>
                <a:spcPct val="0"/>
              </a:spcAft>
            </a:pPr>
            <a:fld id="{DFCF27A5-1A5B-48D3-A060-2758FFBB1ADD}" type="slidenum">
              <a:rPr lang="en-US" sz="800">
                <a:solidFill>
                  <a:srgbClr val="FFFFFF"/>
                </a:solidFill>
                <a:latin typeface="Arial"/>
                <a:cs typeface="CiscoSans Thin"/>
              </a:rPr>
              <a:pPr algn="r" defTabSz="814225" eaLnBrk="0" fontAlgn="base" hangingPunct="0">
                <a:spcBef>
                  <a:spcPct val="0"/>
                </a:spcBef>
                <a:spcAft>
                  <a:spcPct val="0"/>
                </a:spcAft>
              </a:pPr>
              <a:t>‹#›</a:t>
            </a:fld>
            <a:endParaRPr lang="en-US" sz="800" dirty="0">
              <a:solidFill>
                <a:srgbClr val="FFFFFF"/>
              </a:solidFill>
              <a:latin typeface="Arial"/>
              <a:cs typeface="CiscoSans Thin"/>
            </a:endParaRPr>
          </a:p>
        </p:txBody>
      </p:sp>
      <p:sp>
        <p:nvSpPr>
          <p:cNvPr id="5" name="Rectangle 4"/>
          <p:cNvSpPr>
            <a:spLocks noChangeArrowheads="1"/>
          </p:cNvSpPr>
          <p:nvPr/>
        </p:nvSpPr>
        <p:spPr bwMode="ltGray">
          <a:xfrm>
            <a:off x="389402" y="6555465"/>
            <a:ext cx="4560687" cy="206040"/>
          </a:xfrm>
          <a:prstGeom prst="rect">
            <a:avLst/>
          </a:prstGeom>
          <a:noFill/>
          <a:ln w="9525">
            <a:noFill/>
            <a:miter lim="800000"/>
            <a:headEnd/>
            <a:tailEnd/>
          </a:ln>
          <a:effectLst/>
        </p:spPr>
        <p:txBody>
          <a:bodyPr wrap="square" lIns="82105" tIns="41054" rIns="82105" bIns="41054" anchor="b" anchorCtr="0">
            <a:spAutoFit/>
          </a:bodyPr>
          <a:lstStyle/>
          <a:p>
            <a:pPr defTabSz="814225" eaLnBrk="0" fontAlgn="base" hangingPunct="0">
              <a:spcBef>
                <a:spcPct val="0"/>
              </a:spcBef>
              <a:spcAft>
                <a:spcPct val="0"/>
              </a:spcAft>
            </a:pPr>
            <a:r>
              <a:rPr lang="en-US" sz="800" dirty="0">
                <a:solidFill>
                  <a:srgbClr val="FFFFFF"/>
                </a:solidFill>
                <a:latin typeface="Arial"/>
                <a:cs typeface="CiscoSans Thin"/>
              </a:rPr>
              <a:t>© 2013-2014  Cisco and/or its affiliates. All rights reserved.</a:t>
            </a:r>
          </a:p>
        </p:txBody>
      </p:sp>
    </p:spTree>
    <p:extLst>
      <p:ext uri="{BB962C8B-B14F-4D97-AF65-F5344CB8AC3E}">
        <p14:creationId xmlns:p14="http://schemas.microsoft.com/office/powerpoint/2010/main" val="42914556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tandard video">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905785" y="778669"/>
            <a:ext cx="5899416"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91418" tIns="45714" rIns="91418" bIns="45714" rtlCol="0" anchor="ctr">
            <a:normAutofit/>
          </a:bodyPr>
          <a:lstStyle>
            <a:lvl1pPr marL="0" indent="0" algn="ctr" defTabSz="914180" rtl="0" eaLnBrk="1" latinLnBrk="0" hangingPunct="1">
              <a:lnSpc>
                <a:spcPct val="95000"/>
              </a:lnSpc>
              <a:spcBef>
                <a:spcPts val="1440"/>
              </a:spcBef>
              <a:buClr>
                <a:srgbClr val="92D050"/>
              </a:buClr>
              <a:buSzPct val="90000"/>
              <a:buFont typeface="Arial" pitchFamily="34" charset="0"/>
              <a:buNone/>
              <a:tabLst/>
              <a:defRPr lang="en-US" sz="1900" kern="1200">
                <a:solidFill>
                  <a:schemeClr val="lt1"/>
                </a:solidFill>
                <a:latin typeface="+mn-lt"/>
                <a:ea typeface="+mn-ea"/>
                <a:cs typeface="CiscoSans"/>
              </a:defRPr>
            </a:lvl1pPr>
          </a:lstStyle>
          <a:p>
            <a:pPr lvl="0"/>
            <a:r>
              <a:rPr lang="en-US" noProof="0"/>
              <a:t>Click icon to add media</a:t>
            </a:r>
            <a:endParaRPr lang="en-US" noProof="0" dirty="0"/>
          </a:p>
        </p:txBody>
      </p:sp>
      <p:sp>
        <p:nvSpPr>
          <p:cNvPr id="3" name="Rectangle 5"/>
          <p:cNvSpPr>
            <a:spLocks noChangeArrowheads="1"/>
          </p:cNvSpPr>
          <p:nvPr/>
        </p:nvSpPr>
        <p:spPr bwMode="ltGray">
          <a:xfrm>
            <a:off x="10102660" y="6576173"/>
            <a:ext cx="1331541" cy="206015"/>
          </a:xfrm>
          <a:prstGeom prst="rect">
            <a:avLst/>
          </a:prstGeom>
          <a:noFill/>
          <a:ln w="9525">
            <a:noFill/>
            <a:miter lim="800000"/>
            <a:headEnd/>
            <a:tailEnd/>
          </a:ln>
          <a:effectLst/>
        </p:spPr>
        <p:txBody>
          <a:bodyPr wrap="none" lIns="82105" tIns="41054" rIns="82105" bIns="41054" anchor="b">
            <a:spAutoFit/>
          </a:bodyPr>
          <a:lstStyle/>
          <a:p>
            <a:pPr algn="r" defTabSz="814225" eaLnBrk="0" fontAlgn="base" hangingPunct="0">
              <a:spcBef>
                <a:spcPct val="0"/>
              </a:spcBef>
              <a:spcAft>
                <a:spcPct val="0"/>
              </a:spcAft>
            </a:pPr>
            <a:r>
              <a:rPr lang="en-US" sz="800" dirty="0">
                <a:solidFill>
                  <a:srgbClr val="FFFFFF"/>
                </a:solidFill>
                <a:latin typeface="Arial"/>
                <a:cs typeface="CiscoSans Thin"/>
              </a:rPr>
              <a:t>Cisco Highly Confidential</a:t>
            </a:r>
          </a:p>
        </p:txBody>
      </p:sp>
      <p:sp>
        <p:nvSpPr>
          <p:cNvPr id="4" name="Rectangle 7"/>
          <p:cNvSpPr>
            <a:spLocks noChangeArrowheads="1"/>
          </p:cNvSpPr>
          <p:nvPr/>
        </p:nvSpPr>
        <p:spPr bwMode="ltGray">
          <a:xfrm>
            <a:off x="11549894" y="6572053"/>
            <a:ext cx="291937" cy="206024"/>
          </a:xfrm>
          <a:prstGeom prst="rect">
            <a:avLst/>
          </a:prstGeom>
          <a:noFill/>
          <a:ln w="9525" algn="ctr">
            <a:noFill/>
            <a:miter lim="800000"/>
            <a:headEnd/>
            <a:tailEnd/>
          </a:ln>
          <a:effectLst/>
        </p:spPr>
        <p:txBody>
          <a:bodyPr wrap="none" lIns="82105" tIns="41054" rIns="82105" bIns="41054" anchor="b">
            <a:spAutoFit/>
          </a:bodyPr>
          <a:lstStyle/>
          <a:p>
            <a:pPr algn="r" defTabSz="814225" eaLnBrk="0" fontAlgn="base" hangingPunct="0">
              <a:spcBef>
                <a:spcPct val="0"/>
              </a:spcBef>
              <a:spcAft>
                <a:spcPct val="0"/>
              </a:spcAft>
            </a:pPr>
            <a:fld id="{DFCF27A5-1A5B-48D3-A060-2758FFBB1ADD}" type="slidenum">
              <a:rPr lang="en-US" sz="800">
                <a:solidFill>
                  <a:srgbClr val="FFFFFF"/>
                </a:solidFill>
                <a:latin typeface="Arial"/>
                <a:cs typeface="CiscoSans Thin"/>
              </a:rPr>
              <a:pPr algn="r" defTabSz="814225" eaLnBrk="0" fontAlgn="base" hangingPunct="0">
                <a:spcBef>
                  <a:spcPct val="0"/>
                </a:spcBef>
                <a:spcAft>
                  <a:spcPct val="0"/>
                </a:spcAft>
              </a:pPr>
              <a:t>‹#›</a:t>
            </a:fld>
            <a:endParaRPr lang="en-US" sz="800" dirty="0">
              <a:solidFill>
                <a:srgbClr val="FFFFFF"/>
              </a:solidFill>
              <a:latin typeface="Arial"/>
              <a:cs typeface="CiscoSans Thin"/>
            </a:endParaRPr>
          </a:p>
        </p:txBody>
      </p:sp>
      <p:sp>
        <p:nvSpPr>
          <p:cNvPr id="5" name="Rectangle 4"/>
          <p:cNvSpPr>
            <a:spLocks noChangeArrowheads="1"/>
          </p:cNvSpPr>
          <p:nvPr/>
        </p:nvSpPr>
        <p:spPr bwMode="ltGray">
          <a:xfrm>
            <a:off x="389402" y="6555465"/>
            <a:ext cx="4560687" cy="206040"/>
          </a:xfrm>
          <a:prstGeom prst="rect">
            <a:avLst/>
          </a:prstGeom>
          <a:noFill/>
          <a:ln w="9525">
            <a:noFill/>
            <a:miter lim="800000"/>
            <a:headEnd/>
            <a:tailEnd/>
          </a:ln>
          <a:effectLst/>
        </p:spPr>
        <p:txBody>
          <a:bodyPr wrap="square" lIns="82105" tIns="41054" rIns="82105" bIns="41054" anchor="b" anchorCtr="0">
            <a:spAutoFit/>
          </a:bodyPr>
          <a:lstStyle/>
          <a:p>
            <a:pPr defTabSz="814225" eaLnBrk="0" fontAlgn="base" hangingPunct="0">
              <a:spcBef>
                <a:spcPct val="0"/>
              </a:spcBef>
              <a:spcAft>
                <a:spcPct val="0"/>
              </a:spcAft>
            </a:pPr>
            <a:r>
              <a:rPr lang="en-US" sz="800" dirty="0">
                <a:solidFill>
                  <a:srgbClr val="FFFFFF"/>
                </a:solidFill>
                <a:latin typeface="Arial"/>
                <a:cs typeface="CiscoSans Thin"/>
              </a:rPr>
              <a:t>© 2013-2014  Cisco and/or its affiliates. All rights reserved.</a:t>
            </a:r>
          </a:p>
        </p:txBody>
      </p:sp>
    </p:spTree>
    <p:extLst>
      <p:ext uri="{BB962C8B-B14F-4D97-AF65-F5344CB8AC3E}">
        <p14:creationId xmlns:p14="http://schemas.microsoft.com/office/powerpoint/2010/main" val="176945401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12192000" cy="6866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56124" y="2190751"/>
            <a:ext cx="11679767"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399705"/>
      </p:ext>
    </p:extLst>
  </p:cSld>
  <p:clrMapOvr>
    <a:masterClrMapping/>
  </p:clrMapOvr>
  <p:transition spd="slow">
    <p:wip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1_Closing_Photo">
    <p:spTree>
      <p:nvGrpSpPr>
        <p:cNvPr id="1" name=""/>
        <p:cNvGrpSpPr/>
        <p:nvPr/>
      </p:nvGrpSpPr>
      <p:grpSpPr>
        <a:xfrm>
          <a:off x="0" y="0"/>
          <a:ext cx="0" cy="0"/>
          <a:chOff x="0" y="0"/>
          <a:chExt cx="0" cy="0"/>
        </a:xfrm>
      </p:grpSpPr>
      <p:pic>
        <p:nvPicPr>
          <p:cNvPr id="16" name="Picture Placeholder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84" y="-3425"/>
            <a:ext cx="12200575" cy="6864857"/>
          </a:xfrm>
          <a:prstGeom prst="rect">
            <a:avLst/>
          </a:prstGeom>
        </p:spPr>
      </p:pic>
      <p:pic>
        <p:nvPicPr>
          <p:cNvPr id="17" name="Picture 16" descr="pref_1-line_logo+tagline-rt-white-CMYK.ai"/>
          <p:cNvPicPr>
            <a:picLocks noChangeAspect="1"/>
          </p:cNvPicPr>
          <p:nvPr/>
        </p:nvPicPr>
        <p:blipFill>
          <a:blip r:embed="rId3">
            <a:duotone>
              <a:prstClr val="black"/>
              <a:schemeClr val="accent3">
                <a:tint val="45000"/>
                <a:satMod val="400000"/>
              </a:schemeClr>
            </a:duotone>
            <a:lum bright="-100000" contrast="-100000"/>
            <a:alphaModFix amt="60000"/>
            <a:extLst>
              <a:ext uri="{28A0092B-C50C-407E-A947-70E740481C1C}">
                <a14:useLocalDpi xmlns:a14="http://schemas.microsoft.com/office/drawing/2010/main"/>
              </a:ext>
            </a:extLst>
          </a:blip>
          <a:stretch>
            <a:fillRect/>
          </a:stretch>
        </p:blipFill>
        <p:spPr>
          <a:xfrm>
            <a:off x="255660" y="2191512"/>
            <a:ext cx="11680680" cy="2474976"/>
          </a:xfrm>
          <a:prstGeom prst="rect">
            <a:avLst/>
          </a:prstGeom>
        </p:spPr>
      </p:pic>
    </p:spTree>
    <p:extLst>
      <p:ext uri="{BB962C8B-B14F-4D97-AF65-F5344CB8AC3E}">
        <p14:creationId xmlns:p14="http://schemas.microsoft.com/office/powerpoint/2010/main" val="2753988776"/>
      </p:ext>
    </p:extLst>
  </p:cSld>
  <p:clrMapOvr>
    <a:masterClrMapping/>
  </p:clrMapOvr>
  <p:transition spd="slow">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583694" y="1797051"/>
            <a:ext cx="5201497" cy="4110792"/>
          </a:xfrm>
          <a:prstGeom prst="rect">
            <a:avLst/>
          </a:prstGeom>
        </p:spPr>
        <p:txBody>
          <a:bodyPr lIns="91412" tIns="45710" rIns="91412" bIns="45710">
            <a:noAutofit/>
          </a:bodyPr>
          <a:lstStyle>
            <a:lvl1pPr marL="304700" indent="-228526">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95" indent="-287767">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26" indent="-228526">
              <a:buClr>
                <a:schemeClr val="tx1"/>
              </a:buClr>
              <a:buSzPct val="80000"/>
              <a:buFont typeface="Arial"/>
              <a:buChar char="•"/>
              <a:defRPr sz="2100" b="0" i="0">
                <a:solidFill>
                  <a:schemeClr val="tx1"/>
                </a:solidFill>
                <a:latin typeface="+mn-lt"/>
                <a:cs typeface="CiscoSans ExtraLight"/>
              </a:defRPr>
            </a:lvl3pPr>
            <a:lvl4pPr marL="1066445" indent="-228526">
              <a:buClr>
                <a:schemeClr val="tx1"/>
              </a:buClr>
              <a:buSzPct val="80000"/>
              <a:buFont typeface="Arial"/>
              <a:buChar char="•"/>
              <a:defRPr sz="1900" b="0" i="0">
                <a:solidFill>
                  <a:schemeClr val="tx1"/>
                </a:solidFill>
                <a:latin typeface="+mn-lt"/>
                <a:cs typeface="CiscoSans ExtraLight"/>
              </a:defRPr>
            </a:lvl4pPr>
            <a:lvl5pPr marL="1294969" indent="-228526">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6086392" y="1797051"/>
            <a:ext cx="5624613" cy="4110792"/>
          </a:xfrm>
          <a:prstGeom prst="rect">
            <a:avLst/>
          </a:prstGeom>
        </p:spPr>
        <p:txBody>
          <a:bodyPr lIns="91412" tIns="45710" rIns="91412" bIns="45710">
            <a:noAutofit/>
          </a:bodyPr>
          <a:lstStyle>
            <a:lvl1pPr marL="304700" indent="-228526">
              <a:lnSpc>
                <a:spcPct val="95000"/>
              </a:lnSpc>
              <a:spcBef>
                <a:spcPts val="1480"/>
              </a:spcBef>
              <a:buClr>
                <a:schemeClr val="tx1"/>
              </a:buClr>
              <a:buSzPct val="80000"/>
              <a:buFont typeface="Arial"/>
              <a:buChar char="•"/>
              <a:defRPr sz="2700" b="0" i="0" baseline="0">
                <a:solidFill>
                  <a:schemeClr val="tx1"/>
                </a:solidFill>
                <a:latin typeface="+mn-lt"/>
                <a:cs typeface="CiscoSans ExtraLight"/>
              </a:defRPr>
            </a:lvl1pPr>
            <a:lvl2pPr marL="609395" indent="-287767">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26" indent="-228526">
              <a:buClr>
                <a:schemeClr val="tx1"/>
              </a:buClr>
              <a:buSzPct val="80000"/>
              <a:buFont typeface="Arial"/>
              <a:buChar char="•"/>
              <a:defRPr sz="2100" b="0" i="0">
                <a:solidFill>
                  <a:schemeClr val="tx1"/>
                </a:solidFill>
                <a:latin typeface="+mn-lt"/>
                <a:cs typeface="CiscoSans ExtraLight"/>
              </a:defRPr>
            </a:lvl3pPr>
            <a:lvl4pPr marL="1066445" indent="-228526">
              <a:buClr>
                <a:schemeClr val="tx1"/>
              </a:buClr>
              <a:buSzPct val="80000"/>
              <a:buFont typeface="Arial"/>
              <a:buChar char="•"/>
              <a:defRPr sz="1900" b="0" i="0">
                <a:solidFill>
                  <a:schemeClr val="tx1"/>
                </a:solidFill>
                <a:latin typeface="+mn-lt"/>
                <a:cs typeface="CiscoSans ExtraLight"/>
              </a:defRPr>
            </a:lvl4pPr>
            <a:lvl5pPr marL="1294969" indent="-228526">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86409231"/>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laceholder 3"/>
          <p:cNvSpPr>
            <a:spLocks noGrp="1"/>
          </p:cNvSpPr>
          <p:nvPr>
            <p:ph type="title"/>
          </p:nvPr>
        </p:nvSpPr>
        <p:spPr>
          <a:xfrm>
            <a:off x="290277" y="241980"/>
            <a:ext cx="10972800" cy="1143000"/>
          </a:xfrm>
          <a:prstGeom prst="rect">
            <a:avLst/>
          </a:prstGeom>
        </p:spPr>
        <p:txBody>
          <a:bodyPr vert="horz" lIns="121906" tIns="60953" rIns="121906" bIns="60953" rtlCol="0" anchor="t" anchorCtr="0">
            <a:normAutofit/>
          </a:bodyPr>
          <a:lstStyle/>
          <a:p>
            <a:r>
              <a:rPr lang="en-US" dirty="0"/>
              <a:t>Click to edit Master title style</a:t>
            </a:r>
          </a:p>
        </p:txBody>
      </p:sp>
    </p:spTree>
    <p:extLst>
      <p:ext uri="{BB962C8B-B14F-4D97-AF65-F5344CB8AC3E}">
        <p14:creationId xmlns:p14="http://schemas.microsoft.com/office/powerpoint/2010/main" val="4079088444"/>
      </p:ext>
    </p:extLst>
  </p:cSld>
  <p:clrMapOvr>
    <a:masterClrMapping/>
  </p:clrMapOvr>
  <p:transition>
    <p:wipe dir="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3_Title Slide-animated gradient">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561600" y="432000"/>
            <a:ext cx="1266128" cy="780288"/>
          </a:xfrm>
          <a:prstGeom prst="rect">
            <a:avLst/>
          </a:prstGeom>
        </p:spPr>
      </p:pic>
      <p:sp>
        <p:nvSpPr>
          <p:cNvPr id="16" name="Subtitle 2"/>
          <p:cNvSpPr>
            <a:spLocks noGrp="1"/>
          </p:cNvSpPr>
          <p:nvPr>
            <p:ph type="subTitle" idx="1" hasCustomPrompt="1"/>
          </p:nvPr>
        </p:nvSpPr>
        <p:spPr>
          <a:xfrm>
            <a:off x="625999" y="5057603"/>
            <a:ext cx="11061895" cy="384175"/>
          </a:xfrm>
          <a:prstGeom prst="rect">
            <a:avLst/>
          </a:prstGeom>
        </p:spPr>
        <p:txBody>
          <a:bodyPr lIns="121877" tIns="60938" rIns="121877" bIns="60938" anchor="b" anchorCtr="0">
            <a:noAutofit/>
          </a:bodyPr>
          <a:lstStyle>
            <a:lvl1pPr marL="0" indent="0" algn="l">
              <a:buNone/>
              <a:defRPr sz="1900" b="0" i="0">
                <a:solidFill>
                  <a:srgbClr val="FFFFFE"/>
                </a:solidFill>
                <a:latin typeface="+mn-lt"/>
                <a:cs typeface="CiscoSans"/>
              </a:defRPr>
            </a:lvl1pPr>
            <a:lvl2pPr marL="457075" indent="0" algn="ctr">
              <a:buNone/>
              <a:defRPr>
                <a:solidFill>
                  <a:schemeClr val="tx1">
                    <a:tint val="75000"/>
                  </a:schemeClr>
                </a:solidFill>
              </a:defRPr>
            </a:lvl2pPr>
            <a:lvl3pPr marL="914164" indent="0" algn="ctr">
              <a:buNone/>
              <a:defRPr>
                <a:solidFill>
                  <a:schemeClr val="tx1">
                    <a:tint val="75000"/>
                  </a:schemeClr>
                </a:solidFill>
              </a:defRPr>
            </a:lvl3pPr>
            <a:lvl4pPr marL="1371244" indent="0" algn="ctr">
              <a:buNone/>
              <a:defRPr>
                <a:solidFill>
                  <a:schemeClr val="tx1">
                    <a:tint val="75000"/>
                  </a:schemeClr>
                </a:solidFill>
              </a:defRPr>
            </a:lvl4pPr>
            <a:lvl5pPr marL="1828330" indent="0" algn="ctr">
              <a:buNone/>
              <a:defRPr>
                <a:solidFill>
                  <a:schemeClr val="tx1">
                    <a:tint val="75000"/>
                  </a:schemeClr>
                </a:solidFill>
              </a:defRPr>
            </a:lvl5pPr>
            <a:lvl6pPr marL="2285406" indent="0" algn="ctr">
              <a:buNone/>
              <a:defRPr>
                <a:solidFill>
                  <a:schemeClr val="tx1">
                    <a:tint val="75000"/>
                  </a:schemeClr>
                </a:solidFill>
              </a:defRPr>
            </a:lvl6pPr>
            <a:lvl7pPr marL="2742494" indent="0" algn="ctr">
              <a:buNone/>
              <a:defRPr>
                <a:solidFill>
                  <a:schemeClr val="tx1">
                    <a:tint val="75000"/>
                  </a:schemeClr>
                </a:solidFill>
              </a:defRPr>
            </a:lvl7pPr>
            <a:lvl8pPr marL="3199573" indent="0" algn="ctr">
              <a:buNone/>
              <a:defRPr>
                <a:solidFill>
                  <a:schemeClr val="tx1">
                    <a:tint val="75000"/>
                  </a:schemeClr>
                </a:solidFill>
              </a:defRPr>
            </a:lvl8pPr>
            <a:lvl9pPr marL="3656659"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9" y="5377599"/>
            <a:ext cx="11061895" cy="384175"/>
          </a:xfrm>
          <a:prstGeom prst="rect">
            <a:avLst/>
          </a:prstGeom>
        </p:spPr>
        <p:txBody>
          <a:bodyPr lIns="121877" tIns="60938" rIns="121877" bIns="60938"/>
          <a:lstStyle>
            <a:lvl1pPr marL="0" indent="0" algn="l">
              <a:buFontTx/>
              <a:buNone/>
              <a:defRPr lang="en-US" sz="1900"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9" y="5697595"/>
            <a:ext cx="11061895" cy="384175"/>
          </a:xfrm>
          <a:prstGeom prst="rect">
            <a:avLst/>
          </a:prstGeom>
        </p:spPr>
        <p:txBody>
          <a:bodyPr lIns="121877" tIns="60938" rIns="121877" bIns="60938"/>
          <a:lstStyle>
            <a:lvl1pPr marL="0" indent="0" algn="l">
              <a:buFontTx/>
              <a:buNone/>
              <a:defRPr lang="en-US" sz="1900"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7" y="4281951"/>
            <a:ext cx="11070167" cy="398668"/>
          </a:xfrm>
          <a:prstGeom prst="rect">
            <a:avLst/>
          </a:prstGeom>
        </p:spPr>
        <p:txBody>
          <a:bodyPr lIns="121877" tIns="60938" rIns="121877" bIns="60938"/>
          <a:lstStyle>
            <a:lvl1pPr marL="0" indent="0">
              <a:buFont typeface="Arial" panose="020B0604020202020204" pitchFamily="34" charset="0"/>
              <a:buNone/>
              <a:defRPr sz="2900" baseline="0">
                <a:solidFill>
                  <a:srgbClr val="FFFFFE"/>
                </a:solidFill>
                <a:latin typeface="+mj-lt"/>
              </a:defRPr>
            </a:lvl1pPr>
            <a:lvl2pPr marL="406319" indent="0">
              <a:buNone/>
              <a:defRPr/>
            </a:lvl2pPr>
            <a:lvl3pPr marL="569788" indent="0">
              <a:buNone/>
              <a:defRPr/>
            </a:lvl3pPr>
            <a:lvl4pPr marL="688828" indent="0">
              <a:buNone/>
              <a:defRPr/>
            </a:lvl4pPr>
            <a:lvl5pPr marL="801515" indent="0">
              <a:buNone/>
              <a:defRPr/>
            </a:lvl5pPr>
          </a:lstStyle>
          <a:p>
            <a:pPr lvl="0"/>
            <a:r>
              <a:rPr lang="en-GB" dirty="0"/>
              <a:t>Subtitle Goes Here</a:t>
            </a:r>
          </a:p>
        </p:txBody>
      </p:sp>
      <p:sp>
        <p:nvSpPr>
          <p:cNvPr id="20" name="Title 1"/>
          <p:cNvSpPr>
            <a:spLocks noGrp="1"/>
          </p:cNvSpPr>
          <p:nvPr>
            <p:ph type="ctrTitle" hasCustomPrompt="1"/>
          </p:nvPr>
        </p:nvSpPr>
        <p:spPr>
          <a:xfrm>
            <a:off x="567689" y="3519969"/>
            <a:ext cx="11120203" cy="859640"/>
          </a:xfrm>
          <a:prstGeom prst="rect">
            <a:avLst/>
          </a:prstGeom>
        </p:spPr>
        <p:txBody>
          <a:bodyPr anchor="b"/>
          <a:lstStyle>
            <a:lvl1pPr marL="0" indent="0" algn="l">
              <a:lnSpc>
                <a:spcPct val="90000"/>
              </a:lnSpc>
              <a:buFont typeface="Arial" panose="020B0604020202020204" pitchFamily="34" charset="0"/>
              <a:buNone/>
              <a:defRPr sz="6900" b="0" i="0" spc="0" baseline="0">
                <a:solidFill>
                  <a:srgbClr val="FFFFFE"/>
                </a:solidFill>
                <a:latin typeface="+mj-lt"/>
                <a:cs typeface="CiscoSans Thin"/>
              </a:defRPr>
            </a:lvl1pPr>
          </a:lstStyle>
          <a:p>
            <a:r>
              <a:rPr lang="en-GB" dirty="0"/>
              <a:t>Presentation Title Goes Here</a:t>
            </a:r>
            <a:endParaRPr lang="en-US" dirty="0"/>
          </a:p>
        </p:txBody>
      </p:sp>
      <p:grpSp>
        <p:nvGrpSpPr>
          <p:cNvPr id="8" name="Group 67"/>
          <p:cNvGrpSpPr/>
          <p:nvPr/>
        </p:nvGrpSpPr>
        <p:grpSpPr>
          <a:xfrm>
            <a:off x="380226" y="410501"/>
            <a:ext cx="1150319" cy="613107"/>
            <a:chOff x="609606" y="528528"/>
            <a:chExt cx="1444732" cy="763787"/>
          </a:xfrm>
          <a:solidFill>
            <a:schemeClr val="bg1"/>
          </a:solidFill>
        </p:grpSpPr>
        <p:sp>
          <p:nvSpPr>
            <p:cNvPr id="9" name="Rectangle 8"/>
            <p:cNvSpPr>
              <a:spLocks noChangeArrowheads="1"/>
            </p:cNvSpPr>
            <p:nvPr/>
          </p:nvSpPr>
          <p:spPr bwMode="black">
            <a:xfrm>
              <a:off x="1016583" y="1035671"/>
              <a:ext cx="65914" cy="249729"/>
            </a:xfrm>
            <a:prstGeom prst="rect">
              <a:avLst/>
            </a:prstGeom>
            <a:grpFill/>
            <a:ln w="9525">
              <a:noFill/>
              <a:miter lim="800000"/>
              <a:headEnd/>
              <a:tailEnd/>
            </a:ln>
          </p:spPr>
          <p:txBody>
            <a:bodyPr/>
            <a:lstStyle/>
            <a:p>
              <a:pPr algn="ctr" defTabSz="914332" eaLnBrk="0" fontAlgn="base" hangingPunct="0">
                <a:lnSpc>
                  <a:spcPct val="90000"/>
                </a:lnSpc>
                <a:spcBef>
                  <a:spcPct val="0"/>
                </a:spcBef>
                <a:spcAft>
                  <a:spcPct val="0"/>
                </a:spcAft>
              </a:pPr>
              <a:endParaRPr lang="en-US" sz="3200">
                <a:solidFill>
                  <a:srgbClr val="FFFFFF"/>
                </a:solidFill>
                <a:latin typeface="Arial"/>
              </a:endParaRPr>
            </a:p>
          </p:txBody>
        </p:sp>
        <p:sp>
          <p:nvSpPr>
            <p:cNvPr id="10" name="Freeform 9"/>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lgn="ctr" defTabSz="914332" eaLnBrk="0" fontAlgn="base" hangingPunct="0">
                <a:lnSpc>
                  <a:spcPct val="90000"/>
                </a:lnSpc>
                <a:spcBef>
                  <a:spcPct val="0"/>
                </a:spcBef>
                <a:spcAft>
                  <a:spcPct val="0"/>
                </a:spcAft>
              </a:pPr>
              <a:endParaRPr lang="en-US" sz="3200">
                <a:solidFill>
                  <a:srgbClr val="FFFFFF"/>
                </a:solidFill>
                <a:latin typeface="Arial"/>
              </a:endParaRPr>
            </a:p>
          </p:txBody>
        </p:sp>
        <p:sp>
          <p:nvSpPr>
            <p:cNvPr id="11" name="Freeform 10"/>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lgn="ctr" defTabSz="914332" eaLnBrk="0" fontAlgn="base" hangingPunct="0">
                <a:lnSpc>
                  <a:spcPct val="90000"/>
                </a:lnSpc>
                <a:spcBef>
                  <a:spcPct val="0"/>
                </a:spcBef>
                <a:spcAft>
                  <a:spcPct val="0"/>
                </a:spcAft>
              </a:pPr>
              <a:endParaRPr lang="en-US" sz="3200">
                <a:solidFill>
                  <a:srgbClr val="FFFFFF"/>
                </a:solidFill>
                <a:latin typeface="Arial"/>
              </a:endParaRPr>
            </a:p>
          </p:txBody>
        </p:sp>
        <p:sp>
          <p:nvSpPr>
            <p:cNvPr id="12" name="Freeform 11"/>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lgn="ctr" defTabSz="914332" eaLnBrk="0" fontAlgn="base" hangingPunct="0">
                <a:lnSpc>
                  <a:spcPct val="90000"/>
                </a:lnSpc>
                <a:spcBef>
                  <a:spcPct val="0"/>
                </a:spcBef>
                <a:spcAft>
                  <a:spcPct val="0"/>
                </a:spcAft>
              </a:pPr>
              <a:endParaRPr lang="en-US" sz="3200">
                <a:solidFill>
                  <a:srgbClr val="FFFFFF"/>
                </a:solidFill>
                <a:latin typeface="Arial"/>
              </a:endParaRPr>
            </a:p>
          </p:txBody>
        </p:sp>
        <p:sp>
          <p:nvSpPr>
            <p:cNvPr id="13" name="Freeform 12"/>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lgn="ctr" defTabSz="914332" eaLnBrk="0" fontAlgn="base" hangingPunct="0">
                <a:lnSpc>
                  <a:spcPct val="90000"/>
                </a:lnSpc>
                <a:spcBef>
                  <a:spcPct val="0"/>
                </a:spcBef>
                <a:spcAft>
                  <a:spcPct val="0"/>
                </a:spcAft>
              </a:pPr>
              <a:endParaRPr lang="en-US" sz="3200">
                <a:solidFill>
                  <a:srgbClr val="FFFFFF"/>
                </a:solidFill>
                <a:latin typeface="Arial"/>
              </a:endParaRPr>
            </a:p>
          </p:txBody>
        </p:sp>
        <p:sp>
          <p:nvSpPr>
            <p:cNvPr id="14" name="Freeform 13"/>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lgn="ctr" defTabSz="914332" eaLnBrk="0" fontAlgn="base" hangingPunct="0">
                <a:lnSpc>
                  <a:spcPct val="90000"/>
                </a:lnSpc>
                <a:spcBef>
                  <a:spcPct val="0"/>
                </a:spcBef>
                <a:spcAft>
                  <a:spcPct val="0"/>
                </a:spcAft>
              </a:pPr>
              <a:endParaRPr lang="en-US" sz="3200">
                <a:solidFill>
                  <a:srgbClr val="FFFFFF"/>
                </a:solidFill>
                <a:latin typeface="Arial"/>
              </a:endParaRPr>
            </a:p>
          </p:txBody>
        </p:sp>
        <p:sp>
          <p:nvSpPr>
            <p:cNvPr id="15" name="Freeform 14"/>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lgn="ctr" defTabSz="914332" eaLnBrk="0" fontAlgn="base" hangingPunct="0">
                <a:lnSpc>
                  <a:spcPct val="90000"/>
                </a:lnSpc>
                <a:spcBef>
                  <a:spcPct val="0"/>
                </a:spcBef>
                <a:spcAft>
                  <a:spcPct val="0"/>
                </a:spcAft>
              </a:pPr>
              <a:endParaRPr lang="en-US" sz="3200">
                <a:solidFill>
                  <a:srgbClr val="FFFFFF"/>
                </a:solidFill>
                <a:latin typeface="Arial"/>
              </a:endParaRPr>
            </a:p>
          </p:txBody>
        </p:sp>
        <p:sp>
          <p:nvSpPr>
            <p:cNvPr id="21" name="Freeform 2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lgn="ctr" defTabSz="914332" eaLnBrk="0" fontAlgn="base" hangingPunct="0">
                <a:lnSpc>
                  <a:spcPct val="90000"/>
                </a:lnSpc>
                <a:spcBef>
                  <a:spcPct val="0"/>
                </a:spcBef>
                <a:spcAft>
                  <a:spcPct val="0"/>
                </a:spcAft>
              </a:pPr>
              <a:endParaRPr lang="en-US" sz="3200">
                <a:solidFill>
                  <a:srgbClr val="FFFFFF"/>
                </a:solidFill>
                <a:latin typeface="Arial"/>
              </a:endParaRPr>
            </a:p>
          </p:txBody>
        </p:sp>
        <p:sp>
          <p:nvSpPr>
            <p:cNvPr id="22" name="Freeform 2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lgn="ctr" defTabSz="914332" eaLnBrk="0" fontAlgn="base" hangingPunct="0">
                <a:lnSpc>
                  <a:spcPct val="90000"/>
                </a:lnSpc>
                <a:spcBef>
                  <a:spcPct val="0"/>
                </a:spcBef>
                <a:spcAft>
                  <a:spcPct val="0"/>
                </a:spcAft>
              </a:pPr>
              <a:endParaRPr lang="en-US" sz="3200">
                <a:solidFill>
                  <a:srgbClr val="FFFFFF"/>
                </a:solidFill>
                <a:latin typeface="Arial"/>
              </a:endParaRPr>
            </a:p>
          </p:txBody>
        </p:sp>
        <p:sp>
          <p:nvSpPr>
            <p:cNvPr id="23" name="Freeform 2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lgn="ctr" defTabSz="914332" eaLnBrk="0" fontAlgn="base" hangingPunct="0">
                <a:lnSpc>
                  <a:spcPct val="90000"/>
                </a:lnSpc>
                <a:spcBef>
                  <a:spcPct val="0"/>
                </a:spcBef>
                <a:spcAft>
                  <a:spcPct val="0"/>
                </a:spcAft>
              </a:pPr>
              <a:endParaRPr lang="en-US" sz="3200">
                <a:solidFill>
                  <a:srgbClr val="FFFFFF"/>
                </a:solidFill>
                <a:latin typeface="Arial"/>
              </a:endParaRPr>
            </a:p>
          </p:txBody>
        </p:sp>
        <p:sp>
          <p:nvSpPr>
            <p:cNvPr id="24" name="Freeform 2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lgn="ctr" defTabSz="914332" eaLnBrk="0" fontAlgn="base" hangingPunct="0">
                <a:lnSpc>
                  <a:spcPct val="90000"/>
                </a:lnSpc>
                <a:spcBef>
                  <a:spcPct val="0"/>
                </a:spcBef>
                <a:spcAft>
                  <a:spcPct val="0"/>
                </a:spcAft>
              </a:pPr>
              <a:endParaRPr lang="en-US" sz="3200">
                <a:solidFill>
                  <a:srgbClr val="FFFFFF"/>
                </a:solidFill>
                <a:latin typeface="Arial"/>
              </a:endParaRPr>
            </a:p>
          </p:txBody>
        </p:sp>
        <p:sp>
          <p:nvSpPr>
            <p:cNvPr id="25" name="Freeform 2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lgn="ctr" defTabSz="914332" eaLnBrk="0" fontAlgn="base" hangingPunct="0">
                <a:lnSpc>
                  <a:spcPct val="90000"/>
                </a:lnSpc>
                <a:spcBef>
                  <a:spcPct val="0"/>
                </a:spcBef>
                <a:spcAft>
                  <a:spcPct val="0"/>
                </a:spcAft>
              </a:pPr>
              <a:endParaRPr lang="en-US" sz="3200">
                <a:solidFill>
                  <a:srgbClr val="FFFFFF"/>
                </a:solidFill>
                <a:latin typeface="Arial"/>
              </a:endParaRPr>
            </a:p>
          </p:txBody>
        </p:sp>
        <p:sp>
          <p:nvSpPr>
            <p:cNvPr id="26" name="Freeform 2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lgn="ctr" defTabSz="914332" eaLnBrk="0" fontAlgn="base" hangingPunct="0">
                <a:lnSpc>
                  <a:spcPct val="90000"/>
                </a:lnSpc>
                <a:spcBef>
                  <a:spcPct val="0"/>
                </a:spcBef>
                <a:spcAft>
                  <a:spcPct val="0"/>
                </a:spcAft>
              </a:pPr>
              <a:endParaRPr lang="en-US" sz="3200">
                <a:solidFill>
                  <a:srgbClr val="FFFFFF"/>
                </a:solidFill>
                <a:latin typeface="Arial"/>
              </a:endParaRPr>
            </a:p>
          </p:txBody>
        </p:sp>
        <p:sp>
          <p:nvSpPr>
            <p:cNvPr id="27" name="Freeform 2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lgn="ctr" defTabSz="914332" eaLnBrk="0" fontAlgn="base" hangingPunct="0">
                <a:lnSpc>
                  <a:spcPct val="90000"/>
                </a:lnSpc>
                <a:spcBef>
                  <a:spcPct val="0"/>
                </a:spcBef>
                <a:spcAft>
                  <a:spcPct val="0"/>
                </a:spcAft>
              </a:pPr>
              <a:endParaRPr lang="en-US" sz="3200">
                <a:solidFill>
                  <a:srgbClr val="FFFFFF"/>
                </a:solidFill>
                <a:latin typeface="Arial"/>
              </a:endParaRPr>
            </a:p>
          </p:txBody>
        </p:sp>
      </p:grpSp>
    </p:spTree>
    <p:extLst>
      <p:ext uri="{BB962C8B-B14F-4D97-AF65-F5344CB8AC3E}">
        <p14:creationId xmlns:p14="http://schemas.microsoft.com/office/powerpoint/2010/main" val="3483094808"/>
      </p:ext>
    </p:extLst>
  </p:cSld>
  <p:clrMapOvr>
    <a:masterClrMapping/>
  </p:clrMapOvr>
  <p:transition spd="slow">
    <p:wip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Title_Photo">
    <p:spTree>
      <p:nvGrpSpPr>
        <p:cNvPr id="1" name=""/>
        <p:cNvGrpSpPr/>
        <p:nvPr/>
      </p:nvGrpSpPr>
      <p:grpSpPr>
        <a:xfrm>
          <a:off x="0" y="0"/>
          <a:ext cx="0" cy="0"/>
          <a:chOff x="0" y="0"/>
          <a:chExt cx="0" cy="0"/>
        </a:xfrm>
      </p:grpSpPr>
      <p:pic>
        <p:nvPicPr>
          <p:cNvPr id="9" name="Picture Placeholder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84" y="-3425"/>
            <a:ext cx="12200575" cy="6864857"/>
          </a:xfrm>
          <a:prstGeom prst="rect">
            <a:avLst/>
          </a:prstGeom>
        </p:spPr>
      </p:pic>
      <p:pic>
        <p:nvPicPr>
          <p:cNvPr id="15" name="Picture 8" descr="logo_black.ai"/>
          <p:cNvPicPr>
            <a:picLocks noChangeAspect="1"/>
          </p:cNvPicPr>
          <p:nvPr/>
        </p:nvPicPr>
        <p:blipFill>
          <a:blip r:embed="rId3">
            <a:alphaModFix amt="82000"/>
            <a:extLst>
              <a:ext uri="{28A0092B-C50C-407E-A947-70E740481C1C}">
                <a14:useLocalDpi xmlns:a14="http://schemas.microsoft.com/office/drawing/2010/main"/>
              </a:ext>
            </a:extLst>
          </a:blip>
          <a:srcRect/>
          <a:stretch>
            <a:fillRect/>
          </a:stretch>
        </p:blipFill>
        <p:spPr bwMode="auto">
          <a:xfrm>
            <a:off x="567273" y="427569"/>
            <a:ext cx="1265767" cy="781051"/>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Placeholder 2"/>
          <p:cNvSpPr>
            <a:spLocks noGrp="1"/>
          </p:cNvSpPr>
          <p:nvPr>
            <p:ph type="body" sz="quarter" idx="13" hasCustomPrompt="1"/>
          </p:nvPr>
        </p:nvSpPr>
        <p:spPr>
          <a:xfrm>
            <a:off x="617727" y="4281951"/>
            <a:ext cx="11070167" cy="398668"/>
          </a:xfrm>
          <a:prstGeom prst="rect">
            <a:avLst/>
          </a:prstGeom>
        </p:spPr>
        <p:txBody>
          <a:bodyPr lIns="121877" tIns="60938" rIns="121877" bIns="60938"/>
          <a:lstStyle>
            <a:lvl1pPr marL="0" indent="0">
              <a:buFont typeface="Arial" panose="020B0604020202020204" pitchFamily="34" charset="0"/>
              <a:buNone/>
              <a:defRPr sz="2900" baseline="0">
                <a:solidFill>
                  <a:srgbClr val="4D4D4D"/>
                </a:solidFill>
                <a:latin typeface="+mj-lt"/>
              </a:defRPr>
            </a:lvl1pPr>
            <a:lvl2pPr marL="406319" indent="0">
              <a:buNone/>
              <a:defRPr/>
            </a:lvl2pPr>
            <a:lvl3pPr marL="569788" indent="0">
              <a:buNone/>
              <a:defRPr/>
            </a:lvl3pPr>
            <a:lvl4pPr marL="688828" indent="0">
              <a:buNone/>
              <a:defRPr/>
            </a:lvl4pPr>
            <a:lvl5pPr marL="801515" indent="0">
              <a:buNone/>
              <a:defRPr/>
            </a:lvl5pPr>
          </a:lstStyle>
          <a:p>
            <a:pPr lvl="0"/>
            <a:r>
              <a:rPr lang="en-GB" dirty="0"/>
              <a:t>Subtitle Goes Here</a:t>
            </a:r>
          </a:p>
        </p:txBody>
      </p:sp>
      <p:sp>
        <p:nvSpPr>
          <p:cNvPr id="10" name="Title 1"/>
          <p:cNvSpPr>
            <a:spLocks noGrp="1"/>
          </p:cNvSpPr>
          <p:nvPr>
            <p:ph type="ctrTitle" hasCustomPrompt="1"/>
          </p:nvPr>
        </p:nvSpPr>
        <p:spPr>
          <a:xfrm>
            <a:off x="567689" y="3519969"/>
            <a:ext cx="11120203" cy="859640"/>
          </a:xfrm>
          <a:prstGeom prst="rect">
            <a:avLst/>
          </a:prstGeom>
        </p:spPr>
        <p:txBody>
          <a:bodyPr anchor="b"/>
          <a:lstStyle>
            <a:lvl1pPr marL="0" indent="0" algn="l">
              <a:lnSpc>
                <a:spcPct val="90000"/>
              </a:lnSpc>
              <a:buFont typeface="Arial" panose="020B0604020202020204" pitchFamily="34" charset="0"/>
              <a:buNone/>
              <a:defRPr sz="6900" b="0" i="0" spc="0" baseline="0">
                <a:solidFill>
                  <a:srgbClr val="4D4D4D"/>
                </a:solidFill>
                <a:latin typeface="+mj-lt"/>
                <a:cs typeface="CiscoSans Thin"/>
              </a:defRPr>
            </a:lvl1pPr>
          </a:lstStyle>
          <a:p>
            <a:r>
              <a:rPr lang="en-GB" dirty="0"/>
              <a:t>Presentation Title Goes Here</a:t>
            </a:r>
            <a:endParaRPr lang="en-US" dirty="0"/>
          </a:p>
        </p:txBody>
      </p:sp>
      <p:sp>
        <p:nvSpPr>
          <p:cNvPr id="21" name="Subtitle 2"/>
          <p:cNvSpPr>
            <a:spLocks noGrp="1"/>
          </p:cNvSpPr>
          <p:nvPr>
            <p:ph type="subTitle" idx="1" hasCustomPrompt="1"/>
          </p:nvPr>
        </p:nvSpPr>
        <p:spPr>
          <a:xfrm>
            <a:off x="625999" y="5057603"/>
            <a:ext cx="11061895" cy="384175"/>
          </a:xfrm>
          <a:prstGeom prst="rect">
            <a:avLst/>
          </a:prstGeom>
        </p:spPr>
        <p:txBody>
          <a:bodyPr lIns="121877" tIns="60938" rIns="121877" bIns="60938" anchor="b" anchorCtr="0">
            <a:noAutofit/>
          </a:bodyPr>
          <a:lstStyle>
            <a:lvl1pPr marL="0" indent="0" algn="l">
              <a:buNone/>
              <a:defRPr sz="1900" b="0" i="0">
                <a:solidFill>
                  <a:srgbClr val="676767"/>
                </a:solidFill>
                <a:latin typeface="+mn-lt"/>
                <a:cs typeface="CiscoSans"/>
              </a:defRPr>
            </a:lvl1pPr>
            <a:lvl2pPr marL="457075" indent="0" algn="ctr">
              <a:buNone/>
              <a:defRPr>
                <a:solidFill>
                  <a:schemeClr val="tx1">
                    <a:tint val="75000"/>
                  </a:schemeClr>
                </a:solidFill>
              </a:defRPr>
            </a:lvl2pPr>
            <a:lvl3pPr marL="914164" indent="0" algn="ctr">
              <a:buNone/>
              <a:defRPr>
                <a:solidFill>
                  <a:schemeClr val="tx1">
                    <a:tint val="75000"/>
                  </a:schemeClr>
                </a:solidFill>
              </a:defRPr>
            </a:lvl3pPr>
            <a:lvl4pPr marL="1371244" indent="0" algn="ctr">
              <a:buNone/>
              <a:defRPr>
                <a:solidFill>
                  <a:schemeClr val="tx1">
                    <a:tint val="75000"/>
                  </a:schemeClr>
                </a:solidFill>
              </a:defRPr>
            </a:lvl4pPr>
            <a:lvl5pPr marL="1828330" indent="0" algn="ctr">
              <a:buNone/>
              <a:defRPr>
                <a:solidFill>
                  <a:schemeClr val="tx1">
                    <a:tint val="75000"/>
                  </a:schemeClr>
                </a:solidFill>
              </a:defRPr>
            </a:lvl5pPr>
            <a:lvl6pPr marL="2285406" indent="0" algn="ctr">
              <a:buNone/>
              <a:defRPr>
                <a:solidFill>
                  <a:schemeClr val="tx1">
                    <a:tint val="75000"/>
                  </a:schemeClr>
                </a:solidFill>
              </a:defRPr>
            </a:lvl6pPr>
            <a:lvl7pPr marL="2742494" indent="0" algn="ctr">
              <a:buNone/>
              <a:defRPr>
                <a:solidFill>
                  <a:schemeClr val="tx1">
                    <a:tint val="75000"/>
                  </a:schemeClr>
                </a:solidFill>
              </a:defRPr>
            </a:lvl7pPr>
            <a:lvl8pPr marL="3199573" indent="0" algn="ctr">
              <a:buNone/>
              <a:defRPr>
                <a:solidFill>
                  <a:schemeClr val="tx1">
                    <a:tint val="75000"/>
                  </a:schemeClr>
                </a:solidFill>
              </a:defRPr>
            </a:lvl8pPr>
            <a:lvl9pPr marL="3656659" indent="0" algn="ctr">
              <a:buNone/>
              <a:defRPr>
                <a:solidFill>
                  <a:schemeClr val="tx1">
                    <a:tint val="75000"/>
                  </a:schemeClr>
                </a:solidFill>
              </a:defRPr>
            </a:lvl9pPr>
          </a:lstStyle>
          <a:p>
            <a:r>
              <a:rPr lang="en-GB" dirty="0"/>
              <a:t>Speaker Name</a:t>
            </a:r>
            <a:endParaRPr lang="en-US" dirty="0"/>
          </a:p>
        </p:txBody>
      </p:sp>
      <p:sp>
        <p:nvSpPr>
          <p:cNvPr id="22" name="Text Placeholder 38"/>
          <p:cNvSpPr>
            <a:spLocks noGrp="1"/>
          </p:cNvSpPr>
          <p:nvPr>
            <p:ph type="body" sz="quarter" idx="11" hasCustomPrompt="1"/>
          </p:nvPr>
        </p:nvSpPr>
        <p:spPr>
          <a:xfrm>
            <a:off x="625999" y="5377599"/>
            <a:ext cx="11061895" cy="384175"/>
          </a:xfrm>
          <a:prstGeom prst="rect">
            <a:avLst/>
          </a:prstGeom>
        </p:spPr>
        <p:txBody>
          <a:bodyPr lIns="121877" tIns="60938" rIns="121877" bIns="60938"/>
          <a:lstStyle>
            <a:lvl1pPr marL="0" indent="0" algn="l">
              <a:buFontTx/>
              <a:buNone/>
              <a:defRPr lang="en-US" sz="1900" b="0" i="0" kern="1200" dirty="0" smtClean="0">
                <a:solidFill>
                  <a:srgbClr val="676767"/>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23" name="Text Placeholder 40"/>
          <p:cNvSpPr>
            <a:spLocks noGrp="1"/>
          </p:cNvSpPr>
          <p:nvPr>
            <p:ph type="body" sz="quarter" idx="12" hasCustomPrompt="1"/>
          </p:nvPr>
        </p:nvSpPr>
        <p:spPr>
          <a:xfrm>
            <a:off x="625999" y="5697595"/>
            <a:ext cx="11061895" cy="384175"/>
          </a:xfrm>
          <a:prstGeom prst="rect">
            <a:avLst/>
          </a:prstGeom>
        </p:spPr>
        <p:txBody>
          <a:bodyPr lIns="121877" tIns="60938" rIns="121877" bIns="60938"/>
          <a:lstStyle>
            <a:lvl1pPr marL="0" indent="0" algn="l">
              <a:buFontTx/>
              <a:buNone/>
              <a:defRPr lang="en-US" sz="1900" b="0" i="0" kern="1200" dirty="0" smtClean="0">
                <a:solidFill>
                  <a:srgbClr val="676767"/>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Tree>
    <p:extLst>
      <p:ext uri="{BB962C8B-B14F-4D97-AF65-F5344CB8AC3E}">
        <p14:creationId xmlns:p14="http://schemas.microsoft.com/office/powerpoint/2010/main" val="4096322965"/>
      </p:ext>
    </p:extLst>
  </p:cSld>
  <p:clrMapOvr>
    <a:masterClrMapping/>
  </p:clrMapOvr>
  <p:transition spd="slow">
    <p:wip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2_Title_Photo">
    <p:spTree>
      <p:nvGrpSpPr>
        <p:cNvPr id="1" name=""/>
        <p:cNvGrpSpPr/>
        <p:nvPr/>
      </p:nvGrpSpPr>
      <p:grpSpPr>
        <a:xfrm>
          <a:off x="0" y="0"/>
          <a:ext cx="0" cy="0"/>
          <a:chOff x="0" y="0"/>
          <a:chExt cx="0" cy="0"/>
        </a:xfrm>
      </p:grpSpPr>
      <p:pic>
        <p:nvPicPr>
          <p:cNvPr id="18" name="Picture Placeholder 8"/>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2023" y="0"/>
            <a:ext cx="12188388" cy="68580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8" descr="logo_black.ai"/>
          <p:cNvPicPr>
            <a:picLocks noChangeAspect="1"/>
          </p:cNvPicPr>
          <p:nvPr/>
        </p:nvPicPr>
        <p:blipFill>
          <a:blip r:embed="rId3">
            <a:alphaModFix amt="82000"/>
            <a:extLst>
              <a:ext uri="{28A0092B-C50C-407E-A947-70E740481C1C}">
                <a14:useLocalDpi xmlns:a14="http://schemas.microsoft.com/office/drawing/2010/main" val="0"/>
              </a:ext>
            </a:extLst>
          </a:blip>
          <a:srcRect/>
          <a:stretch>
            <a:fillRect/>
          </a:stretch>
        </p:blipFill>
        <p:spPr bwMode="auto">
          <a:xfrm>
            <a:off x="567273" y="427569"/>
            <a:ext cx="1265767" cy="781051"/>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ubtitle 2"/>
          <p:cNvSpPr>
            <a:spLocks noGrp="1"/>
          </p:cNvSpPr>
          <p:nvPr>
            <p:ph type="subTitle" idx="1" hasCustomPrompt="1"/>
          </p:nvPr>
        </p:nvSpPr>
        <p:spPr>
          <a:xfrm>
            <a:off x="625999" y="5057603"/>
            <a:ext cx="11061895" cy="384175"/>
          </a:xfrm>
          <a:prstGeom prst="rect">
            <a:avLst/>
          </a:prstGeom>
        </p:spPr>
        <p:txBody>
          <a:bodyPr lIns="121877" tIns="60938" rIns="121877" bIns="60938" anchor="b" anchorCtr="0">
            <a:noAutofit/>
          </a:bodyPr>
          <a:lstStyle>
            <a:lvl1pPr marL="0" indent="0" algn="l">
              <a:buNone/>
              <a:defRPr sz="1900" b="0" i="0">
                <a:solidFill>
                  <a:srgbClr val="4D4D4D"/>
                </a:solidFill>
                <a:latin typeface="+mn-lt"/>
                <a:cs typeface="CiscoSans"/>
              </a:defRPr>
            </a:lvl1pPr>
            <a:lvl2pPr marL="457075" indent="0" algn="ctr">
              <a:buNone/>
              <a:defRPr>
                <a:solidFill>
                  <a:schemeClr val="tx1">
                    <a:tint val="75000"/>
                  </a:schemeClr>
                </a:solidFill>
              </a:defRPr>
            </a:lvl2pPr>
            <a:lvl3pPr marL="914164" indent="0" algn="ctr">
              <a:buNone/>
              <a:defRPr>
                <a:solidFill>
                  <a:schemeClr val="tx1">
                    <a:tint val="75000"/>
                  </a:schemeClr>
                </a:solidFill>
              </a:defRPr>
            </a:lvl3pPr>
            <a:lvl4pPr marL="1371244" indent="0" algn="ctr">
              <a:buNone/>
              <a:defRPr>
                <a:solidFill>
                  <a:schemeClr val="tx1">
                    <a:tint val="75000"/>
                  </a:schemeClr>
                </a:solidFill>
              </a:defRPr>
            </a:lvl4pPr>
            <a:lvl5pPr marL="1828330" indent="0" algn="ctr">
              <a:buNone/>
              <a:defRPr>
                <a:solidFill>
                  <a:schemeClr val="tx1">
                    <a:tint val="75000"/>
                  </a:schemeClr>
                </a:solidFill>
              </a:defRPr>
            </a:lvl5pPr>
            <a:lvl6pPr marL="2285406" indent="0" algn="ctr">
              <a:buNone/>
              <a:defRPr>
                <a:solidFill>
                  <a:schemeClr val="tx1">
                    <a:tint val="75000"/>
                  </a:schemeClr>
                </a:solidFill>
              </a:defRPr>
            </a:lvl6pPr>
            <a:lvl7pPr marL="2742494" indent="0" algn="ctr">
              <a:buNone/>
              <a:defRPr>
                <a:solidFill>
                  <a:schemeClr val="tx1">
                    <a:tint val="75000"/>
                  </a:schemeClr>
                </a:solidFill>
              </a:defRPr>
            </a:lvl7pPr>
            <a:lvl8pPr marL="3199573" indent="0" algn="ctr">
              <a:buNone/>
              <a:defRPr>
                <a:solidFill>
                  <a:schemeClr val="tx1">
                    <a:tint val="75000"/>
                  </a:schemeClr>
                </a:solidFill>
              </a:defRPr>
            </a:lvl8pPr>
            <a:lvl9pPr marL="3656659" indent="0" algn="ctr">
              <a:buNone/>
              <a:defRPr>
                <a:solidFill>
                  <a:schemeClr val="tx1">
                    <a:tint val="75000"/>
                  </a:schemeClr>
                </a:solidFill>
              </a:defRPr>
            </a:lvl9pPr>
          </a:lstStyle>
          <a:p>
            <a:r>
              <a:rPr lang="en-GB" dirty="0"/>
              <a:t>Speaker Name</a:t>
            </a:r>
            <a:endParaRPr lang="en-US" dirty="0"/>
          </a:p>
        </p:txBody>
      </p:sp>
      <p:sp>
        <p:nvSpPr>
          <p:cNvPr id="12" name="Text Placeholder 38"/>
          <p:cNvSpPr>
            <a:spLocks noGrp="1"/>
          </p:cNvSpPr>
          <p:nvPr>
            <p:ph type="body" sz="quarter" idx="11" hasCustomPrompt="1"/>
          </p:nvPr>
        </p:nvSpPr>
        <p:spPr>
          <a:xfrm>
            <a:off x="625999" y="5438074"/>
            <a:ext cx="11061895" cy="384175"/>
          </a:xfrm>
          <a:prstGeom prst="rect">
            <a:avLst/>
          </a:prstGeom>
        </p:spPr>
        <p:txBody>
          <a:bodyPr lIns="121877" tIns="60938" rIns="121877" bIns="60938"/>
          <a:lstStyle>
            <a:lvl1pPr marL="0" indent="0" algn="l">
              <a:buFontTx/>
              <a:buNone/>
              <a:defRPr lang="en-US" sz="1900"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3" name="Text Placeholder 40"/>
          <p:cNvSpPr>
            <a:spLocks noGrp="1"/>
          </p:cNvSpPr>
          <p:nvPr>
            <p:ph type="body" sz="quarter" idx="12" hasCustomPrompt="1"/>
          </p:nvPr>
        </p:nvSpPr>
        <p:spPr>
          <a:xfrm>
            <a:off x="625999" y="5818545"/>
            <a:ext cx="11061895" cy="384175"/>
          </a:xfrm>
          <a:prstGeom prst="rect">
            <a:avLst/>
          </a:prstGeom>
        </p:spPr>
        <p:txBody>
          <a:bodyPr lIns="121877" tIns="60938" rIns="121877" bIns="60938"/>
          <a:lstStyle>
            <a:lvl1pPr marL="0" indent="0" algn="l">
              <a:buFontTx/>
              <a:buNone/>
              <a:defRPr lang="en-US" sz="1900"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4" name="Text Placeholder 2"/>
          <p:cNvSpPr>
            <a:spLocks noGrp="1"/>
          </p:cNvSpPr>
          <p:nvPr>
            <p:ph type="body" sz="quarter" idx="13" hasCustomPrompt="1"/>
          </p:nvPr>
        </p:nvSpPr>
        <p:spPr>
          <a:xfrm>
            <a:off x="617727" y="4281951"/>
            <a:ext cx="11070167" cy="398668"/>
          </a:xfrm>
          <a:prstGeom prst="rect">
            <a:avLst/>
          </a:prstGeom>
        </p:spPr>
        <p:txBody>
          <a:bodyPr lIns="121877" tIns="60938" rIns="121877" bIns="60938"/>
          <a:lstStyle>
            <a:lvl1pPr marL="0" indent="0">
              <a:buFont typeface="Arial" panose="020B0604020202020204" pitchFamily="34" charset="0"/>
              <a:buNone/>
              <a:defRPr sz="2900" baseline="0">
                <a:solidFill>
                  <a:srgbClr val="4D4D4D"/>
                </a:solidFill>
                <a:latin typeface="+mj-lt"/>
              </a:defRPr>
            </a:lvl1pPr>
            <a:lvl2pPr marL="406319" indent="0">
              <a:buNone/>
              <a:defRPr/>
            </a:lvl2pPr>
            <a:lvl3pPr marL="569788" indent="0">
              <a:buNone/>
              <a:defRPr/>
            </a:lvl3pPr>
            <a:lvl4pPr marL="688828" indent="0">
              <a:buNone/>
              <a:defRPr/>
            </a:lvl4pPr>
            <a:lvl5pPr marL="801515" indent="0">
              <a:buNone/>
              <a:defRPr/>
            </a:lvl5pPr>
          </a:lstStyle>
          <a:p>
            <a:pPr lvl="0"/>
            <a:r>
              <a:rPr lang="en-GB" dirty="0"/>
              <a:t>Subtitle Goes Here</a:t>
            </a:r>
          </a:p>
        </p:txBody>
      </p:sp>
      <p:sp>
        <p:nvSpPr>
          <p:cNvPr id="10" name="Title 1"/>
          <p:cNvSpPr>
            <a:spLocks noGrp="1"/>
          </p:cNvSpPr>
          <p:nvPr>
            <p:ph type="ctrTitle" hasCustomPrompt="1"/>
          </p:nvPr>
        </p:nvSpPr>
        <p:spPr>
          <a:xfrm>
            <a:off x="567689" y="3519969"/>
            <a:ext cx="11120203" cy="859640"/>
          </a:xfrm>
          <a:prstGeom prst="rect">
            <a:avLst/>
          </a:prstGeom>
        </p:spPr>
        <p:txBody>
          <a:bodyPr anchor="b"/>
          <a:lstStyle>
            <a:lvl1pPr marL="0" indent="0" algn="l">
              <a:lnSpc>
                <a:spcPct val="90000"/>
              </a:lnSpc>
              <a:buFont typeface="Arial" panose="020B0604020202020204" pitchFamily="34" charset="0"/>
              <a:buNone/>
              <a:defRPr sz="6900" b="0" i="0" spc="0" baseline="0">
                <a:solidFill>
                  <a:srgbClr val="4D4D4D"/>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3372562483"/>
      </p:ext>
    </p:extLst>
  </p:cSld>
  <p:clrMapOvr>
    <a:masterClrMapping/>
  </p:clrMapOvr>
  <p:transition spd="slow">
    <p:wip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20" tIns="45714" rIns="91420" bIns="45714" anchor="ctr"/>
          <a:lstStyle/>
          <a:p>
            <a:pPr algn="ctr" defTabSz="914332" eaLnBrk="0" fontAlgn="base" hangingPunct="0">
              <a:lnSpc>
                <a:spcPct val="90000"/>
              </a:lnSpc>
              <a:spcBef>
                <a:spcPct val="0"/>
              </a:spcBef>
              <a:spcAft>
                <a:spcPct val="0"/>
              </a:spcAft>
            </a:pPr>
            <a:endParaRPr lang="en-US" sz="3200">
              <a:solidFill>
                <a:srgbClr val="676767"/>
              </a:solidFill>
              <a:latin typeface="Arial" pitchFamily="34" charset="0"/>
            </a:endParaRPr>
          </a:p>
        </p:txBody>
      </p:sp>
      <p:sp>
        <p:nvSpPr>
          <p:cNvPr id="6" name="Rectangle 3"/>
          <p:cNvSpPr>
            <a:spLocks noChangeArrowheads="1"/>
          </p:cNvSpPr>
          <p:nvPr/>
        </p:nvSpPr>
        <p:spPr bwMode="hidden">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20" tIns="45714" rIns="91420" bIns="45714" anchor="ctr"/>
          <a:lstStyle/>
          <a:p>
            <a:pPr algn="ctr" defTabSz="914332" eaLnBrk="0" fontAlgn="base" hangingPunct="0">
              <a:lnSpc>
                <a:spcPct val="90000"/>
              </a:lnSpc>
              <a:spcBef>
                <a:spcPct val="0"/>
              </a:spcBef>
              <a:spcAft>
                <a:spcPct val="0"/>
              </a:spcAft>
            </a:pPr>
            <a:endParaRPr lang="en-US" sz="3200">
              <a:solidFill>
                <a:srgbClr val="676767"/>
              </a:solidFill>
              <a:latin typeface="Arial" pitchFamily="34" charset="0"/>
            </a:endParaRPr>
          </a:p>
        </p:txBody>
      </p:sp>
      <p:sp>
        <p:nvSpPr>
          <p:cNvPr id="3" name="Subtitle 2"/>
          <p:cNvSpPr>
            <a:spLocks noGrp="1"/>
          </p:cNvSpPr>
          <p:nvPr>
            <p:ph type="subTitle" idx="1" hasCustomPrompt="1"/>
          </p:nvPr>
        </p:nvSpPr>
        <p:spPr>
          <a:xfrm>
            <a:off x="666560" y="4279406"/>
            <a:ext cx="6246489" cy="384175"/>
          </a:xfrm>
          <a:prstGeom prst="rect">
            <a:avLst/>
          </a:prstGeom>
        </p:spPr>
        <p:txBody>
          <a:bodyPr vert="horz" lIns="91420" tIns="45714" rIns="91420" bIns="45714" rtlCol="0">
            <a:noAutofit/>
          </a:bodyPr>
          <a:lstStyle>
            <a:lvl1pPr marL="0" indent="0" algn="l" defTabSz="914202" rtl="0" eaLnBrk="1" latinLnBrk="0" hangingPunct="1">
              <a:lnSpc>
                <a:spcPct val="95000"/>
              </a:lnSpc>
              <a:spcBef>
                <a:spcPts val="1440"/>
              </a:spcBef>
              <a:buClr>
                <a:srgbClr val="92D050"/>
              </a:buClr>
              <a:buSzPct val="90000"/>
              <a:buFont typeface="Arial" pitchFamily="34" charset="0"/>
              <a:buNone/>
              <a:tabLst/>
              <a:defRPr lang="en-US" sz="2400" kern="1200" baseline="0" dirty="0">
                <a:solidFill>
                  <a:schemeClr val="accent3"/>
                </a:solidFill>
                <a:latin typeface="+mj-lt"/>
                <a:ea typeface="+mn-ea"/>
                <a:cs typeface="+mn-cs"/>
              </a:defRPr>
            </a:lvl1pPr>
            <a:lvl2pPr marL="457095" indent="0" algn="ctr">
              <a:buNone/>
              <a:defRPr>
                <a:solidFill>
                  <a:schemeClr val="tx1">
                    <a:tint val="75000"/>
                  </a:schemeClr>
                </a:solidFill>
              </a:defRPr>
            </a:lvl2pPr>
            <a:lvl3pPr marL="914202" indent="0" algn="ctr">
              <a:buNone/>
              <a:defRPr>
                <a:solidFill>
                  <a:schemeClr val="tx1">
                    <a:tint val="75000"/>
                  </a:schemeClr>
                </a:solidFill>
              </a:defRPr>
            </a:lvl3pPr>
            <a:lvl4pPr marL="1371302" indent="0" algn="ctr">
              <a:buNone/>
              <a:defRPr>
                <a:solidFill>
                  <a:schemeClr val="tx1">
                    <a:tint val="75000"/>
                  </a:schemeClr>
                </a:solidFill>
              </a:defRPr>
            </a:lvl4pPr>
            <a:lvl5pPr marL="1828406" indent="0" algn="ctr">
              <a:buNone/>
              <a:defRPr>
                <a:solidFill>
                  <a:schemeClr val="tx1">
                    <a:tint val="75000"/>
                  </a:schemeClr>
                </a:solidFill>
              </a:defRPr>
            </a:lvl5pPr>
            <a:lvl6pPr marL="2285502" indent="0" algn="ctr">
              <a:buNone/>
              <a:defRPr>
                <a:solidFill>
                  <a:schemeClr val="tx1">
                    <a:tint val="75000"/>
                  </a:schemeClr>
                </a:solidFill>
              </a:defRPr>
            </a:lvl6pPr>
            <a:lvl7pPr marL="2742609" indent="0" algn="ctr">
              <a:buNone/>
              <a:defRPr>
                <a:solidFill>
                  <a:schemeClr val="tx1">
                    <a:tint val="75000"/>
                  </a:schemeClr>
                </a:solidFill>
              </a:defRPr>
            </a:lvl7pPr>
            <a:lvl8pPr marL="3199707" indent="0" algn="ctr">
              <a:buNone/>
              <a:defRPr>
                <a:solidFill>
                  <a:schemeClr val="tx1">
                    <a:tint val="75000"/>
                  </a:schemeClr>
                </a:solidFill>
              </a:defRPr>
            </a:lvl8pPr>
            <a:lvl9pPr marL="3656811" indent="0" algn="ctr">
              <a:buNone/>
              <a:defRPr>
                <a:solidFill>
                  <a:schemeClr val="tx1">
                    <a:tint val="75000"/>
                  </a:schemeClr>
                </a:solidFill>
              </a:defRPr>
            </a:lvl9pPr>
          </a:lstStyle>
          <a:p>
            <a:pPr lvl="0"/>
            <a:r>
              <a:rPr lang="en-GB" dirty="0"/>
              <a:t>Presenter Name and Title Go Here</a:t>
            </a:r>
            <a:endParaRPr lang="en-US" dirty="0"/>
          </a:p>
        </p:txBody>
      </p:sp>
      <p:sp>
        <p:nvSpPr>
          <p:cNvPr id="2" name="Title 1"/>
          <p:cNvSpPr>
            <a:spLocks noGrp="1"/>
          </p:cNvSpPr>
          <p:nvPr>
            <p:ph type="ctrTitle" hasCustomPrompt="1"/>
          </p:nvPr>
        </p:nvSpPr>
        <p:spPr>
          <a:xfrm>
            <a:off x="612706" y="3282704"/>
            <a:ext cx="6283409" cy="1022351"/>
          </a:xfrm>
        </p:spPr>
        <p:txBody>
          <a:bodyPr lIns="82275" tIns="45714" rIns="82275" bIns="45714" rtlCol="0" anchor="b">
            <a:noAutofit/>
          </a:bodyPr>
          <a:lstStyle>
            <a:lvl1pPr marL="0" indent="0" algn="l" defTabSz="914202" rtl="0" eaLnBrk="1" latinLnBrk="0" hangingPunct="1">
              <a:lnSpc>
                <a:spcPct val="80000"/>
              </a:lnSpc>
              <a:spcBef>
                <a:spcPct val="0"/>
              </a:spcBef>
              <a:buClr>
                <a:schemeClr val="tx1"/>
              </a:buClr>
              <a:buFont typeface="Ciscolight" pitchFamily="2" charset="0"/>
              <a:buNone/>
              <a:defRPr lang="en-US" sz="6900" b="0" kern="1200" spc="0" baseline="0" dirty="0">
                <a:solidFill>
                  <a:srgbClr val="3E6BB4"/>
                </a:solidFill>
                <a:latin typeface="+mj-lt"/>
                <a:ea typeface="+mj-ea"/>
                <a:cs typeface="+mj-cs"/>
              </a:defRPr>
            </a:lvl1pPr>
          </a:lstStyle>
          <a:p>
            <a:r>
              <a:rPr lang="en-GB" dirty="0"/>
              <a:t>Demo Title</a:t>
            </a:r>
            <a:endParaRPr lang="en-US" dirty="0"/>
          </a:p>
        </p:txBody>
      </p:sp>
      <p:sp>
        <p:nvSpPr>
          <p:cNvPr id="31" name="Picture Placeholder 30"/>
          <p:cNvSpPr>
            <a:spLocks noGrp="1"/>
          </p:cNvSpPr>
          <p:nvPr>
            <p:ph type="pic" sz="quarter" idx="10"/>
          </p:nvPr>
        </p:nvSpPr>
        <p:spPr>
          <a:xfrm>
            <a:off x="7387179" y="1917701"/>
            <a:ext cx="3568700" cy="2889251"/>
          </a:xfrm>
          <a:prstGeom prst="rect">
            <a:avLst/>
          </a:prstGeom>
        </p:spPr>
        <p:txBody>
          <a:bodyPr lIns="121877" tIns="60938" rIns="121877" bIns="60938" anchor="ctr" anchorCtr="1"/>
          <a:lstStyle>
            <a:lvl1pPr marL="0" indent="0" algn="ctr">
              <a:buNone/>
              <a:defRPr>
                <a:solidFill>
                  <a:schemeClr val="accent3"/>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953247202"/>
      </p:ext>
    </p:extLst>
  </p:cSld>
  <p:clrMapOvr>
    <a:masterClrMapping/>
  </p:clrMapOvr>
  <p:transition spd="slow">
    <p:wip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3_Segu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p:nvSpPr>
        <p:spPr bwMode="ltGray">
          <a:xfrm>
            <a:off x="11351437" y="6334144"/>
            <a:ext cx="294063" cy="195761"/>
          </a:xfrm>
          <a:prstGeom prst="rect">
            <a:avLst/>
          </a:prstGeom>
          <a:noFill/>
          <a:ln w="9525" algn="ctr">
            <a:noFill/>
            <a:miter lim="800000"/>
            <a:headEnd/>
            <a:tailEnd/>
          </a:ln>
          <a:effectLst/>
        </p:spPr>
        <p:txBody>
          <a:bodyPr wrap="none" lIns="82103" tIns="41054" rIns="82103" bIns="41054" anchor="b">
            <a:spAutoFit/>
          </a:bodyPr>
          <a:lstStyle/>
          <a:p>
            <a:pPr algn="r" defTabSz="814212" eaLnBrk="0" hangingPunct="0">
              <a:lnSpc>
                <a:spcPct val="90000"/>
              </a:lnSpc>
              <a:defRPr/>
            </a:pPr>
            <a:fld id="{4ABDCABE-3F10-B64C-92F1-862014417034}" type="slidenum">
              <a:rPr lang="en-US" sz="800">
                <a:solidFill>
                  <a:srgbClr val="FFFFFF">
                    <a:alpha val="60000"/>
                  </a:srgbClr>
                </a:solidFill>
                <a:latin typeface="Arial"/>
                <a:cs typeface="CiscoSans Thin"/>
              </a:rPr>
              <a:pPr algn="r" defTabSz="814212" eaLnBrk="0" hangingPunct="0">
                <a:lnSpc>
                  <a:spcPct val="90000"/>
                </a:lnSpc>
                <a:defRPr/>
              </a:pPr>
              <a:t>‹#›</a:t>
            </a:fld>
            <a:endParaRPr lang="en-US" sz="800" dirty="0">
              <a:solidFill>
                <a:srgbClr val="FFFFFF">
                  <a:alpha val="60000"/>
                </a:srgbClr>
              </a:solidFill>
              <a:latin typeface="Arial"/>
              <a:cs typeface="CiscoSans Thin"/>
            </a:endParaRPr>
          </a:p>
        </p:txBody>
      </p:sp>
      <p:sp>
        <p:nvSpPr>
          <p:cNvPr id="8" name="Rectangle 4"/>
          <p:cNvSpPr>
            <a:spLocks noChangeArrowheads="1"/>
          </p:cNvSpPr>
          <p:nvPr/>
        </p:nvSpPr>
        <p:spPr bwMode="ltGray">
          <a:xfrm>
            <a:off x="7823345" y="6332472"/>
            <a:ext cx="3544024" cy="195761"/>
          </a:xfrm>
          <a:prstGeom prst="rect">
            <a:avLst/>
          </a:prstGeom>
          <a:noFill/>
          <a:ln w="9525">
            <a:noFill/>
            <a:miter lim="800000"/>
            <a:headEnd/>
            <a:tailEnd/>
          </a:ln>
          <a:effectLst/>
        </p:spPr>
        <p:txBody>
          <a:bodyPr lIns="82103" tIns="41054" rIns="82103" bIns="41054" anchor="b">
            <a:spAutoFit/>
          </a:bodyPr>
          <a:lstStyle/>
          <a:p>
            <a:pPr algn="ctr" defTabSz="814212" eaLnBrk="0" hangingPunct="0">
              <a:lnSpc>
                <a:spcPct val="90000"/>
              </a:lnSpc>
              <a:defRPr/>
            </a:pPr>
            <a:r>
              <a:rPr lang="en-US" sz="800" dirty="0">
                <a:solidFill>
                  <a:srgbClr val="FFFFFF">
                    <a:alpha val="60000"/>
                  </a:srgbClr>
                </a:solidFill>
                <a:latin typeface="Arial"/>
                <a:cs typeface="CiscoSans Thin"/>
              </a:rPr>
              <a:t>© 2015  Cisco and/or its affiliates. All rights reserved.   Cisco Confidential</a:t>
            </a:r>
          </a:p>
        </p:txBody>
      </p:sp>
      <p:pic>
        <p:nvPicPr>
          <p:cNvPr id="10" name="Picture 2" descr="C:\Users\spius\Pictures\cisco logo blue gradient.png"/>
          <p:cNvPicPr>
            <a:picLocks noChangeAspect="1" noChangeArrowheads="1"/>
          </p:cNvPicPr>
          <p:nvPr/>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632237" y="6167697"/>
            <a:ext cx="575083" cy="353568"/>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p:cNvCxnSpPr/>
          <p:nvPr/>
        </p:nvCxnSpPr>
        <p:spPr>
          <a:xfrm>
            <a:off x="0" y="6771411"/>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1647914"/>
      </p:ext>
    </p:extLst>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16" tIns="45710" rIns="91416" bIns="45710" anchor="ctr"/>
          <a:lstStyle/>
          <a:p>
            <a:pPr algn="ctr" defTabSz="914332" eaLnBrk="0" fontAlgn="base" hangingPunct="0">
              <a:lnSpc>
                <a:spcPct val="90000"/>
              </a:lnSpc>
              <a:spcBef>
                <a:spcPct val="0"/>
              </a:spcBef>
              <a:spcAft>
                <a:spcPct val="0"/>
              </a:spcAft>
            </a:pPr>
            <a:endParaRPr lang="en-US" sz="3200">
              <a:solidFill>
                <a:srgbClr val="676767"/>
              </a:solidFill>
              <a:latin typeface="Arial" pitchFamily="34" charset="0"/>
            </a:endParaRPr>
          </a:p>
        </p:txBody>
      </p:sp>
      <p:sp>
        <p:nvSpPr>
          <p:cNvPr id="4" name="Rectangle 6"/>
          <p:cNvSpPr>
            <a:spLocks noChangeArrowheads="1"/>
          </p:cNvSpPr>
          <p:nvPr/>
        </p:nvSpPr>
        <p:spPr bwMode="hidden">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16" tIns="45710" rIns="91416" bIns="45710" anchor="ctr"/>
          <a:lstStyle/>
          <a:p>
            <a:pPr algn="ctr" defTabSz="914332" eaLnBrk="0" fontAlgn="base" hangingPunct="0">
              <a:lnSpc>
                <a:spcPct val="90000"/>
              </a:lnSpc>
              <a:spcBef>
                <a:spcPct val="0"/>
              </a:spcBef>
              <a:spcAft>
                <a:spcPct val="0"/>
              </a:spcAft>
            </a:pPr>
            <a:endParaRPr lang="en-US" sz="3200">
              <a:solidFill>
                <a:srgbClr val="676767"/>
              </a:solidFill>
              <a:latin typeface="Arial" pitchFamily="34" charset="0"/>
            </a:endParaRPr>
          </a:p>
        </p:txBody>
      </p:sp>
      <p:sp>
        <p:nvSpPr>
          <p:cNvPr id="7" name="Title 1"/>
          <p:cNvSpPr>
            <a:spLocks noGrp="1"/>
          </p:cNvSpPr>
          <p:nvPr>
            <p:ph type="ctrTitle" hasCustomPrompt="1"/>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00" b="0" i="0" spc="0" baseline="0">
                <a:solidFill>
                  <a:srgbClr val="3E6BB4"/>
                </a:solidFill>
                <a:latin typeface="+mj-lt"/>
                <a:cs typeface="CiscoSans Thin"/>
              </a:defRPr>
            </a:lvl1pPr>
          </a:lstStyle>
          <a:p>
            <a:r>
              <a:rPr lang="en-GB" dirty="0"/>
              <a:t>Section Title Goes Here</a:t>
            </a:r>
            <a:endParaRPr lang="en-US" dirty="0"/>
          </a:p>
        </p:txBody>
      </p:sp>
      <p:sp>
        <p:nvSpPr>
          <p:cNvPr id="5" name="Rectangle 3"/>
          <p:cNvSpPr>
            <a:spLocks noChangeArrowheads="1"/>
          </p:cNvSpPr>
          <p:nvPr/>
        </p:nvSpPr>
        <p:spPr bwMode="white">
          <a:xfrm>
            <a:off x="0" y="0"/>
            <a:ext cx="12192000" cy="177800"/>
          </a:xfrm>
          <a:prstGeom prst="rect">
            <a:avLst/>
          </a:prstGeom>
          <a:solidFill>
            <a:schemeClr val="bg2"/>
          </a:solidFill>
          <a:ln w="25400" algn="ctr">
            <a:noFill/>
            <a:miter lim="800000"/>
            <a:headEnd/>
            <a:tailEnd/>
          </a:ln>
          <a:effectLst/>
        </p:spPr>
        <p:txBody>
          <a:bodyPr wrap="none" lIns="91424" tIns="45714" rIns="91424" bIns="45714" anchor="ctr"/>
          <a:lstStyle/>
          <a:p>
            <a:pPr algn="ctr" defTabSz="914332" eaLnBrk="0" fontAlgn="base" hangingPunct="0">
              <a:lnSpc>
                <a:spcPct val="90000"/>
              </a:lnSpc>
              <a:spcBef>
                <a:spcPct val="0"/>
              </a:spcBef>
              <a:spcAft>
                <a:spcPct val="0"/>
              </a:spcAft>
            </a:pPr>
            <a:endParaRPr lang="en-US" sz="3200">
              <a:solidFill>
                <a:srgbClr val="676767"/>
              </a:solidFill>
              <a:latin typeface="Arial"/>
            </a:endParaRPr>
          </a:p>
        </p:txBody>
      </p:sp>
      <p:sp>
        <p:nvSpPr>
          <p:cNvPr id="6" name="Rectangle 3"/>
          <p:cNvSpPr>
            <a:spLocks noChangeArrowheads="1"/>
          </p:cNvSpPr>
          <p:nvPr/>
        </p:nvSpPr>
        <p:spPr bwMode="hidden">
          <a:xfrm>
            <a:off x="0" y="0"/>
            <a:ext cx="12192000" cy="177800"/>
          </a:xfrm>
          <a:prstGeom prst="rect">
            <a:avLst/>
          </a:prstGeom>
          <a:solidFill>
            <a:schemeClr val="bg2"/>
          </a:solidFill>
          <a:ln w="25400" algn="ctr">
            <a:noFill/>
            <a:miter lim="800000"/>
            <a:headEnd/>
            <a:tailEnd/>
          </a:ln>
          <a:effectLst/>
        </p:spPr>
        <p:txBody>
          <a:bodyPr wrap="none" lIns="91424" tIns="45714" rIns="91424" bIns="45714" anchor="ctr"/>
          <a:lstStyle/>
          <a:p>
            <a:pPr algn="ctr" defTabSz="914332" eaLnBrk="0" fontAlgn="base" hangingPunct="0">
              <a:lnSpc>
                <a:spcPct val="90000"/>
              </a:lnSpc>
              <a:spcBef>
                <a:spcPct val="0"/>
              </a:spcBef>
              <a:spcAft>
                <a:spcPct val="0"/>
              </a:spcAft>
            </a:pPr>
            <a:endParaRPr lang="en-US" sz="3200">
              <a:solidFill>
                <a:srgbClr val="676767"/>
              </a:solidFill>
              <a:latin typeface="Arial"/>
            </a:endParaRPr>
          </a:p>
        </p:txBody>
      </p:sp>
    </p:spTree>
    <p:extLst>
      <p:ext uri="{BB962C8B-B14F-4D97-AF65-F5344CB8AC3E}">
        <p14:creationId xmlns:p14="http://schemas.microsoft.com/office/powerpoint/2010/main" val="1611963721"/>
      </p:ext>
    </p:extLst>
  </p:cSld>
  <p:clrMapOvr>
    <a:masterClrMapping/>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632887" y="1797053"/>
            <a:ext cx="11040076" cy="4098595"/>
          </a:xfrm>
          <a:prstGeom prst="rect">
            <a:avLst/>
          </a:prstGeom>
        </p:spPr>
        <p:txBody>
          <a:bodyPr lIns="121877" tIns="60938" rIns="121877" bIns="60938">
            <a:noAutofit/>
          </a:bodyPr>
          <a:lstStyle>
            <a:lvl1pPr marL="380866" marR="0" indent="-380866" algn="ctr" defTabSz="609387" rtl="0" eaLnBrk="1" fontAlgn="auto" latinLnBrk="0" hangingPunct="1">
              <a:lnSpc>
                <a:spcPct val="100000"/>
              </a:lnSpc>
              <a:spcBef>
                <a:spcPct val="20000"/>
              </a:spcBef>
              <a:spcAft>
                <a:spcPts val="0"/>
              </a:spcAft>
              <a:buClrTx/>
              <a:buSzTx/>
              <a:buFont typeface="Arial"/>
              <a:buNone/>
              <a:tabLst/>
              <a:defRPr sz="2700"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2" tIns="60941" rIns="121882" bIns="60941"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835839011"/>
      </p:ext>
    </p:extLst>
  </p:cSld>
  <p:clrMapOvr>
    <a:masterClrMapping/>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121877" tIns="60938" rIns="121877" bIns="60938">
            <a:noAutofit/>
          </a:bodyPr>
          <a:lstStyle>
            <a:lvl1pPr marL="374517" indent="-298347">
              <a:lnSpc>
                <a:spcPct val="95000"/>
              </a:lnSpc>
              <a:spcBef>
                <a:spcPts val="1480"/>
              </a:spcBef>
              <a:buClr>
                <a:schemeClr val="tx1"/>
              </a:buClr>
              <a:buSzPct val="80000"/>
              <a:buFont typeface="Arial"/>
              <a:buChar char="•"/>
              <a:defRPr sz="4900" b="0" i="0">
                <a:solidFill>
                  <a:srgbClr val="676767"/>
                </a:solidFill>
                <a:latin typeface="+mn-lt"/>
                <a:cs typeface="CiscoSans ExtraLight"/>
              </a:defRPr>
            </a:lvl1pPr>
            <a:lvl2pPr marL="677098" indent="-287763">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606" indent="-228522">
              <a:buClr>
                <a:schemeClr val="tx1"/>
              </a:buClr>
              <a:buSzPct val="80000"/>
              <a:buFont typeface="Arial"/>
              <a:buChar char="•"/>
              <a:defRPr sz="2100" b="0" i="0">
                <a:solidFill>
                  <a:srgbClr val="676767"/>
                </a:solidFill>
                <a:latin typeface="+mn-lt"/>
                <a:cs typeface="CiscoSans ExtraLight"/>
              </a:defRPr>
            </a:lvl3pPr>
            <a:lvl4pPr marL="1214542" indent="-228522">
              <a:buClr>
                <a:schemeClr val="tx1"/>
              </a:buClr>
              <a:buSzPct val="80000"/>
              <a:buFont typeface="Arial"/>
              <a:buChar char="•"/>
              <a:defRPr sz="1900" b="0" i="0">
                <a:solidFill>
                  <a:srgbClr val="676767"/>
                </a:solidFill>
                <a:latin typeface="+mn-lt"/>
                <a:cs typeface="CiscoSans ExtraLight"/>
              </a:defRPr>
            </a:lvl4pPr>
            <a:lvl5pPr marL="1443063" indent="-224289">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2" tIns="60941" rIns="121882" bIns="60941"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202250145"/>
      </p:ext>
    </p:extLst>
  </p:cSld>
  <p:clrMapOvr>
    <a:masterClrMapping/>
  </p:clrMapOvr>
  <p:transition spd="med">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121877" tIns="60938" rIns="121877" bIns="60938">
            <a:noAutofit/>
          </a:bodyPr>
          <a:lstStyle>
            <a:lvl1pPr marL="76171" indent="0">
              <a:lnSpc>
                <a:spcPct val="95000"/>
              </a:lnSpc>
              <a:spcBef>
                <a:spcPts val="1480"/>
              </a:spcBef>
              <a:buClr>
                <a:schemeClr val="tx1"/>
              </a:buClr>
              <a:buSzPct val="80000"/>
              <a:buFont typeface="Arial"/>
              <a:buNone/>
              <a:defRPr sz="4900" b="0" i="0">
                <a:solidFill>
                  <a:srgbClr val="676767"/>
                </a:solidFill>
                <a:latin typeface="+mn-lt"/>
                <a:cs typeface="CiscoSans ExtraLight"/>
              </a:defRPr>
            </a:lvl1pPr>
            <a:lvl2pPr marL="389333"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079" indent="0">
              <a:buClr>
                <a:schemeClr val="tx1"/>
              </a:buClr>
              <a:buSzPct val="80000"/>
              <a:buFont typeface="Arial"/>
              <a:buNone/>
              <a:defRPr sz="2100" b="0" i="0">
                <a:solidFill>
                  <a:srgbClr val="676767"/>
                </a:solidFill>
                <a:latin typeface="+mn-lt"/>
                <a:cs typeface="CiscoSans ExtraLight"/>
              </a:defRPr>
            </a:lvl3pPr>
            <a:lvl4pPr marL="986022" indent="0">
              <a:buClr>
                <a:schemeClr val="tx1"/>
              </a:buClr>
              <a:buSzPct val="80000"/>
              <a:buFont typeface="Arial"/>
              <a:buNone/>
              <a:defRPr sz="1900" b="0" i="0">
                <a:solidFill>
                  <a:srgbClr val="676767"/>
                </a:solidFill>
                <a:latin typeface="+mn-lt"/>
                <a:cs typeface="CiscoSans ExtraLight"/>
              </a:defRPr>
            </a:lvl4pPr>
            <a:lvl5pPr marL="1218776"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2" tIns="60941" rIns="121882" bIns="60941"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431013404"/>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6087960" y="812806"/>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907" y="403346"/>
            <a:ext cx="4954660" cy="1101929"/>
          </a:xfrm>
          <a:prstGeom prst="rect">
            <a:avLst/>
          </a:prstGeom>
        </p:spPr>
        <p:txBody>
          <a:bodyPr lIns="61706" tIns="34286" rIns="61706" bIns="34286" rtlCol="0">
            <a:noAutofit/>
          </a:bodyPr>
          <a:lstStyle>
            <a:lvl1pPr algn="l" defTabSz="914180" rtl="0" eaLnBrk="1" latinLnBrk="0" hangingPunct="1">
              <a:lnSpc>
                <a:spcPct val="80000"/>
              </a:lnSpc>
              <a:spcBef>
                <a:spcPct val="0"/>
              </a:spcBef>
              <a:buNone/>
              <a:defRPr lang="en-US" sz="4300" b="0" i="0" kern="1200" spc="-100"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6541287" y="403341"/>
            <a:ext cx="4954660" cy="1101928"/>
          </a:xfrm>
          <a:prstGeom prst="rect">
            <a:avLst/>
          </a:prstGeom>
        </p:spPr>
        <p:txBody>
          <a:bodyPr lIns="91412" tIns="45710" rIns="91412" bIns="45710" anchor="ctr" anchorCtr="0">
            <a:noAutofit/>
          </a:bodyPr>
          <a:lstStyle>
            <a:lvl1pPr marL="0" marR="0" indent="0" algn="l" defTabSz="914180" rtl="0" eaLnBrk="1" fontAlgn="auto" latinLnBrk="0" hangingPunct="1">
              <a:lnSpc>
                <a:spcPct val="80000"/>
              </a:lnSpc>
              <a:spcBef>
                <a:spcPct val="0"/>
              </a:spcBef>
              <a:spcAft>
                <a:spcPts val="0"/>
              </a:spcAft>
              <a:buClrTx/>
              <a:buSzTx/>
              <a:buFontTx/>
              <a:buNone/>
              <a:tabLst/>
              <a:defRPr lang="en-US" sz="4300" b="0" i="0" kern="1200" spc="-100"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623907" y="1797051"/>
            <a:ext cx="4954660" cy="4110792"/>
          </a:xfrm>
          <a:prstGeom prst="rect">
            <a:avLst/>
          </a:prstGeom>
        </p:spPr>
        <p:txBody>
          <a:bodyPr lIns="91412" tIns="45710" rIns="91412" bIns="45710">
            <a:noAutofit/>
          </a:bodyPr>
          <a:lstStyle>
            <a:lvl1pPr marL="304700" indent="-228526">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95" indent="-287767">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26" indent="-228526">
              <a:buClr>
                <a:schemeClr val="tx1"/>
              </a:buClr>
              <a:buSzPct val="80000"/>
              <a:buFont typeface="Arial"/>
              <a:buChar char="•"/>
              <a:defRPr sz="2100" b="0" i="0">
                <a:solidFill>
                  <a:schemeClr val="tx1"/>
                </a:solidFill>
                <a:latin typeface="+mn-lt"/>
                <a:cs typeface="CiscoSans ExtraLight"/>
              </a:defRPr>
            </a:lvl3pPr>
            <a:lvl4pPr marL="1066445" indent="-228526">
              <a:buClr>
                <a:schemeClr val="tx1"/>
              </a:buClr>
              <a:buSzPct val="80000"/>
              <a:buFont typeface="Arial"/>
              <a:buChar char="•"/>
              <a:defRPr sz="1900" b="0" i="0">
                <a:solidFill>
                  <a:schemeClr val="tx1"/>
                </a:solidFill>
                <a:latin typeface="+mn-lt"/>
                <a:cs typeface="CiscoSans ExtraLight"/>
              </a:defRPr>
            </a:lvl4pPr>
            <a:lvl5pPr marL="1294969" indent="-228526">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6541287" y="1797051"/>
            <a:ext cx="4954660" cy="4110792"/>
          </a:xfrm>
          <a:prstGeom prst="rect">
            <a:avLst/>
          </a:prstGeom>
        </p:spPr>
        <p:txBody>
          <a:bodyPr lIns="91412" tIns="45710" rIns="91412" bIns="45710">
            <a:noAutofit/>
          </a:bodyPr>
          <a:lstStyle>
            <a:lvl1pPr marL="304700" indent="-228526">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95" indent="-287767">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26" indent="-228526">
              <a:buClr>
                <a:schemeClr val="tx1"/>
              </a:buClr>
              <a:buSzPct val="80000"/>
              <a:buFont typeface="Arial"/>
              <a:buChar char="•"/>
              <a:defRPr sz="2100" b="0" i="0">
                <a:solidFill>
                  <a:schemeClr val="tx1"/>
                </a:solidFill>
                <a:latin typeface="+mn-lt"/>
                <a:cs typeface="CiscoSans ExtraLight"/>
              </a:defRPr>
            </a:lvl3pPr>
            <a:lvl4pPr marL="1066445" indent="-228526">
              <a:buClr>
                <a:schemeClr val="tx1"/>
              </a:buClr>
              <a:buSzPct val="80000"/>
              <a:buFont typeface="Arial"/>
              <a:buChar char="•"/>
              <a:defRPr sz="1900" b="0" i="0">
                <a:solidFill>
                  <a:schemeClr val="tx1"/>
                </a:solidFill>
                <a:latin typeface="+mn-lt"/>
                <a:cs typeface="CiscoSans ExtraLight"/>
              </a:defRPr>
            </a:lvl4pPr>
            <a:lvl5pPr marL="1294969" indent="-228526">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071982415"/>
      </p:ext>
    </p:extLst>
  </p:cSld>
  <p:clrMapOvr>
    <a:masterClrMapping/>
  </p:clrMapOvr>
  <p:transition spd="med">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19551" y="1194135"/>
            <a:ext cx="11198319" cy="4224280"/>
          </a:xfrm>
          <a:prstGeom prst="rect">
            <a:avLst/>
          </a:prstGeom>
        </p:spPr>
        <p:txBody>
          <a:bodyPr lIns="121877" tIns="60938" rIns="121877" bIns="60938">
            <a:noAutofit/>
          </a:bodyPr>
          <a:lstStyle>
            <a:lvl1pPr marL="76171" indent="0">
              <a:lnSpc>
                <a:spcPct val="95000"/>
              </a:lnSpc>
              <a:spcBef>
                <a:spcPts val="1480"/>
              </a:spcBef>
              <a:buClr>
                <a:schemeClr val="tx1"/>
              </a:buClr>
              <a:buSzPct val="80000"/>
              <a:buFont typeface="Arial"/>
              <a:buNone/>
              <a:defRPr sz="4900" b="0" i="0">
                <a:solidFill>
                  <a:srgbClr val="676767"/>
                </a:solidFill>
                <a:latin typeface="+mn-lt"/>
                <a:cs typeface="CiscoSans ExtraLight"/>
              </a:defRPr>
            </a:lvl1pPr>
            <a:lvl2pPr marL="389333"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079" indent="0">
              <a:buClr>
                <a:schemeClr val="tx1"/>
              </a:buClr>
              <a:buSzPct val="80000"/>
              <a:buFont typeface="Arial"/>
              <a:buNone/>
              <a:defRPr sz="2100" b="0" i="0">
                <a:solidFill>
                  <a:srgbClr val="676767"/>
                </a:solidFill>
                <a:latin typeface="+mn-lt"/>
                <a:cs typeface="CiscoSans ExtraLight"/>
              </a:defRPr>
            </a:lvl3pPr>
            <a:lvl4pPr marL="986022" indent="0">
              <a:buClr>
                <a:schemeClr val="tx1"/>
              </a:buClr>
              <a:buSzPct val="80000"/>
              <a:buFont typeface="Arial"/>
              <a:buNone/>
              <a:defRPr sz="1900" b="0" i="0">
                <a:solidFill>
                  <a:srgbClr val="676767"/>
                </a:solidFill>
                <a:latin typeface="+mn-lt"/>
                <a:cs typeface="CiscoSans ExtraLight"/>
              </a:defRPr>
            </a:lvl4pPr>
            <a:lvl5pPr marL="1218776"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3772958005"/>
      </p:ext>
    </p:extLst>
  </p:cSld>
  <p:clrMapOvr>
    <a:masterClrMapping/>
  </p:clrMapOvr>
  <p:transition spd="med">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04852" y="1168479"/>
            <a:ext cx="11013016" cy="4224280"/>
          </a:xfrm>
          <a:prstGeom prst="rect">
            <a:avLst/>
          </a:prstGeom>
        </p:spPr>
        <p:txBody>
          <a:bodyPr lIns="121877" tIns="60938" rIns="121877" bIns="60938">
            <a:noAutofit/>
          </a:bodyPr>
          <a:lstStyle>
            <a:lvl1pPr marL="283161" indent="-523126">
              <a:lnSpc>
                <a:spcPts val="5920"/>
              </a:lnSpc>
              <a:spcBef>
                <a:spcPts val="0"/>
              </a:spcBef>
              <a:buClr>
                <a:schemeClr val="tx1"/>
              </a:buClr>
              <a:buSzPct val="80000"/>
              <a:buFont typeface="Arial"/>
              <a:buChar char="•"/>
              <a:defRPr sz="4900" b="0" i="0">
                <a:solidFill>
                  <a:srgbClr val="676767"/>
                </a:solidFill>
                <a:latin typeface="+mn-lt"/>
                <a:cs typeface="CiscoSans ExtraLight"/>
              </a:defRPr>
            </a:lvl1pPr>
            <a:lvl2pPr marL="677098" indent="-287763">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606" indent="-228522">
              <a:buClr>
                <a:schemeClr val="tx1"/>
              </a:buClr>
              <a:buSzPct val="80000"/>
              <a:buFont typeface="Arial"/>
              <a:buChar char="•"/>
              <a:defRPr sz="2100" b="0" i="0">
                <a:solidFill>
                  <a:srgbClr val="676767"/>
                </a:solidFill>
                <a:latin typeface="+mn-lt"/>
                <a:cs typeface="CiscoSans ExtraLight"/>
              </a:defRPr>
            </a:lvl3pPr>
            <a:lvl4pPr marL="1214542" indent="-228522">
              <a:buClr>
                <a:schemeClr val="tx1"/>
              </a:buClr>
              <a:buSzPct val="80000"/>
              <a:buFont typeface="Arial"/>
              <a:buChar char="•"/>
              <a:defRPr sz="1900" b="0" i="0">
                <a:solidFill>
                  <a:srgbClr val="676767"/>
                </a:solidFill>
                <a:latin typeface="+mn-lt"/>
                <a:cs typeface="CiscoSans ExtraLight"/>
              </a:defRPr>
            </a:lvl4pPr>
            <a:lvl5pPr marL="1443063" indent="-224289">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3099571944"/>
      </p:ext>
    </p:extLst>
  </p:cSld>
  <p:clrMapOvr>
    <a:masterClrMapping/>
  </p:clrMapOvr>
  <p:transition spd="med">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5" y="1797051"/>
            <a:ext cx="11036459" cy="4224280"/>
          </a:xfrm>
          <a:prstGeom prst="rect">
            <a:avLst/>
          </a:prstGeom>
        </p:spPr>
        <p:txBody>
          <a:bodyPr lIns="121877" tIns="60938" rIns="121877" bIns="60938">
            <a:noAutofit/>
          </a:bodyPr>
          <a:lstStyle>
            <a:lvl1pPr marL="374517" indent="-298347">
              <a:lnSpc>
                <a:spcPct val="95000"/>
              </a:lnSpc>
              <a:spcBef>
                <a:spcPts val="1480"/>
              </a:spcBef>
              <a:buClr>
                <a:schemeClr val="tx1"/>
              </a:buClr>
              <a:buSzPct val="80000"/>
              <a:buFont typeface="Arial"/>
              <a:buChar char="•"/>
              <a:defRPr sz="2700" b="0" i="0">
                <a:solidFill>
                  <a:srgbClr val="676767"/>
                </a:solidFill>
                <a:latin typeface="+mn-lt"/>
                <a:cs typeface="CiscoSans ExtraLight"/>
              </a:defRPr>
            </a:lvl1pPr>
            <a:lvl2pPr marL="677098" indent="-287763">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606" indent="-228522">
              <a:buClr>
                <a:schemeClr val="tx1"/>
              </a:buClr>
              <a:buSzPct val="80000"/>
              <a:buFont typeface="Arial"/>
              <a:buChar char="•"/>
              <a:defRPr sz="2100" b="0" i="0">
                <a:solidFill>
                  <a:srgbClr val="676767"/>
                </a:solidFill>
                <a:latin typeface="+mn-lt"/>
                <a:cs typeface="CiscoSans ExtraLight"/>
              </a:defRPr>
            </a:lvl3pPr>
            <a:lvl4pPr marL="1214542" indent="-228522">
              <a:buClr>
                <a:schemeClr val="tx1"/>
              </a:buClr>
              <a:buSzPct val="80000"/>
              <a:buFont typeface="Arial"/>
              <a:buChar char="•"/>
              <a:defRPr sz="1900" b="0" i="0">
                <a:solidFill>
                  <a:srgbClr val="676767"/>
                </a:solidFill>
                <a:latin typeface="+mn-lt"/>
                <a:cs typeface="CiscoSans ExtraLight"/>
              </a:defRPr>
            </a:lvl4pPr>
            <a:lvl5pPr marL="1443063" indent="-224289">
              <a:buClr>
                <a:schemeClr val="tx1"/>
              </a:buClr>
              <a:buSzPct val="80000"/>
              <a:buFont typeface="Arial"/>
              <a:buChar char="•"/>
              <a:defRPr sz="16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2" tIns="60941" rIns="121882" bIns="60941"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273844515"/>
      </p:ext>
    </p:extLst>
  </p:cSld>
  <p:clrMapOvr>
    <a:masterClrMapping/>
  </p:clrMapOvr>
  <p:transition spd="med">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583694" y="1797051"/>
            <a:ext cx="5201497" cy="4110792"/>
          </a:xfrm>
          <a:prstGeom prst="rect">
            <a:avLst/>
          </a:prstGeom>
        </p:spPr>
        <p:txBody>
          <a:bodyPr lIns="121877" tIns="60938" rIns="121877" bIns="60938">
            <a:noAutofit/>
          </a:bodyPr>
          <a:lstStyle>
            <a:lvl1pPr marL="304696" indent="-228522">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87" indent="-287763">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10" indent="-228522">
              <a:buClr>
                <a:schemeClr val="tx1"/>
              </a:buClr>
              <a:buSzPct val="80000"/>
              <a:buFont typeface="Arial"/>
              <a:buChar char="•"/>
              <a:defRPr sz="2100" b="0" i="0">
                <a:solidFill>
                  <a:schemeClr val="tx1"/>
                </a:solidFill>
                <a:latin typeface="+mn-lt"/>
                <a:cs typeface="CiscoSans ExtraLight"/>
              </a:defRPr>
            </a:lvl3pPr>
            <a:lvl4pPr marL="1066428" indent="-228522">
              <a:buClr>
                <a:schemeClr val="tx1"/>
              </a:buClr>
              <a:buSzPct val="80000"/>
              <a:buFont typeface="Arial"/>
              <a:buChar char="•"/>
              <a:defRPr sz="1900" b="0" i="0">
                <a:solidFill>
                  <a:schemeClr val="tx1"/>
                </a:solidFill>
                <a:latin typeface="+mn-lt"/>
                <a:cs typeface="CiscoSans ExtraLight"/>
              </a:defRPr>
            </a:lvl4pPr>
            <a:lvl5pPr marL="1294948" indent="-228522">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6086396" y="1797051"/>
            <a:ext cx="5624613" cy="4110792"/>
          </a:xfrm>
          <a:prstGeom prst="rect">
            <a:avLst/>
          </a:prstGeom>
        </p:spPr>
        <p:txBody>
          <a:bodyPr lIns="121877" tIns="60938" rIns="121877" bIns="60938">
            <a:noAutofit/>
          </a:bodyPr>
          <a:lstStyle>
            <a:lvl1pPr marL="304696" indent="-228522">
              <a:lnSpc>
                <a:spcPct val="95000"/>
              </a:lnSpc>
              <a:spcBef>
                <a:spcPts val="1480"/>
              </a:spcBef>
              <a:buClr>
                <a:schemeClr val="tx1"/>
              </a:buClr>
              <a:buSzPct val="80000"/>
              <a:buFont typeface="Arial"/>
              <a:buChar char="•"/>
              <a:defRPr sz="2700" b="0" i="0" baseline="0">
                <a:solidFill>
                  <a:schemeClr val="tx1"/>
                </a:solidFill>
                <a:latin typeface="+mn-lt"/>
                <a:cs typeface="CiscoSans ExtraLight"/>
              </a:defRPr>
            </a:lvl1pPr>
            <a:lvl2pPr marL="609387" indent="-287763">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10" indent="-228522">
              <a:buClr>
                <a:schemeClr val="tx1"/>
              </a:buClr>
              <a:buSzPct val="80000"/>
              <a:buFont typeface="Arial"/>
              <a:buChar char="•"/>
              <a:defRPr sz="2100" b="0" i="0">
                <a:solidFill>
                  <a:schemeClr val="tx1"/>
                </a:solidFill>
                <a:latin typeface="+mn-lt"/>
                <a:cs typeface="CiscoSans ExtraLight"/>
              </a:defRPr>
            </a:lvl3pPr>
            <a:lvl4pPr marL="1066428" indent="-228522">
              <a:buClr>
                <a:schemeClr val="tx1"/>
              </a:buClr>
              <a:buSzPct val="80000"/>
              <a:buFont typeface="Arial"/>
              <a:buChar char="•"/>
              <a:defRPr sz="1900" b="0" i="0">
                <a:solidFill>
                  <a:schemeClr val="tx1"/>
                </a:solidFill>
                <a:latin typeface="+mn-lt"/>
                <a:cs typeface="CiscoSans ExtraLight"/>
              </a:defRPr>
            </a:lvl4pPr>
            <a:lvl5pPr marL="1294948" indent="-228522">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2" tIns="60941" rIns="121882" bIns="60941"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182255332"/>
      </p:ext>
    </p:extLst>
  </p:cSld>
  <p:clrMapOvr>
    <a:masterClrMapping/>
  </p:clrMapOvr>
  <p:transition spd="med">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6087960" y="812806"/>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907" y="403346"/>
            <a:ext cx="4954660" cy="1101929"/>
          </a:xfrm>
          <a:prstGeom prst="rect">
            <a:avLst/>
          </a:prstGeom>
        </p:spPr>
        <p:txBody>
          <a:bodyPr lIns="82271" tIns="45710" rIns="82271" bIns="45710" rtlCol="0">
            <a:noAutofit/>
          </a:bodyPr>
          <a:lstStyle>
            <a:lvl1pPr algn="l" defTabSz="914164" rtl="0" eaLnBrk="1" latinLnBrk="0" hangingPunct="1">
              <a:lnSpc>
                <a:spcPct val="80000"/>
              </a:lnSpc>
              <a:spcBef>
                <a:spcPct val="0"/>
              </a:spcBef>
              <a:buNone/>
              <a:defRPr lang="en-US" sz="4300" b="0" i="0" kern="1200" spc="-100"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6541287" y="403341"/>
            <a:ext cx="4954660" cy="1101928"/>
          </a:xfrm>
          <a:prstGeom prst="rect">
            <a:avLst/>
          </a:prstGeom>
        </p:spPr>
        <p:txBody>
          <a:bodyPr lIns="121877" tIns="60938" rIns="121877" bIns="60938" anchor="ctr" anchorCtr="0">
            <a:noAutofit/>
          </a:bodyPr>
          <a:lstStyle>
            <a:lvl1pPr marL="0" marR="0" indent="0" algn="l" defTabSz="914164" rtl="0" eaLnBrk="1" fontAlgn="auto" latinLnBrk="0" hangingPunct="1">
              <a:lnSpc>
                <a:spcPct val="80000"/>
              </a:lnSpc>
              <a:spcBef>
                <a:spcPct val="0"/>
              </a:spcBef>
              <a:spcAft>
                <a:spcPts val="0"/>
              </a:spcAft>
              <a:buClrTx/>
              <a:buSzTx/>
              <a:buFontTx/>
              <a:buNone/>
              <a:tabLst/>
              <a:defRPr lang="en-US" sz="4300" b="0" i="0" kern="1200" spc="-100"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623907" y="1797051"/>
            <a:ext cx="4954660" cy="4110792"/>
          </a:xfrm>
          <a:prstGeom prst="rect">
            <a:avLst/>
          </a:prstGeom>
        </p:spPr>
        <p:txBody>
          <a:bodyPr lIns="121877" tIns="60938" rIns="121877" bIns="60938">
            <a:noAutofit/>
          </a:bodyPr>
          <a:lstStyle>
            <a:lvl1pPr marL="304696" indent="-228522">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87" indent="-287763">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10" indent="-228522">
              <a:buClr>
                <a:schemeClr val="tx1"/>
              </a:buClr>
              <a:buSzPct val="80000"/>
              <a:buFont typeface="Arial"/>
              <a:buChar char="•"/>
              <a:defRPr sz="2100" b="0" i="0">
                <a:solidFill>
                  <a:schemeClr val="tx1"/>
                </a:solidFill>
                <a:latin typeface="+mn-lt"/>
                <a:cs typeface="CiscoSans ExtraLight"/>
              </a:defRPr>
            </a:lvl3pPr>
            <a:lvl4pPr marL="1066428" indent="-228522">
              <a:buClr>
                <a:schemeClr val="tx1"/>
              </a:buClr>
              <a:buSzPct val="80000"/>
              <a:buFont typeface="Arial"/>
              <a:buChar char="•"/>
              <a:defRPr sz="1900" b="0" i="0">
                <a:solidFill>
                  <a:schemeClr val="tx1"/>
                </a:solidFill>
                <a:latin typeface="+mn-lt"/>
                <a:cs typeface="CiscoSans ExtraLight"/>
              </a:defRPr>
            </a:lvl4pPr>
            <a:lvl5pPr marL="1294948" indent="-228522">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6541287" y="1797051"/>
            <a:ext cx="4954660" cy="4110792"/>
          </a:xfrm>
          <a:prstGeom prst="rect">
            <a:avLst/>
          </a:prstGeom>
        </p:spPr>
        <p:txBody>
          <a:bodyPr lIns="121877" tIns="60938" rIns="121877" bIns="60938">
            <a:noAutofit/>
          </a:bodyPr>
          <a:lstStyle>
            <a:lvl1pPr marL="304696" indent="-228522">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87" indent="-287763">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10" indent="-228522">
              <a:buClr>
                <a:schemeClr val="tx1"/>
              </a:buClr>
              <a:buSzPct val="80000"/>
              <a:buFont typeface="Arial"/>
              <a:buChar char="•"/>
              <a:defRPr sz="2100" b="0" i="0">
                <a:solidFill>
                  <a:schemeClr val="tx1"/>
                </a:solidFill>
                <a:latin typeface="+mn-lt"/>
                <a:cs typeface="CiscoSans ExtraLight"/>
              </a:defRPr>
            </a:lvl3pPr>
            <a:lvl4pPr marL="1066428" indent="-228522">
              <a:buClr>
                <a:schemeClr val="tx1"/>
              </a:buClr>
              <a:buSzPct val="80000"/>
              <a:buFont typeface="Arial"/>
              <a:buChar char="•"/>
              <a:defRPr sz="1900" b="0" i="0">
                <a:solidFill>
                  <a:schemeClr val="tx1"/>
                </a:solidFill>
                <a:latin typeface="+mn-lt"/>
                <a:cs typeface="CiscoSans ExtraLight"/>
              </a:defRPr>
            </a:lvl4pPr>
            <a:lvl5pPr marL="1294948" indent="-228522">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7" name="Straight Connector 6"/>
          <p:cNvCxnSpPr/>
          <p:nvPr/>
        </p:nvCxnSpPr>
        <p:spPr>
          <a:xfrm>
            <a:off x="6134100" y="812811"/>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859257"/>
      </p:ext>
    </p:extLst>
  </p:cSld>
  <p:clrMapOvr>
    <a:masterClrMapping/>
  </p:clrMapOvr>
  <p:transition spd="med">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4093633" y="812806"/>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49684" y="812806"/>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615957" y="304430"/>
            <a:ext cx="3116145" cy="1027281"/>
          </a:xfrm>
          <a:prstGeom prst="rect">
            <a:avLst/>
          </a:prstGeom>
        </p:spPr>
        <p:txBody>
          <a:bodyPr lIns="121877" tIns="60938" rIns="121877" bIns="60938" anchor="b" anchorCtr="0">
            <a:noAutofit/>
          </a:bodyPr>
          <a:lstStyle>
            <a:lvl1pPr marL="0" marR="0" indent="0" algn="l" defTabSz="914164"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4503642" y="303790"/>
            <a:ext cx="3116145" cy="1027281"/>
          </a:xfrm>
          <a:prstGeom prst="rect">
            <a:avLst/>
          </a:prstGeom>
        </p:spPr>
        <p:txBody>
          <a:bodyPr lIns="121877" tIns="60938" rIns="121877" bIns="60938" anchor="b" anchorCtr="0">
            <a:noAutofit/>
          </a:bodyPr>
          <a:lstStyle>
            <a:lvl1pPr marL="0" marR="0" indent="0" algn="l" defTabSz="914164"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8473089" y="293977"/>
            <a:ext cx="3116145" cy="1027281"/>
          </a:xfrm>
          <a:prstGeom prst="rect">
            <a:avLst/>
          </a:prstGeom>
        </p:spPr>
        <p:txBody>
          <a:bodyPr lIns="121877" tIns="60938" rIns="121877" bIns="60938" anchor="b" anchorCtr="0">
            <a:noAutofit/>
          </a:bodyPr>
          <a:lstStyle>
            <a:lvl1pPr marL="0" marR="0" indent="0" algn="l" defTabSz="914164"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615953" y="1601459"/>
            <a:ext cx="3116147" cy="4419872"/>
          </a:xfrm>
          <a:prstGeom prst="rect">
            <a:avLst/>
          </a:prstGeom>
        </p:spPr>
        <p:txBody>
          <a:bodyPr lIns="121877" tIns="60938" rIns="121877" bIns="60938">
            <a:noAutofit/>
          </a:bodyPr>
          <a:lstStyle>
            <a:lvl1pPr marL="311044" indent="-228522">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800" indent="-228522">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4503641" y="1600428"/>
            <a:ext cx="3116147" cy="4419872"/>
          </a:xfrm>
          <a:prstGeom prst="rect">
            <a:avLst/>
          </a:prstGeom>
        </p:spPr>
        <p:txBody>
          <a:bodyPr lIns="121877" tIns="60938" rIns="121877" bIns="60938">
            <a:noAutofit/>
          </a:bodyPr>
          <a:lstStyle>
            <a:lvl1pPr marL="311044" indent="-228522">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800" indent="-228522">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8473085" y="1600428"/>
            <a:ext cx="3116147" cy="4419872"/>
          </a:xfrm>
          <a:prstGeom prst="rect">
            <a:avLst/>
          </a:prstGeom>
        </p:spPr>
        <p:txBody>
          <a:bodyPr lIns="121877" tIns="60938" rIns="121877" bIns="60938">
            <a:noAutofit/>
          </a:bodyPr>
          <a:lstStyle>
            <a:lvl1pPr marL="311044" indent="-228522">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800" indent="-228522">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11" name="Straight Connector 10"/>
          <p:cNvCxnSpPr/>
          <p:nvPr/>
        </p:nvCxnSpPr>
        <p:spPr>
          <a:xfrm>
            <a:off x="4102100" y="812805"/>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8089900" y="812805"/>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3206748"/>
      </p:ext>
    </p:extLst>
  </p:cSld>
  <p:clrMapOvr>
    <a:masterClrMapping/>
  </p:clrMapOvr>
  <p:transition spd="med">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6760635" y="1773768"/>
            <a:ext cx="4950372" cy="413596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7" tIns="60938" rIns="121877" bIns="60938" anchor="ctr"/>
          <a:lstStyle/>
          <a:p>
            <a:pPr algn="ctr" defTabSz="914332" eaLnBrk="0" hangingPunct="0">
              <a:lnSpc>
                <a:spcPct val="90000"/>
              </a:lnSpc>
              <a:defRPr/>
            </a:pPr>
            <a:endParaRPr lang="en-US" sz="3200">
              <a:solidFill>
                <a:srgbClr val="FFFFFF"/>
              </a:solidFill>
              <a:latin typeface="Arial"/>
            </a:endParaRPr>
          </a:p>
        </p:txBody>
      </p:sp>
      <p:sp>
        <p:nvSpPr>
          <p:cNvPr id="12" name="Text Placeholder 11"/>
          <p:cNvSpPr>
            <a:spLocks noGrp="1"/>
          </p:cNvSpPr>
          <p:nvPr>
            <p:ph type="body" sz="quarter" idx="11" hasCustomPrompt="1"/>
          </p:nvPr>
        </p:nvSpPr>
        <p:spPr>
          <a:xfrm>
            <a:off x="6864941" y="1975668"/>
            <a:ext cx="4501216" cy="2212024"/>
          </a:xfrm>
          <a:prstGeom prst="rect">
            <a:avLst/>
          </a:prstGeom>
        </p:spPr>
        <p:txBody>
          <a:bodyPr lIns="121877" tIns="60938" rIns="121877" bIns="60938">
            <a:noAutofit/>
          </a:bodyPr>
          <a:lstStyle>
            <a:lvl1pPr marL="114276" indent="-114276" algn="l" defTabSz="914164" rtl="0" eaLnBrk="1" latinLnBrk="0" hangingPunct="1">
              <a:lnSpc>
                <a:spcPct val="90000"/>
              </a:lnSpc>
              <a:spcBef>
                <a:spcPts val="0"/>
              </a:spcBef>
              <a:buNone/>
              <a:defRPr lang="en-US" sz="2000" kern="1200" baseline="0" dirty="0" smtClean="0">
                <a:solidFill>
                  <a:schemeClr val="tx2"/>
                </a:solidFill>
                <a:latin typeface="+mn-lt"/>
                <a:ea typeface="+mn-ea"/>
                <a:cs typeface="CiscoSans ExtraLight"/>
              </a:defRPr>
            </a:lvl1pPr>
            <a:lvl2pPr marL="114276" indent="-114276" algn="l" defTabSz="914164" rtl="0" eaLnBrk="1" latinLnBrk="0" hangingPunct="1">
              <a:defRPr lang="en-US" sz="2000" kern="1200" dirty="0" smtClean="0">
                <a:solidFill>
                  <a:schemeClr val="accent2"/>
                </a:solidFill>
                <a:latin typeface="Ciscolight" pitchFamily="2" charset="0"/>
                <a:ea typeface="+mn-ea"/>
                <a:cs typeface="+mn-cs"/>
              </a:defRPr>
            </a:lvl2pPr>
            <a:lvl3pPr marL="114276" indent="-114276" algn="l" defTabSz="914164" rtl="0" eaLnBrk="1" latinLnBrk="0" hangingPunct="1">
              <a:defRPr lang="en-US" sz="2000" kern="1200" dirty="0" smtClean="0">
                <a:solidFill>
                  <a:schemeClr val="accent2"/>
                </a:solidFill>
                <a:latin typeface="Ciscolight" pitchFamily="2" charset="0"/>
                <a:ea typeface="+mn-ea"/>
                <a:cs typeface="+mn-cs"/>
              </a:defRPr>
            </a:lvl3pPr>
            <a:lvl4pPr marL="114276" indent="-114276" algn="l" defTabSz="914164" rtl="0" eaLnBrk="1" latinLnBrk="0" hangingPunct="1">
              <a:defRPr lang="en-US" sz="2000" kern="1200" dirty="0" smtClean="0">
                <a:solidFill>
                  <a:schemeClr val="accent2"/>
                </a:solidFill>
                <a:latin typeface="Ciscolight" pitchFamily="2" charset="0"/>
                <a:ea typeface="+mn-ea"/>
                <a:cs typeface="+mn-cs"/>
              </a:defRPr>
            </a:lvl4pPr>
            <a:lvl5pPr marL="114276" indent="-114276" algn="l" defTabSz="914164" rtl="0" eaLnBrk="1" latinLnBrk="0" hangingPunct="1">
              <a:defRPr lang="en-US" sz="20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6864946" y="4736592"/>
            <a:ext cx="4674993" cy="338328"/>
          </a:xfrm>
          <a:prstGeom prst="rect">
            <a:avLst/>
          </a:prstGeom>
        </p:spPr>
        <p:txBody>
          <a:bodyPr lIns="121877" tIns="60938" rIns="121877" bIns="60938">
            <a:noAutofit/>
          </a:bodyPr>
          <a:lstStyle>
            <a:lvl1pPr marL="0" indent="0">
              <a:buClr>
                <a:schemeClr val="tx2"/>
              </a:buClr>
              <a:buFontTx/>
              <a:buNone/>
              <a:defRPr sz="16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583694" y="1797051"/>
            <a:ext cx="5201497" cy="4110792"/>
          </a:xfrm>
          <a:prstGeom prst="rect">
            <a:avLst/>
          </a:prstGeom>
        </p:spPr>
        <p:txBody>
          <a:bodyPr lIns="121877" tIns="60938" rIns="121877" bIns="60938">
            <a:noAutofit/>
          </a:bodyPr>
          <a:lstStyle>
            <a:lvl1pPr marL="304696" indent="-228522">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87" indent="-287763">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10" indent="-228522">
              <a:buClr>
                <a:schemeClr val="tx1"/>
              </a:buClr>
              <a:buSzPct val="80000"/>
              <a:buFont typeface="Arial"/>
              <a:buChar char="•"/>
              <a:defRPr sz="2100" b="0" i="0">
                <a:solidFill>
                  <a:schemeClr val="tx1"/>
                </a:solidFill>
                <a:latin typeface="+mn-lt"/>
                <a:cs typeface="CiscoSans ExtraLight"/>
              </a:defRPr>
            </a:lvl3pPr>
            <a:lvl4pPr marL="1066428" indent="-228522">
              <a:buClr>
                <a:schemeClr val="tx1"/>
              </a:buClr>
              <a:buSzPct val="80000"/>
              <a:buFont typeface="Arial"/>
              <a:buChar char="•"/>
              <a:defRPr sz="1900" b="0" i="0">
                <a:solidFill>
                  <a:schemeClr val="tx1"/>
                </a:solidFill>
                <a:latin typeface="+mn-lt"/>
                <a:cs typeface="CiscoSans ExtraLight"/>
              </a:defRPr>
            </a:lvl4pPr>
            <a:lvl5pPr marL="1294948" indent="-228522">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2" tIns="60941" rIns="121882" bIns="60941" numCol="1" anchor="ctr" anchorCtr="0" compatLnSpc="1">
            <a:prstTxWarp prst="textNoShape">
              <a:avLst/>
            </a:prstTxWarp>
          </a:bodyPr>
          <a:lstStyle/>
          <a:p>
            <a:pPr lvl="0"/>
            <a:r>
              <a:rPr lang="en-US"/>
              <a:t>Click to edit Master title style</a:t>
            </a:r>
            <a:endParaRPr lang="en-GB" dirty="0"/>
          </a:p>
        </p:txBody>
      </p:sp>
      <p:sp>
        <p:nvSpPr>
          <p:cNvPr id="7" name="Rounded Rectangle 6"/>
          <p:cNvSpPr/>
          <p:nvPr/>
        </p:nvSpPr>
        <p:spPr>
          <a:xfrm>
            <a:off x="6857472" y="1639737"/>
            <a:ext cx="4830949" cy="440847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88" tIns="60944" rIns="121888" bIns="60944" rtlCol="0" anchor="ctr"/>
          <a:lstStyle/>
          <a:p>
            <a:pPr algn="ctr" defTabSz="914332" eaLnBrk="0" fontAlgn="base" hangingPunct="0">
              <a:lnSpc>
                <a:spcPct val="90000"/>
              </a:lnSpc>
              <a:spcBef>
                <a:spcPct val="0"/>
              </a:spcBef>
              <a:spcAft>
                <a:spcPct val="0"/>
              </a:spcAft>
            </a:pPr>
            <a:endParaRPr lang="en-US" sz="3200">
              <a:solidFill>
                <a:srgbClr val="FFFFFF"/>
              </a:solidFill>
              <a:latin typeface="Arial"/>
            </a:endParaRPr>
          </a:p>
        </p:txBody>
      </p:sp>
    </p:spTree>
    <p:extLst>
      <p:ext uri="{BB962C8B-B14F-4D97-AF65-F5344CB8AC3E}">
        <p14:creationId xmlns:p14="http://schemas.microsoft.com/office/powerpoint/2010/main" val="186818913"/>
      </p:ext>
    </p:extLst>
  </p:cSld>
  <p:clrMapOvr>
    <a:masterClrMapping/>
  </p:clrMapOvr>
  <p:transition spd="med">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2" tIns="60941" rIns="121882" bIns="60941"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799793549"/>
      </p:ext>
    </p:extLst>
  </p:cSld>
  <p:clrMapOvr>
    <a:masterClrMapping/>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624417" y="5221411"/>
            <a:ext cx="10389144" cy="465808"/>
          </a:xfrm>
          <a:prstGeom prst="rect">
            <a:avLst/>
          </a:prstGeom>
        </p:spPr>
        <p:txBody>
          <a:bodyPr wrap="square" lIns="121877" tIns="60938" rIns="121877" bIns="60938" anchor="b" anchorCtr="0">
            <a:noAutofit/>
          </a:bodyPr>
          <a:lstStyle>
            <a:lvl1pPr marL="0" indent="0" algn="l" defTabSz="804653">
              <a:lnSpc>
                <a:spcPct val="100000"/>
              </a:lnSpc>
              <a:spcBef>
                <a:spcPct val="50000"/>
              </a:spcBef>
              <a:buNone/>
              <a:defRPr sz="29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Click to edit text </a:t>
            </a:r>
          </a:p>
        </p:txBody>
      </p:sp>
      <p:sp>
        <p:nvSpPr>
          <p:cNvPr id="4" name="Title 1"/>
          <p:cNvSpPr>
            <a:spLocks noGrp="1"/>
          </p:cNvSpPr>
          <p:nvPr>
            <p:ph type="ctrTitle" hasCustomPrompt="1"/>
          </p:nvPr>
        </p:nvSpPr>
        <p:spPr>
          <a:xfrm>
            <a:off x="383897" y="2054074"/>
            <a:ext cx="10629664" cy="3038449"/>
          </a:xfrm>
          <a:prstGeom prst="rect">
            <a:avLst/>
          </a:prstGeom>
        </p:spPr>
        <p:txBody>
          <a:bodyPr anchor="ctr">
            <a:noAutofit/>
          </a:bodyPr>
          <a:lstStyle>
            <a:lvl1pPr marL="244765" indent="-533215" algn="l">
              <a:lnSpc>
                <a:spcPct val="90000"/>
              </a:lnSpc>
              <a:defRPr sz="6100"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3261267187"/>
      </p:ext>
    </p:extLst>
  </p:cSld>
  <p:clrMapOvr>
    <a:masterClrMapping/>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6146928" y="812806"/>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618352" y="1918753"/>
            <a:ext cx="5093797" cy="3020519"/>
          </a:xfrm>
        </p:spPr>
        <p:txBody>
          <a:bodyPr lIns="82275" tIns="45714" rIns="82275" bIns="45714" rtlCol="0" anchor="ctr">
            <a:noAutofit/>
          </a:bodyPr>
          <a:lstStyle>
            <a:lvl1pPr marL="0" indent="0" algn="l" defTabSz="914202" rtl="0" eaLnBrk="1" latinLnBrk="0" hangingPunct="1">
              <a:lnSpc>
                <a:spcPct val="80000"/>
              </a:lnSpc>
              <a:spcBef>
                <a:spcPct val="0"/>
              </a:spcBef>
              <a:buClr>
                <a:schemeClr val="tx1"/>
              </a:buClr>
              <a:buFont typeface="Ciscolight" pitchFamily="2" charset="0"/>
              <a:buNone/>
              <a:defRPr lang="en-US" sz="6000"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6563361" y="872691"/>
            <a:ext cx="5154507" cy="5120640"/>
          </a:xfrm>
          <a:prstGeom prst="rect">
            <a:avLst/>
          </a:prstGeom>
        </p:spPr>
        <p:txBody>
          <a:bodyPr lIns="121877" tIns="60938" rIns="121877" bIns="60938" anchor="ctr" anchorCtr="0">
            <a:noAutofit/>
          </a:bodyPr>
          <a:lstStyle>
            <a:lvl1pPr marL="0" indent="0">
              <a:buFontTx/>
              <a:buNone/>
              <a:defRPr sz="2100" baseline="0">
                <a:solidFill>
                  <a:schemeClr val="tx1"/>
                </a:solidFill>
                <a:latin typeface="+mn-lt"/>
              </a:defRPr>
            </a:lvl1pPr>
            <a:lvl2pPr>
              <a:defRPr sz="2000"/>
            </a:lvl2pPr>
            <a:lvl3pPr>
              <a:defRPr sz="2000"/>
            </a:lvl3pPr>
            <a:lvl4pPr>
              <a:defRPr sz="2000"/>
            </a:lvl4pPr>
            <a:lvl5pPr>
              <a:defRPr sz="2000"/>
            </a:lvl5pPr>
          </a:lstStyle>
          <a:p>
            <a:pPr lvl="0"/>
            <a:r>
              <a:rPr lang="en-GB" dirty="0"/>
              <a:t>Click to edit text</a:t>
            </a:r>
          </a:p>
        </p:txBody>
      </p:sp>
      <p:cxnSp>
        <p:nvCxnSpPr>
          <p:cNvPr id="6" name="Straight Connector 5"/>
          <p:cNvCxnSpPr/>
          <p:nvPr/>
        </p:nvCxnSpPr>
        <p:spPr>
          <a:xfrm>
            <a:off x="6134100" y="812811"/>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8119312"/>
      </p:ext>
    </p:extLst>
  </p:cSld>
  <p:clrMapOvr>
    <a:masterClrMapping/>
  </p:clrMapOvr>
  <p:transition spd="slow">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4093633" y="812806"/>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49684" y="812806"/>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615957" y="304430"/>
            <a:ext cx="3116145" cy="1027281"/>
          </a:xfrm>
          <a:prstGeom prst="rect">
            <a:avLst/>
          </a:prstGeom>
        </p:spPr>
        <p:txBody>
          <a:bodyPr lIns="91412" tIns="45710" rIns="91412" bIns="45710" anchor="b" anchorCtr="0">
            <a:noAutofit/>
          </a:bodyPr>
          <a:lstStyle>
            <a:lvl1pPr marL="0" marR="0" indent="0" algn="l" defTabSz="914180"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4503644" y="303790"/>
            <a:ext cx="3116145" cy="1027281"/>
          </a:xfrm>
          <a:prstGeom prst="rect">
            <a:avLst/>
          </a:prstGeom>
        </p:spPr>
        <p:txBody>
          <a:bodyPr lIns="91412" tIns="45710" rIns="91412" bIns="45710" anchor="b" anchorCtr="0">
            <a:noAutofit/>
          </a:bodyPr>
          <a:lstStyle>
            <a:lvl1pPr marL="0" marR="0" indent="0" algn="l" defTabSz="914180"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8473090" y="293977"/>
            <a:ext cx="3116145" cy="1027281"/>
          </a:xfrm>
          <a:prstGeom prst="rect">
            <a:avLst/>
          </a:prstGeom>
        </p:spPr>
        <p:txBody>
          <a:bodyPr lIns="91412" tIns="45710" rIns="91412" bIns="45710" anchor="b" anchorCtr="0">
            <a:noAutofit/>
          </a:bodyPr>
          <a:lstStyle>
            <a:lvl1pPr marL="0" marR="0" indent="0" algn="l" defTabSz="914180"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615953" y="1601459"/>
            <a:ext cx="3116147" cy="4419872"/>
          </a:xfrm>
          <a:prstGeom prst="rect">
            <a:avLst/>
          </a:prstGeom>
        </p:spPr>
        <p:txBody>
          <a:bodyPr lIns="91412" tIns="45710" rIns="91412" bIns="45710">
            <a:noAutofit/>
          </a:bodyPr>
          <a:lstStyle>
            <a:lvl1pPr marL="311048" indent="-228526">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810" indent="-228526">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4503637" y="1600428"/>
            <a:ext cx="3116147" cy="4419872"/>
          </a:xfrm>
          <a:prstGeom prst="rect">
            <a:avLst/>
          </a:prstGeom>
        </p:spPr>
        <p:txBody>
          <a:bodyPr lIns="91412" tIns="45710" rIns="91412" bIns="45710">
            <a:noAutofit/>
          </a:bodyPr>
          <a:lstStyle>
            <a:lvl1pPr marL="311048" indent="-228526">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810" indent="-228526">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8473085" y="1600428"/>
            <a:ext cx="3116147" cy="4419872"/>
          </a:xfrm>
          <a:prstGeom prst="rect">
            <a:avLst/>
          </a:prstGeom>
        </p:spPr>
        <p:txBody>
          <a:bodyPr lIns="91412" tIns="45710" rIns="91412" bIns="45710">
            <a:noAutofit/>
          </a:bodyPr>
          <a:lstStyle>
            <a:lvl1pPr marL="311048" indent="-228526">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810" indent="-228526">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959162620"/>
      </p:ext>
    </p:extLst>
  </p:cSld>
  <p:clrMapOvr>
    <a:masterClrMapping/>
  </p:clrMapOvr>
  <p:transition spd="med">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83688" y="1797053"/>
            <a:ext cx="11127317" cy="3544971"/>
          </a:xfrm>
          <a:prstGeom prst="rect">
            <a:avLst/>
          </a:prstGeom>
        </p:spPr>
        <p:txBody>
          <a:bodyPr lIns="121877" tIns="60938" rIns="121877" bIns="60938">
            <a:noAutofit/>
          </a:bodyPr>
          <a:lstStyle>
            <a:lvl1pPr marL="0" indent="0" algn="ctr">
              <a:buNone/>
              <a:defRPr sz="27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hasCustomPrompt="1"/>
          </p:nvPr>
        </p:nvSpPr>
        <p:spPr>
          <a:xfrm>
            <a:off x="583692" y="5530966"/>
            <a:ext cx="9573749" cy="434977"/>
          </a:xfrm>
          <a:prstGeom prst="rect">
            <a:avLst/>
          </a:prstGeom>
        </p:spPr>
        <p:txBody>
          <a:bodyPr wrap="square" lIns="121877" tIns="60938" rIns="121877" bIns="60938" anchor="b" anchorCtr="0">
            <a:noAutofit/>
          </a:bodyPr>
          <a:lstStyle>
            <a:lvl1pPr algn="l" defTabSz="804653">
              <a:lnSpc>
                <a:spcPct val="100000"/>
              </a:lnSpc>
              <a:spcBef>
                <a:spcPct val="50000"/>
              </a:spcBef>
              <a:buNone/>
              <a:defRPr sz="21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Source</a:t>
            </a:r>
          </a:p>
        </p:txBody>
      </p:sp>
      <p:sp>
        <p:nvSpPr>
          <p:cNvPr id="5" name="Title Placeholder 5"/>
          <p:cNvSpPr>
            <a:spLocks noGrp="1"/>
          </p:cNvSpPr>
          <p:nvPr>
            <p:ph type="title" hasCustomPrompt="1"/>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2" tIns="60941" rIns="121882" bIns="60941"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1764825737"/>
      </p:ext>
    </p:extLst>
  </p:cSld>
  <p:clrMapOvr>
    <a:masterClrMapping/>
  </p:clrMapOvr>
  <p:transition spd="med">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83688" y="1799168"/>
            <a:ext cx="11127317" cy="3547533"/>
          </a:xfrm>
          <a:prstGeom prst="rect">
            <a:avLst/>
          </a:prstGeom>
        </p:spPr>
        <p:txBody>
          <a:bodyPr vert="horz" lIns="121877" tIns="60938" rIns="121877" bIns="60938">
            <a:noAutofit/>
          </a:bodyPr>
          <a:lstStyle>
            <a:lvl1pPr marL="0" indent="0" algn="ctr">
              <a:buNone/>
              <a:defRPr sz="27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hasCustomPrompt="1"/>
          </p:nvPr>
        </p:nvSpPr>
        <p:spPr>
          <a:xfrm>
            <a:off x="583692" y="5530966"/>
            <a:ext cx="9573749" cy="434977"/>
          </a:xfrm>
          <a:prstGeom prst="rect">
            <a:avLst/>
          </a:prstGeom>
        </p:spPr>
        <p:txBody>
          <a:bodyPr wrap="square" lIns="121877" tIns="60938" rIns="121877" bIns="60938" anchor="b" anchorCtr="0">
            <a:noAutofit/>
          </a:bodyPr>
          <a:lstStyle>
            <a:lvl1pPr algn="l" defTabSz="804653">
              <a:lnSpc>
                <a:spcPct val="100000"/>
              </a:lnSpc>
              <a:spcBef>
                <a:spcPct val="50000"/>
              </a:spcBef>
              <a:buNone/>
              <a:defRPr sz="21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Source</a:t>
            </a:r>
          </a:p>
        </p:txBody>
      </p:sp>
      <p:sp>
        <p:nvSpPr>
          <p:cNvPr id="5"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2" tIns="60941" rIns="121882" bIns="60941"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134849994"/>
      </p:ext>
    </p:extLst>
  </p:cSld>
  <p:clrMapOvr>
    <a:masterClrMapping/>
  </p:clrMapOvr>
  <p:transition spd="med">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691" y="1799275"/>
            <a:ext cx="5342668" cy="4054364"/>
          </a:xfrm>
          <a:prstGeom prst="rect">
            <a:avLst/>
          </a:prstGeom>
        </p:spPr>
        <p:txBody>
          <a:bodyPr lIns="121877" tIns="60938" rIns="121877" bIns="60938" anchor="ctr" anchorCtr="0">
            <a:noAutofit/>
          </a:bodyPr>
          <a:lstStyle>
            <a:lvl1pPr marL="0" indent="0">
              <a:buNone/>
              <a:defRPr sz="32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6279877" y="1799172"/>
            <a:ext cx="5431128" cy="4052529"/>
          </a:xfrm>
          <a:prstGeom prst="rect">
            <a:avLst/>
          </a:prstGeom>
        </p:spPr>
        <p:txBody>
          <a:bodyPr vert="horz" lIns="121877" tIns="60938" rIns="121877" bIns="60938">
            <a:noAutofit/>
          </a:bodyPr>
          <a:lstStyle>
            <a:lvl1pPr marL="0" indent="0" algn="ctr">
              <a:buNone/>
              <a:defRPr sz="2700">
                <a:solidFill>
                  <a:schemeClr val="tx1"/>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2" tIns="60941" rIns="121882" bIns="60941"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621097315"/>
      </p:ext>
    </p:extLst>
  </p:cSld>
  <p:clrMapOvr>
    <a:masterClrMapping/>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691" y="1799139"/>
            <a:ext cx="5338660" cy="4054500"/>
          </a:xfrm>
          <a:prstGeom prst="rect">
            <a:avLst/>
          </a:prstGeom>
        </p:spPr>
        <p:txBody>
          <a:bodyPr lIns="121877" tIns="60938" rIns="121877" bIns="60938" anchor="ctr" anchorCtr="0">
            <a:noAutofit/>
          </a:bodyPr>
          <a:lstStyle>
            <a:lvl1pPr marL="0" indent="0">
              <a:buNone/>
              <a:defRPr sz="32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6277480" y="1799167"/>
            <a:ext cx="5433525" cy="4054944"/>
          </a:xfrm>
          <a:prstGeom prst="rect">
            <a:avLst/>
          </a:prstGeom>
        </p:spPr>
        <p:txBody>
          <a:bodyPr vert="horz" lIns="121877" tIns="60938" rIns="121877" bIns="60938">
            <a:noAutofit/>
          </a:bodyPr>
          <a:lstStyle>
            <a:lvl1pPr marL="0" indent="0" algn="ctr">
              <a:buNone/>
              <a:defRPr sz="2700" b="0" i="0">
                <a:solidFill>
                  <a:schemeClr val="tx1"/>
                </a:solidFill>
                <a:latin typeface="+mn-lt"/>
                <a:cs typeface="CiscoSans ExtraLight"/>
              </a:defRPr>
            </a:lvl1pPr>
          </a:lstStyle>
          <a:p>
            <a:pPr lvl="0"/>
            <a:r>
              <a:rPr lang="en-US" noProof="0"/>
              <a:t>Click icon to add picture</a:t>
            </a:r>
            <a:endParaRPr lang="en-US" noProof="0" dirty="0"/>
          </a:p>
        </p:txBody>
      </p:sp>
      <p:sp>
        <p:nvSpPr>
          <p:cNvPr id="5"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2" tIns="60941" rIns="121882" bIns="60941"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4118532297"/>
      </p:ext>
    </p:extLst>
  </p:cSld>
  <p:clrMapOvr>
    <a:masterClrMapping/>
  </p:clrMapOvr>
  <p:transition spd="med">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p:cNvSpPr/>
          <p:nvPr/>
        </p:nvSpPr>
        <p:spPr>
          <a:xfrm>
            <a:off x="8113489" y="2163193"/>
            <a:ext cx="3091419" cy="3091419"/>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914332" eaLnBrk="0" fontAlgn="base" hangingPunct="0">
              <a:lnSpc>
                <a:spcPct val="90000"/>
              </a:lnSpc>
              <a:spcBef>
                <a:spcPct val="0"/>
              </a:spcBef>
              <a:spcAft>
                <a:spcPct val="0"/>
              </a:spcAft>
            </a:pPr>
            <a:endParaRPr lang="en-US" sz="3200" dirty="0">
              <a:solidFill>
                <a:srgbClr val="FFFFFF"/>
              </a:solidFill>
              <a:latin typeface="Arial"/>
              <a:cs typeface="Arial"/>
            </a:endParaRPr>
          </a:p>
        </p:txBody>
      </p:sp>
      <p:sp>
        <p:nvSpPr>
          <p:cNvPr id="4" name="Oval 3"/>
          <p:cNvSpPr/>
          <p:nvPr/>
        </p:nvSpPr>
        <p:spPr>
          <a:xfrm>
            <a:off x="4564309" y="2163193"/>
            <a:ext cx="3091419" cy="3091419"/>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914332" eaLnBrk="0" fontAlgn="base" hangingPunct="0">
              <a:lnSpc>
                <a:spcPct val="90000"/>
              </a:lnSpc>
              <a:spcBef>
                <a:spcPct val="0"/>
              </a:spcBef>
              <a:spcAft>
                <a:spcPct val="0"/>
              </a:spcAft>
            </a:pPr>
            <a:endParaRPr lang="en-US" sz="3200" dirty="0">
              <a:solidFill>
                <a:srgbClr val="FFFFFF"/>
              </a:solidFill>
              <a:latin typeface="Arial"/>
              <a:cs typeface="Arial"/>
            </a:endParaRPr>
          </a:p>
        </p:txBody>
      </p:sp>
      <p:sp>
        <p:nvSpPr>
          <p:cNvPr id="7" name="Oval 6"/>
          <p:cNvSpPr/>
          <p:nvPr/>
        </p:nvSpPr>
        <p:spPr>
          <a:xfrm>
            <a:off x="1019029" y="2163193"/>
            <a:ext cx="3091419" cy="3091419"/>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914332" eaLnBrk="0" fontAlgn="base" hangingPunct="0">
              <a:lnSpc>
                <a:spcPct val="90000"/>
              </a:lnSpc>
              <a:spcBef>
                <a:spcPct val="0"/>
              </a:spcBef>
              <a:spcAft>
                <a:spcPct val="0"/>
              </a:spcAft>
            </a:pPr>
            <a:endParaRPr lang="en-US" sz="3200" dirty="0">
              <a:solidFill>
                <a:srgbClr val="FFFFFF"/>
              </a:solidFill>
              <a:latin typeface="Arial"/>
              <a:cs typeface="Arial"/>
            </a:endParaRPr>
          </a:p>
        </p:txBody>
      </p:sp>
      <p:sp>
        <p:nvSpPr>
          <p:cNvPr id="17" name="Text Placeholder 17"/>
          <p:cNvSpPr>
            <a:spLocks noGrp="1"/>
          </p:cNvSpPr>
          <p:nvPr>
            <p:ph type="body" sz="quarter" idx="11" hasCustomPrompt="1"/>
          </p:nvPr>
        </p:nvSpPr>
        <p:spPr>
          <a:xfrm>
            <a:off x="1036648" y="3733529"/>
            <a:ext cx="3056181" cy="804881"/>
          </a:xfrm>
          <a:prstGeom prst="rect">
            <a:avLst/>
          </a:prstGeom>
        </p:spPr>
        <p:txBody>
          <a:bodyPr lIns="121877" tIns="60938" rIns="121877" bIns="60938"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4581928" y="3730933"/>
            <a:ext cx="3056181" cy="804881"/>
          </a:xfrm>
          <a:prstGeom prst="rect">
            <a:avLst/>
          </a:prstGeom>
        </p:spPr>
        <p:txBody>
          <a:bodyPr lIns="121877" tIns="60938" rIns="121877" bIns="60938"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8131108" y="3730933"/>
            <a:ext cx="3056181" cy="804881"/>
          </a:xfrm>
          <a:prstGeom prst="rect">
            <a:avLst/>
          </a:prstGeom>
        </p:spPr>
        <p:txBody>
          <a:bodyPr lIns="121877" tIns="60938" rIns="121877" bIns="60938"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2027767" y="2857372"/>
            <a:ext cx="1051984" cy="1051984"/>
          </a:xfrm>
          <a:prstGeom prst="rect">
            <a:avLst/>
          </a:prstGeom>
        </p:spPr>
        <p:txBody>
          <a:bodyPr vert="horz" lIns="121904" tIns="60952" rIns="121904" bIns="60952"/>
          <a:lstStyle>
            <a:lvl1pPr marL="0" indent="0" algn="ctr">
              <a:buNone/>
              <a:defRPr sz="16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5603827" y="2870412"/>
            <a:ext cx="1051984" cy="1051984"/>
          </a:xfrm>
          <a:prstGeom prst="rect">
            <a:avLst/>
          </a:prstGeom>
        </p:spPr>
        <p:txBody>
          <a:bodyPr vert="horz" lIns="121904" tIns="60952" rIns="121904" bIns="60952"/>
          <a:lstStyle>
            <a:lvl1pPr marL="0" indent="0" algn="ctr">
              <a:buNone/>
              <a:defRPr sz="16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9122480" y="2857372"/>
            <a:ext cx="1051984" cy="1051984"/>
          </a:xfrm>
          <a:prstGeom prst="rect">
            <a:avLst/>
          </a:prstGeom>
        </p:spPr>
        <p:txBody>
          <a:bodyPr vert="horz" lIns="121904" tIns="60952" rIns="121904" bIns="60952"/>
          <a:lstStyle>
            <a:lvl1pPr marL="0" indent="0" algn="ctr">
              <a:buNone/>
              <a:defRPr sz="1600">
                <a:solidFill>
                  <a:schemeClr val="bg1"/>
                </a:solidFill>
              </a:defRPr>
            </a:lvl1pPr>
          </a:lstStyle>
          <a:p>
            <a:r>
              <a:rPr lang="en-US" dirty="0"/>
              <a:t>Icon</a:t>
            </a:r>
          </a:p>
        </p:txBody>
      </p:sp>
    </p:spTree>
    <p:extLst>
      <p:ext uri="{BB962C8B-B14F-4D97-AF65-F5344CB8AC3E}">
        <p14:creationId xmlns:p14="http://schemas.microsoft.com/office/powerpoint/2010/main" val="1755455176"/>
      </p:ext>
    </p:extLst>
  </p:cSld>
  <p:clrMapOvr>
    <a:masterClrMapping/>
  </p:clrMapOvr>
  <p:transition spd="slow">
    <p:wip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43" name="Oval 42"/>
          <p:cNvSpPr/>
          <p:nvPr/>
        </p:nvSpPr>
        <p:spPr>
          <a:xfrm>
            <a:off x="1033101" y="2163193"/>
            <a:ext cx="3075001" cy="3074624"/>
          </a:xfrm>
          <a:prstGeom prst="ellipse">
            <a:avLst/>
          </a:prstGeom>
          <a:solidFill>
            <a:sysClr val="windowText" lastClr="000000">
              <a:alpha val="30000"/>
            </a:sysClr>
          </a:solidFill>
          <a:ln w="25400" cap="flat" cmpd="sng" algn="ctr">
            <a:noFill/>
            <a:prstDash val="solid"/>
          </a:ln>
          <a:effectLst/>
        </p:spPr>
        <p:txBody>
          <a:bodyPr lIns="91424" tIns="45714" rIns="91424" bIns="45714" anchor="ctr"/>
          <a:lstStyle/>
          <a:p>
            <a:pPr algn="ctr" defTabSz="1219028">
              <a:defRPr/>
            </a:pPr>
            <a:endParaRPr lang="en-US" sz="2400" kern="0">
              <a:solidFill>
                <a:prstClr val="white"/>
              </a:solidFill>
              <a:latin typeface="Arial"/>
            </a:endParaRPr>
          </a:p>
        </p:txBody>
      </p:sp>
      <p:sp>
        <p:nvSpPr>
          <p:cNvPr id="44" name="Oval 43"/>
          <p:cNvSpPr/>
          <p:nvPr/>
        </p:nvSpPr>
        <p:spPr>
          <a:xfrm>
            <a:off x="4563796" y="2163193"/>
            <a:ext cx="3075001" cy="3074624"/>
          </a:xfrm>
          <a:prstGeom prst="ellipse">
            <a:avLst/>
          </a:prstGeom>
          <a:solidFill>
            <a:sysClr val="windowText" lastClr="000000">
              <a:alpha val="30000"/>
            </a:sysClr>
          </a:solidFill>
          <a:ln w="25400" cap="flat" cmpd="sng" algn="ctr">
            <a:noFill/>
            <a:prstDash val="solid"/>
          </a:ln>
          <a:effectLst/>
        </p:spPr>
        <p:txBody>
          <a:bodyPr lIns="91424" tIns="45714" rIns="91424" bIns="45714" anchor="ctr"/>
          <a:lstStyle/>
          <a:p>
            <a:pPr algn="ctr" defTabSz="1219028">
              <a:defRPr/>
            </a:pPr>
            <a:endParaRPr lang="en-US" sz="2400" kern="0">
              <a:solidFill>
                <a:prstClr val="white"/>
              </a:solidFill>
              <a:latin typeface="Arial"/>
            </a:endParaRPr>
          </a:p>
        </p:txBody>
      </p:sp>
      <p:sp>
        <p:nvSpPr>
          <p:cNvPr id="45" name="Oval 44"/>
          <p:cNvSpPr/>
          <p:nvPr/>
        </p:nvSpPr>
        <p:spPr>
          <a:xfrm>
            <a:off x="8116485" y="2163193"/>
            <a:ext cx="3075001" cy="3074624"/>
          </a:xfrm>
          <a:prstGeom prst="ellipse">
            <a:avLst/>
          </a:prstGeom>
          <a:solidFill>
            <a:sysClr val="windowText" lastClr="000000">
              <a:alpha val="30000"/>
            </a:sysClr>
          </a:solidFill>
          <a:ln w="25400" cap="flat" cmpd="sng" algn="ctr">
            <a:noFill/>
            <a:prstDash val="solid"/>
          </a:ln>
          <a:effectLst/>
        </p:spPr>
        <p:txBody>
          <a:bodyPr lIns="91424" tIns="45714" rIns="91424" bIns="45714" anchor="ctr"/>
          <a:lstStyle/>
          <a:p>
            <a:pPr algn="ctr" defTabSz="1219028">
              <a:defRPr/>
            </a:pPr>
            <a:endParaRPr lang="en-US" sz="2400" kern="0">
              <a:solidFill>
                <a:prstClr val="white"/>
              </a:solidFill>
              <a:latin typeface="Arial"/>
            </a:endParaRPr>
          </a:p>
        </p:txBody>
      </p:sp>
      <p:sp>
        <p:nvSpPr>
          <p:cNvPr id="3"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2" tIns="60941" rIns="121882" bIns="60941" numCol="1" anchor="ctr" anchorCtr="0" compatLnSpc="1">
            <a:prstTxWarp prst="textNoShape">
              <a:avLst/>
            </a:prstTxWarp>
          </a:bodyPr>
          <a:lstStyle/>
          <a:p>
            <a:pPr lvl="0"/>
            <a:r>
              <a:rPr lang="en-US"/>
              <a:t>Click to edit Master title style</a:t>
            </a:r>
            <a:endParaRPr lang="en-GB" dirty="0"/>
          </a:p>
        </p:txBody>
      </p:sp>
      <p:sp>
        <p:nvSpPr>
          <p:cNvPr id="35" name="Picture Placeholder 25"/>
          <p:cNvSpPr>
            <a:spLocks noGrp="1"/>
          </p:cNvSpPr>
          <p:nvPr>
            <p:ph type="pic" sz="quarter" idx="10" hasCustomPrompt="1"/>
          </p:nvPr>
        </p:nvSpPr>
        <p:spPr>
          <a:xfrm>
            <a:off x="1033288" y="2163193"/>
            <a:ext cx="3074624" cy="3074624"/>
          </a:xfrm>
          <a:prstGeom prst="ellipse">
            <a:avLst/>
          </a:prstGeom>
          <a:solidFill>
            <a:schemeClr val="bg1">
              <a:alpha val="30000"/>
            </a:schemeClr>
          </a:solidFill>
          <a:ln>
            <a:noFill/>
          </a:ln>
          <a:effectLst/>
        </p:spPr>
        <p:txBody>
          <a:bodyPr lIns="121882" tIns="60941" rIns="121882" bIns="60941" anchor="ctr" anchorCtr="0"/>
          <a:lstStyle>
            <a:lvl1pPr algn="l">
              <a:buFontTx/>
              <a:buNone/>
              <a:defRPr sz="1700"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4563981" y="2163193"/>
            <a:ext cx="3074624" cy="3074624"/>
          </a:xfrm>
          <a:prstGeom prst="ellipse">
            <a:avLst/>
          </a:prstGeom>
          <a:solidFill>
            <a:schemeClr val="bg1">
              <a:alpha val="30000"/>
            </a:schemeClr>
          </a:solidFill>
          <a:ln>
            <a:noFill/>
          </a:ln>
          <a:effectLst/>
        </p:spPr>
        <p:txBody>
          <a:bodyPr lIns="121882" tIns="60941" rIns="121882" bIns="60941" anchor="ctr" anchorCtr="0"/>
          <a:lstStyle>
            <a:lvl1pPr algn="l">
              <a:buFontTx/>
              <a:buNone/>
              <a:defRPr sz="17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8116671" y="2163193"/>
            <a:ext cx="3074624" cy="3074624"/>
          </a:xfrm>
          <a:prstGeom prst="ellipse">
            <a:avLst/>
          </a:prstGeom>
          <a:solidFill>
            <a:schemeClr val="bg1">
              <a:alpha val="30000"/>
            </a:schemeClr>
          </a:solidFill>
          <a:ln>
            <a:noFill/>
          </a:ln>
          <a:effectLst/>
        </p:spPr>
        <p:txBody>
          <a:bodyPr lIns="121882" tIns="60941" rIns="121882" bIns="60941" anchor="ctr" anchorCtr="0"/>
          <a:lstStyle>
            <a:lvl1pPr algn="l">
              <a:buFontTx/>
              <a:buNone/>
              <a:defRPr sz="17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1051732" y="5164190"/>
            <a:ext cx="3056181" cy="804881"/>
          </a:xfrm>
          <a:prstGeom prst="rect">
            <a:avLst/>
          </a:prstGeom>
        </p:spPr>
        <p:txBody>
          <a:bodyPr lIns="121877" tIns="60938" rIns="121877" bIns="60938"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4582424" y="5161594"/>
            <a:ext cx="3056181" cy="804881"/>
          </a:xfrm>
          <a:prstGeom prst="rect">
            <a:avLst/>
          </a:prstGeom>
        </p:spPr>
        <p:txBody>
          <a:bodyPr lIns="121877" tIns="60938" rIns="121877" bIns="60938"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8135116" y="5161594"/>
            <a:ext cx="3056181" cy="804881"/>
          </a:xfrm>
          <a:prstGeom prst="rect">
            <a:avLst/>
          </a:prstGeom>
        </p:spPr>
        <p:txBody>
          <a:bodyPr lIns="121877" tIns="60938" rIns="121877" bIns="60938"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Tree>
    <p:extLst>
      <p:ext uri="{BB962C8B-B14F-4D97-AF65-F5344CB8AC3E}">
        <p14:creationId xmlns:p14="http://schemas.microsoft.com/office/powerpoint/2010/main" val="3657317701"/>
      </p:ext>
    </p:extLst>
  </p:cSld>
  <p:clrMapOvr>
    <a:masterClrMapping/>
  </p:clrMapOvr>
  <p:transition spd="slow">
    <p:wip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87" y="6172206"/>
            <a:ext cx="977900"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2000" cy="6858000"/>
          </a:xfrm>
          <a:prstGeom prst="rect">
            <a:avLst/>
          </a:prstGeom>
        </p:spPr>
        <p:txBody>
          <a:bodyPr vert="horz" lIns="121877" tIns="60938" rIns="121877" bIns="60938"/>
          <a:lstStyle>
            <a:lvl1pPr marL="0" indent="0" algn="ctr">
              <a:buNone/>
              <a:defRPr sz="2900" baseline="0">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hasCustomPrompt="1"/>
          </p:nvPr>
        </p:nvSpPr>
        <p:spPr bwMode="auto">
          <a:xfrm>
            <a:off x="666752" y="4637677"/>
            <a:ext cx="10852149" cy="689921"/>
          </a:xfrm>
          <a:prstGeom prst="rect">
            <a:avLst/>
          </a:prstGeom>
          <a:solidFill>
            <a:schemeClr val="bg1">
              <a:alpha val="70000"/>
            </a:schemeClr>
          </a:solidFill>
        </p:spPr>
        <p:txBody>
          <a:bodyPr wrap="square" lIns="143979" tIns="0" rIns="121904" bIns="60952" numCol="1" anchor="ctr" anchorCtr="0" compatLnSpc="1">
            <a:prstTxWarp prst="textNoShape">
              <a:avLst/>
            </a:prstTxWarp>
            <a:spAutoFit/>
          </a:bodyPr>
          <a:lstStyle>
            <a:lvl1pPr marL="230369" indent="0">
              <a:lnSpc>
                <a:spcPts val="4907"/>
              </a:lnSpc>
              <a:spcBef>
                <a:spcPts val="0"/>
              </a:spcBef>
              <a:buNone/>
              <a:defRPr sz="3200" i="1"/>
            </a:lvl1pPr>
          </a:lstStyle>
          <a:p>
            <a:pPr lvl="0"/>
            <a:r>
              <a:rPr lang="en-GB" dirty="0"/>
              <a:t>Text Goes Here</a:t>
            </a:r>
          </a:p>
        </p:txBody>
      </p:sp>
    </p:spTree>
    <p:extLst>
      <p:ext uri="{BB962C8B-B14F-4D97-AF65-F5344CB8AC3E}">
        <p14:creationId xmlns:p14="http://schemas.microsoft.com/office/powerpoint/2010/main" val="1690678082"/>
      </p:ext>
    </p:extLst>
  </p:cSld>
  <p:clrMapOvr>
    <a:masterClrMapping/>
  </p:clrMapOvr>
  <p:transition spd="slow">
    <p:wip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5" y="401389"/>
            <a:ext cx="11417563" cy="3389567"/>
          </a:xfrm>
          <a:prstGeom prst="rect">
            <a:avLst/>
          </a:prstGeom>
        </p:spPr>
        <p:txBody>
          <a:bodyPr vert="horz" lIns="121877" tIns="60938" rIns="121877" bIns="60938"/>
          <a:lstStyle>
            <a:lvl1pPr marL="0" indent="0" algn="ctr">
              <a:buNone/>
              <a:defRPr sz="2900" baseline="0">
                <a:solidFill>
                  <a:srgbClr val="676767"/>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hasCustomPrompt="1"/>
          </p:nvPr>
        </p:nvSpPr>
        <p:spPr>
          <a:xfrm>
            <a:off x="598381" y="4072697"/>
            <a:ext cx="11152315" cy="752343"/>
          </a:xfrm>
          <a:prstGeom prst="rect">
            <a:avLst/>
          </a:prstGeom>
        </p:spPr>
        <p:txBody>
          <a:bodyPr vert="horz" wrap="square" lIns="121904" tIns="60952" rIns="121904" bIns="60952">
            <a:spAutoFit/>
          </a:bodyPr>
          <a:lstStyle>
            <a:lvl1pPr marL="0" indent="0">
              <a:buNone/>
              <a:defRPr sz="4300"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680177176"/>
      </p:ext>
    </p:extLst>
  </p:cSld>
  <p:clrMapOvr>
    <a:masterClrMapping/>
  </p:clrMapOvr>
  <p:transition spd="slow">
    <p:wip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19_Full bleed photo">
    <p:spTree>
      <p:nvGrpSpPr>
        <p:cNvPr id="1" name=""/>
        <p:cNvGrpSpPr/>
        <p:nvPr/>
      </p:nvGrpSpPr>
      <p:grpSpPr>
        <a:xfrm>
          <a:off x="0" y="0"/>
          <a:ext cx="0" cy="0"/>
          <a:chOff x="0" y="0"/>
          <a:chExt cx="0" cy="0"/>
        </a:xfrm>
      </p:grpSpPr>
      <p:pic>
        <p:nvPicPr>
          <p:cNvPr id="12" name="Picture Placeholder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96464" cy="6858000"/>
          </a:xfrm>
          <a:prstGeom prst="rect">
            <a:avLst/>
          </a:prstGeom>
        </p:spPr>
      </p:pic>
      <p:sp>
        <p:nvSpPr>
          <p:cNvPr id="14" name="Text Placeholder 2"/>
          <p:cNvSpPr>
            <a:spLocks noGrp="1"/>
          </p:cNvSpPr>
          <p:nvPr>
            <p:ph type="body" sz="quarter" idx="12" hasCustomPrompt="1"/>
          </p:nvPr>
        </p:nvSpPr>
        <p:spPr bwMode="auto">
          <a:xfrm>
            <a:off x="666752" y="4634961"/>
            <a:ext cx="10852149" cy="695347"/>
          </a:xfrm>
          <a:prstGeom prst="rect">
            <a:avLst/>
          </a:prstGeom>
          <a:solidFill>
            <a:schemeClr val="bg1">
              <a:alpha val="70000"/>
            </a:schemeClr>
          </a:solidFill>
        </p:spPr>
        <p:txBody>
          <a:bodyPr wrap="square" lIns="143979" tIns="0" rIns="121904" bIns="60952" numCol="1" anchor="b" anchorCtr="0" compatLnSpc="1">
            <a:prstTxWarp prst="textNoShape">
              <a:avLst/>
            </a:prstTxWarp>
            <a:spAutoFit/>
          </a:bodyPr>
          <a:lstStyle>
            <a:lvl1pPr marL="230369" indent="-239965">
              <a:lnSpc>
                <a:spcPts val="4907"/>
              </a:lnSpc>
              <a:spcBef>
                <a:spcPts val="0"/>
              </a:spcBef>
              <a:buNone/>
              <a:defRPr sz="4300" i="1"/>
            </a:lvl1pPr>
          </a:lstStyle>
          <a:p>
            <a:pPr lvl="0"/>
            <a:r>
              <a:rPr lang="en-GB" dirty="0"/>
              <a:t>Text Goes Here</a:t>
            </a:r>
          </a:p>
        </p:txBody>
      </p:sp>
      <p:pic>
        <p:nvPicPr>
          <p:cNvPr id="11" name="Picture 2" descr="C:\Users\spius\Pictures\cisco logo blue gradient.png"/>
          <p:cNvPicPr>
            <a:picLocks noChangeAspect="1" noChangeArrowheads="1"/>
          </p:cNvPicPr>
          <p:nvPr/>
        </p:nvPicPr>
        <p:blipFill>
          <a:blip r:embed="rId3" cstate="print">
            <a:biLevel thresh="25000"/>
            <a:extLst>
              <a:ext uri="{28A0092B-C50C-407E-A947-70E740481C1C}">
                <a14:useLocalDpi xmlns:a14="http://schemas.microsoft.com/office/drawing/2010/main"/>
              </a:ext>
            </a:extLst>
          </a:blip>
          <a:srcRect/>
          <a:stretch>
            <a:fillRect/>
          </a:stretch>
        </p:blipFill>
        <p:spPr bwMode="auto">
          <a:xfrm>
            <a:off x="632237" y="6167697"/>
            <a:ext cx="57508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p:nvSpPr>
        <p:spPr bwMode="ltGray">
          <a:xfrm>
            <a:off x="11351437" y="6334144"/>
            <a:ext cx="294063" cy="195761"/>
          </a:xfrm>
          <a:prstGeom prst="rect">
            <a:avLst/>
          </a:prstGeom>
          <a:noFill/>
          <a:ln w="9525" algn="ctr">
            <a:noFill/>
            <a:miter lim="800000"/>
            <a:headEnd/>
            <a:tailEnd/>
          </a:ln>
          <a:effectLst/>
        </p:spPr>
        <p:txBody>
          <a:bodyPr wrap="none" lIns="82103" tIns="41054" rIns="82103" bIns="41054" anchor="b">
            <a:spAutoFit/>
          </a:bodyPr>
          <a:lstStyle/>
          <a:p>
            <a:pPr algn="r" defTabSz="814212" eaLnBrk="0" hangingPunct="0">
              <a:lnSpc>
                <a:spcPct val="90000"/>
              </a:lnSpc>
              <a:defRPr/>
            </a:pPr>
            <a:fld id="{4ABDCABE-3F10-B64C-92F1-862014417034}" type="slidenum">
              <a:rPr lang="en-US" sz="800">
                <a:solidFill>
                  <a:srgbClr val="FFFFFF">
                    <a:alpha val="60000"/>
                  </a:srgbClr>
                </a:solidFill>
                <a:latin typeface="Arial"/>
                <a:cs typeface="CiscoSans Thin"/>
              </a:rPr>
              <a:pPr algn="r" defTabSz="814212" eaLnBrk="0" hangingPunct="0">
                <a:lnSpc>
                  <a:spcPct val="90000"/>
                </a:lnSpc>
                <a:defRPr/>
              </a:pPr>
              <a:t>‹#›</a:t>
            </a:fld>
            <a:endParaRPr lang="en-US" sz="800" dirty="0">
              <a:solidFill>
                <a:srgbClr val="FFFFFF">
                  <a:alpha val="60000"/>
                </a:srgbClr>
              </a:solidFill>
              <a:latin typeface="Arial"/>
              <a:cs typeface="CiscoSans Thin"/>
            </a:endParaRPr>
          </a:p>
        </p:txBody>
      </p:sp>
      <p:sp>
        <p:nvSpPr>
          <p:cNvPr id="10" name="Rectangle 4"/>
          <p:cNvSpPr>
            <a:spLocks noChangeArrowheads="1"/>
          </p:cNvSpPr>
          <p:nvPr/>
        </p:nvSpPr>
        <p:spPr bwMode="ltGray">
          <a:xfrm>
            <a:off x="7823345" y="6332472"/>
            <a:ext cx="3544024" cy="195761"/>
          </a:xfrm>
          <a:prstGeom prst="rect">
            <a:avLst/>
          </a:prstGeom>
          <a:noFill/>
          <a:ln w="9525">
            <a:noFill/>
            <a:miter lim="800000"/>
            <a:headEnd/>
            <a:tailEnd/>
          </a:ln>
          <a:effectLst/>
        </p:spPr>
        <p:txBody>
          <a:bodyPr lIns="82103" tIns="41054" rIns="82103" bIns="41054" anchor="b">
            <a:spAutoFit/>
          </a:bodyPr>
          <a:lstStyle/>
          <a:p>
            <a:pPr algn="ctr" defTabSz="814212" eaLnBrk="0" hangingPunct="0">
              <a:lnSpc>
                <a:spcPct val="90000"/>
              </a:lnSpc>
              <a:defRPr/>
            </a:pPr>
            <a:r>
              <a:rPr lang="en-US" sz="800" dirty="0">
                <a:solidFill>
                  <a:srgbClr val="FFFFFF">
                    <a:alpha val="60000"/>
                  </a:srgbClr>
                </a:solidFill>
                <a:latin typeface="Arial"/>
                <a:cs typeface="CiscoSans Thin"/>
              </a:rPr>
              <a:t>© 2015  Cisco and/or its affiliates. All rights reserved.   Cisco Confidential</a:t>
            </a:r>
          </a:p>
        </p:txBody>
      </p:sp>
    </p:spTree>
    <p:extLst>
      <p:ext uri="{BB962C8B-B14F-4D97-AF65-F5344CB8AC3E}">
        <p14:creationId xmlns:p14="http://schemas.microsoft.com/office/powerpoint/2010/main" val="2828924410"/>
      </p:ext>
    </p:extLst>
  </p:cSld>
  <p:clrMapOvr>
    <a:masterClrMapping/>
  </p:clrMapOvr>
  <p:transition spd="slow">
    <p:wip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87" y="6172206"/>
            <a:ext cx="977900"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6464" cy="6858000"/>
          </a:xfrm>
          <a:prstGeom prst="rect">
            <a:avLst/>
          </a:prstGeom>
        </p:spPr>
        <p:txBody>
          <a:bodyPr vert="horz" lIns="121877" tIns="60938" rIns="121877" bIns="60938"/>
          <a:lstStyle>
            <a:lvl1pPr marL="0" indent="0" algn="ctr">
              <a:buNone/>
              <a:defRPr sz="29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49946767"/>
      </p:ext>
    </p:extLst>
  </p:cSld>
  <p:clrMapOvr>
    <a:masterClrMapping/>
  </p:clrMapOvr>
  <p:transition spd="slow">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6760635" y="1773768"/>
            <a:ext cx="4950372" cy="413596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82" tIns="60941" rIns="121882" bIns="60941" anchor="ctr"/>
          <a:lstStyle/>
          <a:p>
            <a:pPr algn="ctr" fontAlgn="auto">
              <a:spcBef>
                <a:spcPts val="0"/>
              </a:spcBef>
              <a:spcAft>
                <a:spcPts val="0"/>
              </a:spcAft>
              <a:defRPr/>
            </a:pPr>
            <a:endParaRPr lang="en-US" sz="2400">
              <a:latin typeface="+mj-lt"/>
            </a:endParaRPr>
          </a:p>
        </p:txBody>
      </p:sp>
      <p:sp>
        <p:nvSpPr>
          <p:cNvPr id="12" name="Text Placeholder 11"/>
          <p:cNvSpPr>
            <a:spLocks noGrp="1"/>
          </p:cNvSpPr>
          <p:nvPr>
            <p:ph type="body" sz="quarter" idx="11" hasCustomPrompt="1"/>
          </p:nvPr>
        </p:nvSpPr>
        <p:spPr>
          <a:xfrm>
            <a:off x="6864941" y="1975668"/>
            <a:ext cx="4501216" cy="2212024"/>
          </a:xfrm>
          <a:prstGeom prst="rect">
            <a:avLst/>
          </a:prstGeom>
        </p:spPr>
        <p:txBody>
          <a:bodyPr lIns="91412" tIns="45710" rIns="91412" bIns="45710">
            <a:noAutofit/>
          </a:bodyPr>
          <a:lstStyle>
            <a:lvl1pPr marL="114277" indent="-114277" algn="l" defTabSz="914180" rtl="0" eaLnBrk="1" latinLnBrk="0" hangingPunct="1">
              <a:lnSpc>
                <a:spcPct val="90000"/>
              </a:lnSpc>
              <a:spcBef>
                <a:spcPts val="0"/>
              </a:spcBef>
              <a:buNone/>
              <a:defRPr lang="en-US" sz="2000" kern="1200" baseline="0" dirty="0" smtClean="0">
                <a:solidFill>
                  <a:schemeClr val="tx2"/>
                </a:solidFill>
                <a:latin typeface="+mn-lt"/>
                <a:ea typeface="+mn-ea"/>
                <a:cs typeface="CiscoSans ExtraLight"/>
              </a:defRPr>
            </a:lvl1pPr>
            <a:lvl2pPr marL="114277" indent="-114277" algn="l" defTabSz="914180" rtl="0" eaLnBrk="1" latinLnBrk="0" hangingPunct="1">
              <a:defRPr lang="en-US" sz="2000" kern="1200" dirty="0" smtClean="0">
                <a:solidFill>
                  <a:schemeClr val="accent2"/>
                </a:solidFill>
                <a:latin typeface="Ciscolight" pitchFamily="2" charset="0"/>
                <a:ea typeface="+mn-ea"/>
                <a:cs typeface="+mn-cs"/>
              </a:defRPr>
            </a:lvl2pPr>
            <a:lvl3pPr marL="114277" indent="-114277" algn="l" defTabSz="914180" rtl="0" eaLnBrk="1" latinLnBrk="0" hangingPunct="1">
              <a:defRPr lang="en-US" sz="2000" kern="1200" dirty="0" smtClean="0">
                <a:solidFill>
                  <a:schemeClr val="accent2"/>
                </a:solidFill>
                <a:latin typeface="Ciscolight" pitchFamily="2" charset="0"/>
                <a:ea typeface="+mn-ea"/>
                <a:cs typeface="+mn-cs"/>
              </a:defRPr>
            </a:lvl3pPr>
            <a:lvl4pPr marL="114277" indent="-114277" algn="l" defTabSz="914180" rtl="0" eaLnBrk="1" latinLnBrk="0" hangingPunct="1">
              <a:defRPr lang="en-US" sz="2000" kern="1200" dirty="0" smtClean="0">
                <a:solidFill>
                  <a:schemeClr val="accent2"/>
                </a:solidFill>
                <a:latin typeface="Ciscolight" pitchFamily="2" charset="0"/>
                <a:ea typeface="+mn-ea"/>
                <a:cs typeface="+mn-cs"/>
              </a:defRPr>
            </a:lvl4pPr>
            <a:lvl5pPr marL="114277" indent="-114277" algn="l" defTabSz="914180" rtl="0" eaLnBrk="1" latinLnBrk="0" hangingPunct="1">
              <a:defRPr lang="en-US" sz="20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6864948" y="4736592"/>
            <a:ext cx="4674993" cy="338328"/>
          </a:xfrm>
          <a:prstGeom prst="rect">
            <a:avLst/>
          </a:prstGeom>
        </p:spPr>
        <p:txBody>
          <a:bodyPr lIns="91412" tIns="45710" rIns="91412" bIns="45710">
            <a:noAutofit/>
          </a:bodyPr>
          <a:lstStyle>
            <a:lvl1pPr marL="0" indent="0">
              <a:buClr>
                <a:schemeClr val="tx2"/>
              </a:buClr>
              <a:buFontTx/>
              <a:buNone/>
              <a:defRPr sz="16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583694" y="1797051"/>
            <a:ext cx="5201497" cy="4110792"/>
          </a:xfrm>
          <a:prstGeom prst="rect">
            <a:avLst/>
          </a:prstGeom>
        </p:spPr>
        <p:txBody>
          <a:bodyPr lIns="91412" tIns="45710" rIns="91412" bIns="45710">
            <a:noAutofit/>
          </a:bodyPr>
          <a:lstStyle>
            <a:lvl1pPr marL="304700" indent="-228526">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95" indent="-287767">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26" indent="-228526">
              <a:buClr>
                <a:schemeClr val="tx1"/>
              </a:buClr>
              <a:buSzPct val="80000"/>
              <a:buFont typeface="Arial"/>
              <a:buChar char="•"/>
              <a:defRPr sz="2100" b="0" i="0">
                <a:solidFill>
                  <a:schemeClr val="tx1"/>
                </a:solidFill>
                <a:latin typeface="+mn-lt"/>
                <a:cs typeface="CiscoSans ExtraLight"/>
              </a:defRPr>
            </a:lvl3pPr>
            <a:lvl4pPr marL="1066445" indent="-228526">
              <a:buClr>
                <a:schemeClr val="tx1"/>
              </a:buClr>
              <a:buSzPct val="80000"/>
              <a:buFont typeface="Arial"/>
              <a:buChar char="•"/>
              <a:defRPr sz="1900" b="0" i="0">
                <a:solidFill>
                  <a:schemeClr val="tx1"/>
                </a:solidFill>
                <a:latin typeface="+mn-lt"/>
                <a:cs typeface="CiscoSans ExtraLight"/>
              </a:defRPr>
            </a:lvl4pPr>
            <a:lvl5pPr marL="1294969" indent="-228526">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688402777"/>
      </p:ext>
    </p:extLst>
  </p:cSld>
  <p:clrMapOvr>
    <a:masterClrMapping/>
  </p:clrMapOvr>
  <p:transition spd="med">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3" y="320844"/>
            <a:ext cx="11307184" cy="5688861"/>
          </a:xfrm>
          <a:prstGeom prst="rect">
            <a:avLst/>
          </a:prstGeom>
        </p:spPr>
        <p:txBody>
          <a:bodyPr vert="horz" lIns="121882" tIns="60941" rIns="121882" bIns="60941"/>
          <a:lstStyle>
            <a:lvl1pPr marL="0" indent="0" algn="ctr">
              <a:buNone/>
              <a:defRPr sz="20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940635731"/>
      </p:ext>
    </p:extLst>
  </p:cSld>
  <p:clrMapOvr>
    <a:masterClrMapping/>
  </p:clrMapOvr>
  <p:transition spd="slow">
    <p:wip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4" name="Rectangle 3"/>
          <p:cNvSpPr/>
          <p:nvPr/>
        </p:nvSpPr>
        <p:spPr>
          <a:xfrm>
            <a:off x="2523069" y="795868"/>
            <a:ext cx="7131051" cy="40047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defTabSz="914332" eaLnBrk="0" hangingPunct="0">
              <a:lnSpc>
                <a:spcPct val="90000"/>
              </a:lnSpc>
              <a:defRPr/>
            </a:pPr>
            <a:endParaRPr lang="en-US" sz="3200">
              <a:solidFill>
                <a:srgbClr val="FFFFFF"/>
              </a:solidFill>
              <a:latin typeface="Arial"/>
            </a:endParaRPr>
          </a:p>
        </p:txBody>
      </p:sp>
      <p:sp>
        <p:nvSpPr>
          <p:cNvPr id="5" name="Rectangle 4"/>
          <p:cNvSpPr/>
          <p:nvPr/>
        </p:nvSpPr>
        <p:spPr>
          <a:xfrm>
            <a:off x="2523068" y="4794252"/>
            <a:ext cx="7128933" cy="99694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defTabSz="914332" eaLnBrk="0" hangingPunct="0">
              <a:lnSpc>
                <a:spcPct val="90000"/>
              </a:lnSpc>
              <a:defRPr/>
            </a:pPr>
            <a:endParaRPr lang="en-US" sz="3200">
              <a:solidFill>
                <a:srgbClr val="FFFFFF"/>
              </a:solidFill>
              <a:latin typeface="Arial"/>
            </a:endParaRPr>
          </a:p>
        </p:txBody>
      </p:sp>
      <p:sp>
        <p:nvSpPr>
          <p:cNvPr id="26" name="Picture Placeholder 25"/>
          <p:cNvSpPr>
            <a:spLocks noGrp="1"/>
          </p:cNvSpPr>
          <p:nvPr>
            <p:ph type="pic" sz="quarter" idx="10"/>
          </p:nvPr>
        </p:nvSpPr>
        <p:spPr>
          <a:xfrm>
            <a:off x="2533653" y="795528"/>
            <a:ext cx="7105651" cy="4005072"/>
          </a:xfrm>
          <a:prstGeom prst="rect">
            <a:avLst/>
          </a:prstGeom>
          <a:solidFill>
            <a:schemeClr val="bg1">
              <a:alpha val="30000"/>
            </a:schemeClr>
          </a:solidFill>
          <a:ln>
            <a:solidFill>
              <a:srgbClr val="676767"/>
            </a:solidFill>
          </a:ln>
          <a:effectLst/>
        </p:spPr>
        <p:txBody>
          <a:bodyPr lIns="121882" tIns="60941" rIns="121882" bIns="60941"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hasCustomPrompt="1"/>
          </p:nvPr>
        </p:nvSpPr>
        <p:spPr>
          <a:xfrm>
            <a:off x="2754497" y="4873439"/>
            <a:ext cx="6765427" cy="838200"/>
          </a:xfrm>
        </p:spPr>
        <p:txBody>
          <a:bodyPr anchor="ctr"/>
          <a:lstStyle>
            <a:lvl1pPr>
              <a:defRPr sz="2700">
                <a:solidFill>
                  <a:srgbClr val="676767"/>
                </a:solidFill>
                <a:latin typeface="+mj-lt"/>
              </a:defRPr>
            </a:lvl1pPr>
          </a:lstStyle>
          <a:p>
            <a:r>
              <a:rPr lang="en-GB" dirty="0"/>
              <a:t>Click to edit title</a:t>
            </a:r>
            <a:endParaRPr lang="en-US" dirty="0"/>
          </a:p>
        </p:txBody>
      </p:sp>
      <p:sp>
        <p:nvSpPr>
          <p:cNvPr id="6" name="Rectangle 5"/>
          <p:cNvSpPr/>
          <p:nvPr/>
        </p:nvSpPr>
        <p:spPr>
          <a:xfrm>
            <a:off x="2522500" y="4794355"/>
            <a:ext cx="7130069" cy="99637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defTabSz="914332" eaLnBrk="0" fontAlgn="base" hangingPunct="0">
              <a:lnSpc>
                <a:spcPct val="90000"/>
              </a:lnSpc>
              <a:spcBef>
                <a:spcPct val="0"/>
              </a:spcBef>
              <a:spcAft>
                <a:spcPct val="0"/>
              </a:spcAft>
            </a:pPr>
            <a:endParaRPr lang="en-US" sz="3200">
              <a:solidFill>
                <a:srgbClr val="FFFFFF"/>
              </a:solidFill>
              <a:latin typeface="Arial"/>
            </a:endParaRPr>
          </a:p>
        </p:txBody>
      </p:sp>
      <p:sp>
        <p:nvSpPr>
          <p:cNvPr id="7" name="Rectangle 7"/>
          <p:cNvSpPr>
            <a:spLocks noChangeArrowheads="1"/>
          </p:cNvSpPr>
          <p:nvPr/>
        </p:nvSpPr>
        <p:spPr bwMode="ltGray">
          <a:xfrm>
            <a:off x="11549885" y="6549644"/>
            <a:ext cx="291945" cy="206029"/>
          </a:xfrm>
          <a:prstGeom prst="rect">
            <a:avLst/>
          </a:prstGeom>
          <a:noFill/>
          <a:ln w="9525" algn="ctr">
            <a:noFill/>
            <a:miter lim="800000"/>
            <a:headEnd/>
            <a:tailEnd/>
          </a:ln>
          <a:effectLst/>
        </p:spPr>
        <p:txBody>
          <a:bodyPr wrap="none" lIns="82111" tIns="41058" rIns="82111" bIns="41058" anchor="b">
            <a:spAutoFit/>
          </a:bodyPr>
          <a:lstStyle/>
          <a:p>
            <a:pPr algn="r" defTabSz="814280" eaLnBrk="0" fontAlgn="base" hangingPunct="0">
              <a:spcBef>
                <a:spcPct val="0"/>
              </a:spcBef>
              <a:spcAft>
                <a:spcPct val="0"/>
              </a:spcAft>
            </a:pPr>
            <a:fld id="{DFCF27A5-1A5B-48D3-A060-2758FFBB1ADD}" type="slidenum">
              <a:rPr lang="en-US" sz="800">
                <a:solidFill>
                  <a:srgbClr val="2968AF"/>
                </a:solidFill>
                <a:latin typeface="Arial"/>
              </a:rPr>
              <a:pPr algn="r" defTabSz="814280" eaLnBrk="0" fontAlgn="base" hangingPunct="0">
                <a:spcBef>
                  <a:spcPct val="0"/>
                </a:spcBef>
                <a:spcAft>
                  <a:spcPct val="0"/>
                </a:spcAft>
              </a:pPr>
              <a:t>‹#›</a:t>
            </a:fld>
            <a:endParaRPr lang="en-US" sz="800" dirty="0">
              <a:solidFill>
                <a:srgbClr val="2968AF"/>
              </a:solidFill>
              <a:latin typeface="Arial"/>
            </a:endParaRPr>
          </a:p>
        </p:txBody>
      </p:sp>
      <p:sp>
        <p:nvSpPr>
          <p:cNvPr id="8" name="Rectangle 5"/>
          <p:cNvSpPr>
            <a:spLocks noChangeArrowheads="1"/>
          </p:cNvSpPr>
          <p:nvPr/>
        </p:nvSpPr>
        <p:spPr bwMode="ltGray">
          <a:xfrm>
            <a:off x="10417676" y="6576141"/>
            <a:ext cx="1016525" cy="206040"/>
          </a:xfrm>
          <a:prstGeom prst="rect">
            <a:avLst/>
          </a:prstGeom>
          <a:noFill/>
          <a:ln w="9525">
            <a:noFill/>
            <a:miter lim="800000"/>
            <a:headEnd/>
            <a:tailEnd/>
          </a:ln>
          <a:effectLst/>
        </p:spPr>
        <p:txBody>
          <a:bodyPr wrap="none" lIns="82107" tIns="41054" rIns="82107" bIns="41054" anchor="b">
            <a:spAutoFit/>
          </a:bodyPr>
          <a:lstStyle/>
          <a:p>
            <a:pPr algn="r" defTabSz="814245" eaLnBrk="0" fontAlgn="base" hangingPunct="0">
              <a:spcBef>
                <a:spcPct val="0"/>
              </a:spcBef>
              <a:spcAft>
                <a:spcPct val="0"/>
              </a:spcAft>
            </a:pPr>
            <a:r>
              <a:rPr lang="en-US" sz="800" dirty="0">
                <a:solidFill>
                  <a:srgbClr val="FFFFFF"/>
                </a:solidFill>
                <a:latin typeface="Arial"/>
                <a:cs typeface="CiscoSans Thin"/>
              </a:rPr>
              <a:t>Cisco Confidential</a:t>
            </a:r>
          </a:p>
        </p:txBody>
      </p:sp>
      <p:sp>
        <p:nvSpPr>
          <p:cNvPr id="9" name="Rectangle 7"/>
          <p:cNvSpPr>
            <a:spLocks noChangeArrowheads="1"/>
          </p:cNvSpPr>
          <p:nvPr/>
        </p:nvSpPr>
        <p:spPr bwMode="ltGray">
          <a:xfrm>
            <a:off x="11549893" y="6572053"/>
            <a:ext cx="291937" cy="206024"/>
          </a:xfrm>
          <a:prstGeom prst="rect">
            <a:avLst/>
          </a:prstGeom>
          <a:noFill/>
          <a:ln w="9525" algn="ctr">
            <a:noFill/>
            <a:miter lim="800000"/>
            <a:headEnd/>
            <a:tailEnd/>
          </a:ln>
          <a:effectLst/>
        </p:spPr>
        <p:txBody>
          <a:bodyPr wrap="none" lIns="82107" tIns="41054" rIns="82107" bIns="41054" anchor="b">
            <a:spAutoFit/>
          </a:bodyPr>
          <a:lstStyle/>
          <a:p>
            <a:pPr algn="r" defTabSz="814245" eaLnBrk="0" fontAlgn="base" hangingPunct="0">
              <a:spcBef>
                <a:spcPct val="0"/>
              </a:spcBef>
              <a:spcAft>
                <a:spcPct val="0"/>
              </a:spcAft>
            </a:pPr>
            <a:fld id="{DFCF27A5-1A5B-48D3-A060-2758FFBB1ADD}" type="slidenum">
              <a:rPr lang="en-US" sz="800">
                <a:solidFill>
                  <a:srgbClr val="FFFFFF"/>
                </a:solidFill>
                <a:latin typeface="Arial"/>
                <a:cs typeface="CiscoSans Thin"/>
              </a:rPr>
              <a:pPr algn="r" defTabSz="814245" eaLnBrk="0" fontAlgn="base" hangingPunct="0">
                <a:spcBef>
                  <a:spcPct val="0"/>
                </a:spcBef>
                <a:spcAft>
                  <a:spcPct val="0"/>
                </a:spcAft>
              </a:pPr>
              <a:t>‹#›</a:t>
            </a:fld>
            <a:endParaRPr lang="en-US" sz="800" dirty="0">
              <a:solidFill>
                <a:srgbClr val="FFFFFF"/>
              </a:solidFill>
              <a:latin typeface="Arial"/>
              <a:cs typeface="CiscoSans Thin"/>
            </a:endParaRPr>
          </a:p>
        </p:txBody>
      </p:sp>
      <p:sp>
        <p:nvSpPr>
          <p:cNvPr id="10" name="Rectangle 4"/>
          <p:cNvSpPr>
            <a:spLocks noChangeArrowheads="1"/>
          </p:cNvSpPr>
          <p:nvPr/>
        </p:nvSpPr>
        <p:spPr bwMode="ltGray">
          <a:xfrm>
            <a:off x="389401" y="6555465"/>
            <a:ext cx="4560687" cy="206040"/>
          </a:xfrm>
          <a:prstGeom prst="rect">
            <a:avLst/>
          </a:prstGeom>
          <a:noFill/>
          <a:ln w="9525">
            <a:noFill/>
            <a:miter lim="800000"/>
            <a:headEnd/>
            <a:tailEnd/>
          </a:ln>
          <a:effectLst/>
        </p:spPr>
        <p:txBody>
          <a:bodyPr wrap="square" lIns="82107" tIns="41054" rIns="82107" bIns="41054" anchor="b" anchorCtr="0">
            <a:spAutoFit/>
          </a:bodyPr>
          <a:lstStyle/>
          <a:p>
            <a:pPr defTabSz="814245" eaLnBrk="0" fontAlgn="base" hangingPunct="0">
              <a:spcBef>
                <a:spcPct val="0"/>
              </a:spcBef>
              <a:spcAft>
                <a:spcPct val="0"/>
              </a:spcAft>
            </a:pPr>
            <a:r>
              <a:rPr lang="en-US" sz="800" dirty="0">
                <a:solidFill>
                  <a:srgbClr val="FFFFFF"/>
                </a:solidFill>
                <a:latin typeface="Arial"/>
                <a:cs typeface="CiscoSans Thin"/>
              </a:rPr>
              <a:t>© 2013-2014  Cisco and/or its affiliates. All rights reserved.</a:t>
            </a:r>
          </a:p>
        </p:txBody>
      </p:sp>
    </p:spTree>
    <p:extLst>
      <p:ext uri="{BB962C8B-B14F-4D97-AF65-F5344CB8AC3E}">
        <p14:creationId xmlns:p14="http://schemas.microsoft.com/office/powerpoint/2010/main" val="2351780504"/>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4" name="Rectangle 3"/>
          <p:cNvSpPr/>
          <p:nvPr/>
        </p:nvSpPr>
        <p:spPr>
          <a:xfrm>
            <a:off x="733071" y="311157"/>
            <a:ext cx="4364567" cy="24595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defTabSz="914332" eaLnBrk="0" hangingPunct="0">
              <a:lnSpc>
                <a:spcPct val="90000"/>
              </a:lnSpc>
              <a:defRPr/>
            </a:pPr>
            <a:endParaRPr lang="en-US" sz="3200">
              <a:solidFill>
                <a:srgbClr val="FFFFFF"/>
              </a:solidFill>
              <a:latin typeface="Arial"/>
            </a:endParaRPr>
          </a:p>
        </p:txBody>
      </p:sp>
      <p:sp>
        <p:nvSpPr>
          <p:cNvPr id="26" name="Picture Placeholder 25"/>
          <p:cNvSpPr>
            <a:spLocks noGrp="1"/>
          </p:cNvSpPr>
          <p:nvPr>
            <p:ph type="pic" sz="quarter" idx="10"/>
          </p:nvPr>
        </p:nvSpPr>
        <p:spPr>
          <a:xfrm>
            <a:off x="733323" y="310896"/>
            <a:ext cx="4364736" cy="2459736"/>
          </a:xfrm>
          <a:prstGeom prst="rect">
            <a:avLst/>
          </a:prstGeom>
          <a:solidFill>
            <a:schemeClr val="bg1">
              <a:alpha val="30000"/>
            </a:schemeClr>
          </a:solidFill>
          <a:ln>
            <a:solidFill>
              <a:srgbClr val="676767"/>
            </a:solidFill>
          </a:ln>
          <a:effectLst/>
        </p:spPr>
        <p:txBody>
          <a:bodyPr vert="horz" lIns="91424" tIns="45714" rIns="91424" bIns="45714" rtlCol="0" anchor="ctr" anchorCtr="0">
            <a:normAutofit/>
          </a:bodyPr>
          <a:lstStyle>
            <a:lvl1pPr marL="0" indent="0" algn="ctr" defTabSz="91424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574586" y="3307597"/>
            <a:ext cx="8973153" cy="2152559"/>
          </a:xfrm>
        </p:spPr>
        <p:txBody>
          <a:bodyPr>
            <a:noAutofit/>
          </a:bodyPr>
          <a:lstStyle>
            <a:lvl1pPr marL="0" marR="0" indent="0" algn="l" defTabSz="914240" rtl="0" eaLnBrk="1" fontAlgn="auto" latinLnBrk="0" hangingPunct="1">
              <a:lnSpc>
                <a:spcPct val="80000"/>
              </a:lnSpc>
              <a:spcBef>
                <a:spcPct val="0"/>
              </a:spcBef>
              <a:spcAft>
                <a:spcPts val="0"/>
              </a:spcAft>
              <a:buClrTx/>
              <a:buSzTx/>
              <a:buFontTx/>
              <a:buNone/>
              <a:tabLst/>
              <a:defRPr sz="6000">
                <a:solidFill>
                  <a:srgbClr val="676767"/>
                </a:solidFill>
                <a:latin typeface="+mj-lt"/>
              </a:defRPr>
            </a:lvl1pPr>
          </a:lstStyle>
          <a:p>
            <a:r>
              <a:rPr lang="en-GB" dirty="0"/>
              <a:t>Click to edit title</a:t>
            </a:r>
            <a:endParaRPr lang="en-US" dirty="0"/>
          </a:p>
        </p:txBody>
      </p:sp>
      <p:sp>
        <p:nvSpPr>
          <p:cNvPr id="5" name="Rectangle 4"/>
          <p:cNvSpPr>
            <a:spLocks noChangeArrowheads="1"/>
          </p:cNvSpPr>
          <p:nvPr/>
        </p:nvSpPr>
        <p:spPr bwMode="ltGray">
          <a:xfrm>
            <a:off x="389399" y="6555469"/>
            <a:ext cx="4560687" cy="206047"/>
          </a:xfrm>
          <a:prstGeom prst="rect">
            <a:avLst/>
          </a:prstGeom>
          <a:noFill/>
          <a:ln w="9525">
            <a:noFill/>
            <a:miter lim="800000"/>
            <a:headEnd/>
            <a:tailEnd/>
          </a:ln>
          <a:effectLst/>
        </p:spPr>
        <p:txBody>
          <a:bodyPr wrap="square" lIns="82111" tIns="41058" rIns="82111" bIns="41058" anchor="b" anchorCtr="0">
            <a:spAutoFit/>
          </a:bodyPr>
          <a:lstStyle/>
          <a:p>
            <a:pPr defTabSz="814280" eaLnBrk="0" fontAlgn="base" hangingPunct="0">
              <a:spcBef>
                <a:spcPct val="0"/>
              </a:spcBef>
              <a:spcAft>
                <a:spcPct val="0"/>
              </a:spcAft>
            </a:pPr>
            <a:r>
              <a:rPr lang="en-US" sz="800" dirty="0">
                <a:solidFill>
                  <a:srgbClr val="2968AF"/>
                </a:solidFill>
                <a:latin typeface="Arial"/>
              </a:rPr>
              <a:t>© 2013  Cisco and/or its affiliates. All rights reserved.</a:t>
            </a:r>
          </a:p>
        </p:txBody>
      </p:sp>
      <p:sp>
        <p:nvSpPr>
          <p:cNvPr id="6" name="Rectangle 7"/>
          <p:cNvSpPr>
            <a:spLocks noChangeArrowheads="1"/>
          </p:cNvSpPr>
          <p:nvPr/>
        </p:nvSpPr>
        <p:spPr bwMode="ltGray">
          <a:xfrm>
            <a:off x="11549885" y="6549644"/>
            <a:ext cx="291945" cy="206029"/>
          </a:xfrm>
          <a:prstGeom prst="rect">
            <a:avLst/>
          </a:prstGeom>
          <a:noFill/>
          <a:ln w="9525" algn="ctr">
            <a:noFill/>
            <a:miter lim="800000"/>
            <a:headEnd/>
            <a:tailEnd/>
          </a:ln>
          <a:effectLst/>
        </p:spPr>
        <p:txBody>
          <a:bodyPr wrap="none" lIns="82111" tIns="41058" rIns="82111" bIns="41058" anchor="b">
            <a:spAutoFit/>
          </a:bodyPr>
          <a:lstStyle/>
          <a:p>
            <a:pPr algn="r" defTabSz="814280" eaLnBrk="0" fontAlgn="base" hangingPunct="0">
              <a:spcBef>
                <a:spcPct val="0"/>
              </a:spcBef>
              <a:spcAft>
                <a:spcPct val="0"/>
              </a:spcAft>
            </a:pPr>
            <a:fld id="{DFCF27A5-1A5B-48D3-A060-2758FFBB1ADD}" type="slidenum">
              <a:rPr lang="en-US" sz="800">
                <a:solidFill>
                  <a:srgbClr val="2968AF"/>
                </a:solidFill>
                <a:latin typeface="Arial"/>
              </a:rPr>
              <a:pPr algn="r" defTabSz="814280" eaLnBrk="0" fontAlgn="base" hangingPunct="0">
                <a:spcBef>
                  <a:spcPct val="0"/>
                </a:spcBef>
                <a:spcAft>
                  <a:spcPct val="0"/>
                </a:spcAft>
              </a:pPr>
              <a:t>‹#›</a:t>
            </a:fld>
            <a:endParaRPr lang="en-US" sz="800" dirty="0">
              <a:solidFill>
                <a:srgbClr val="2968AF"/>
              </a:solidFill>
              <a:latin typeface="Arial"/>
            </a:endParaRPr>
          </a:p>
        </p:txBody>
      </p:sp>
      <p:sp>
        <p:nvSpPr>
          <p:cNvPr id="7" name="Rectangle 5"/>
          <p:cNvSpPr>
            <a:spLocks noChangeArrowheads="1"/>
          </p:cNvSpPr>
          <p:nvPr/>
        </p:nvSpPr>
        <p:spPr bwMode="ltGray">
          <a:xfrm>
            <a:off x="10102660" y="6576171"/>
            <a:ext cx="1331541" cy="206015"/>
          </a:xfrm>
          <a:prstGeom prst="rect">
            <a:avLst/>
          </a:prstGeom>
          <a:noFill/>
          <a:ln w="9525">
            <a:noFill/>
            <a:miter lim="800000"/>
            <a:headEnd/>
            <a:tailEnd/>
          </a:ln>
          <a:effectLst/>
        </p:spPr>
        <p:txBody>
          <a:bodyPr wrap="none" lIns="82107" tIns="41054" rIns="82107" bIns="41054" anchor="b">
            <a:spAutoFit/>
          </a:bodyPr>
          <a:lstStyle/>
          <a:p>
            <a:pPr algn="r" defTabSz="814245" eaLnBrk="0" fontAlgn="base" hangingPunct="0">
              <a:spcBef>
                <a:spcPct val="0"/>
              </a:spcBef>
              <a:spcAft>
                <a:spcPct val="0"/>
              </a:spcAft>
            </a:pPr>
            <a:r>
              <a:rPr lang="en-US" sz="800" dirty="0">
                <a:solidFill>
                  <a:srgbClr val="FFFFFF"/>
                </a:solidFill>
                <a:latin typeface="Arial"/>
                <a:cs typeface="CiscoSans Thin"/>
              </a:rPr>
              <a:t>Cisco Highly Confidential</a:t>
            </a:r>
          </a:p>
        </p:txBody>
      </p:sp>
      <p:sp>
        <p:nvSpPr>
          <p:cNvPr id="8" name="Rectangle 7"/>
          <p:cNvSpPr>
            <a:spLocks noChangeArrowheads="1"/>
          </p:cNvSpPr>
          <p:nvPr/>
        </p:nvSpPr>
        <p:spPr bwMode="ltGray">
          <a:xfrm>
            <a:off x="11549893" y="6572053"/>
            <a:ext cx="291937" cy="206024"/>
          </a:xfrm>
          <a:prstGeom prst="rect">
            <a:avLst/>
          </a:prstGeom>
          <a:noFill/>
          <a:ln w="9525" algn="ctr">
            <a:noFill/>
            <a:miter lim="800000"/>
            <a:headEnd/>
            <a:tailEnd/>
          </a:ln>
          <a:effectLst/>
        </p:spPr>
        <p:txBody>
          <a:bodyPr wrap="none" lIns="82107" tIns="41054" rIns="82107" bIns="41054" anchor="b">
            <a:spAutoFit/>
          </a:bodyPr>
          <a:lstStyle/>
          <a:p>
            <a:pPr algn="r" defTabSz="814245" eaLnBrk="0" fontAlgn="base" hangingPunct="0">
              <a:spcBef>
                <a:spcPct val="0"/>
              </a:spcBef>
              <a:spcAft>
                <a:spcPct val="0"/>
              </a:spcAft>
            </a:pPr>
            <a:fld id="{DFCF27A5-1A5B-48D3-A060-2758FFBB1ADD}" type="slidenum">
              <a:rPr lang="en-US" sz="800">
                <a:solidFill>
                  <a:srgbClr val="FFFFFF"/>
                </a:solidFill>
                <a:latin typeface="Arial"/>
                <a:cs typeface="CiscoSans Thin"/>
              </a:rPr>
              <a:pPr algn="r" defTabSz="814245" eaLnBrk="0" fontAlgn="base" hangingPunct="0">
                <a:spcBef>
                  <a:spcPct val="0"/>
                </a:spcBef>
                <a:spcAft>
                  <a:spcPct val="0"/>
                </a:spcAft>
              </a:pPr>
              <a:t>‹#›</a:t>
            </a:fld>
            <a:endParaRPr lang="en-US" sz="800" dirty="0">
              <a:solidFill>
                <a:srgbClr val="FFFFFF"/>
              </a:solidFill>
              <a:latin typeface="Arial"/>
              <a:cs typeface="CiscoSans Thin"/>
            </a:endParaRPr>
          </a:p>
        </p:txBody>
      </p:sp>
      <p:sp>
        <p:nvSpPr>
          <p:cNvPr id="10" name="Rectangle 4"/>
          <p:cNvSpPr>
            <a:spLocks noChangeArrowheads="1"/>
          </p:cNvSpPr>
          <p:nvPr/>
        </p:nvSpPr>
        <p:spPr bwMode="ltGray">
          <a:xfrm>
            <a:off x="389401" y="6555465"/>
            <a:ext cx="4560687" cy="206040"/>
          </a:xfrm>
          <a:prstGeom prst="rect">
            <a:avLst/>
          </a:prstGeom>
          <a:noFill/>
          <a:ln w="9525">
            <a:noFill/>
            <a:miter lim="800000"/>
            <a:headEnd/>
            <a:tailEnd/>
          </a:ln>
          <a:effectLst/>
        </p:spPr>
        <p:txBody>
          <a:bodyPr wrap="square" lIns="82107" tIns="41054" rIns="82107" bIns="41054" anchor="b" anchorCtr="0">
            <a:spAutoFit/>
          </a:bodyPr>
          <a:lstStyle/>
          <a:p>
            <a:pPr defTabSz="814245" eaLnBrk="0" fontAlgn="base" hangingPunct="0">
              <a:spcBef>
                <a:spcPct val="0"/>
              </a:spcBef>
              <a:spcAft>
                <a:spcPct val="0"/>
              </a:spcAft>
            </a:pPr>
            <a:r>
              <a:rPr lang="en-US" sz="800" dirty="0">
                <a:solidFill>
                  <a:srgbClr val="FFFFFF"/>
                </a:solidFill>
                <a:latin typeface="Arial"/>
                <a:cs typeface="CiscoSans Thin"/>
              </a:rPr>
              <a:t>© 2013-2014  Cisco and/or its affiliates. All rights reserved.</a:t>
            </a:r>
          </a:p>
        </p:txBody>
      </p:sp>
    </p:spTree>
    <p:extLst>
      <p:ext uri="{BB962C8B-B14F-4D97-AF65-F5344CB8AC3E}">
        <p14:creationId xmlns:p14="http://schemas.microsoft.com/office/powerpoint/2010/main" val="106469721"/>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 name="Rectangle 3"/>
          <p:cNvSpPr/>
          <p:nvPr/>
        </p:nvSpPr>
        <p:spPr>
          <a:xfrm>
            <a:off x="6656917" y="728812"/>
            <a:ext cx="4840816" cy="515975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defTabSz="914332" eaLnBrk="0" hangingPunct="0">
              <a:lnSpc>
                <a:spcPct val="90000"/>
              </a:lnSpc>
              <a:defRPr/>
            </a:pPr>
            <a:endParaRPr lang="en-US" sz="3200">
              <a:solidFill>
                <a:srgbClr val="FFFFFF"/>
              </a:solidFill>
              <a:latin typeface="Arial"/>
            </a:endParaRPr>
          </a:p>
        </p:txBody>
      </p:sp>
      <p:sp>
        <p:nvSpPr>
          <p:cNvPr id="26" name="Picture Placeholder 25"/>
          <p:cNvSpPr>
            <a:spLocks noGrp="1"/>
          </p:cNvSpPr>
          <p:nvPr>
            <p:ph type="pic" sz="quarter" idx="10"/>
          </p:nvPr>
        </p:nvSpPr>
        <p:spPr>
          <a:xfrm>
            <a:off x="6656832" y="728980"/>
            <a:ext cx="4840224" cy="5159757"/>
          </a:xfrm>
          <a:prstGeom prst="rect">
            <a:avLst/>
          </a:prstGeom>
          <a:solidFill>
            <a:schemeClr val="bg1">
              <a:alpha val="30000"/>
            </a:schemeClr>
          </a:solidFill>
          <a:ln>
            <a:solidFill>
              <a:srgbClr val="2968AF"/>
            </a:solidFill>
          </a:ln>
          <a:effectLst/>
        </p:spPr>
        <p:txBody>
          <a:bodyPr lIns="121882" tIns="60941" rIns="121882" bIns="60941"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583560" y="728985"/>
            <a:ext cx="5799891" cy="1085313"/>
          </a:xfrm>
        </p:spPr>
        <p:txBody>
          <a:bodyPr wrap="none" anchor="t" anchorCtr="0">
            <a:noAutofit/>
          </a:bodyPr>
          <a:lstStyle>
            <a:lvl1pPr>
              <a:lnSpc>
                <a:spcPct val="90000"/>
              </a:lnSpc>
              <a:defRPr sz="3300">
                <a:solidFill>
                  <a:schemeClr val="bg1"/>
                </a:solidFill>
                <a:latin typeface="+mj-lt"/>
              </a:defRPr>
            </a:lvl1pPr>
          </a:lstStyle>
          <a:p>
            <a:r>
              <a:rPr lang="en-GB" dirty="0"/>
              <a:t>Click to edit title</a:t>
            </a:r>
            <a:endParaRPr lang="en-US" dirty="0"/>
          </a:p>
        </p:txBody>
      </p:sp>
      <p:sp>
        <p:nvSpPr>
          <p:cNvPr id="5" name="Rectangle 4"/>
          <p:cNvSpPr>
            <a:spLocks noChangeArrowheads="1"/>
          </p:cNvSpPr>
          <p:nvPr/>
        </p:nvSpPr>
        <p:spPr bwMode="ltGray">
          <a:xfrm>
            <a:off x="354231" y="6555469"/>
            <a:ext cx="4560687" cy="206047"/>
          </a:xfrm>
          <a:prstGeom prst="rect">
            <a:avLst/>
          </a:prstGeom>
          <a:noFill/>
          <a:ln w="9525">
            <a:noFill/>
            <a:miter lim="800000"/>
            <a:headEnd/>
            <a:tailEnd/>
          </a:ln>
          <a:effectLst/>
        </p:spPr>
        <p:txBody>
          <a:bodyPr wrap="square" lIns="82111" tIns="41058" rIns="82111" bIns="41058" anchor="b" anchorCtr="0">
            <a:spAutoFit/>
          </a:bodyPr>
          <a:lstStyle/>
          <a:p>
            <a:pPr defTabSz="814280" eaLnBrk="0" fontAlgn="base" hangingPunct="0">
              <a:spcBef>
                <a:spcPct val="0"/>
              </a:spcBef>
              <a:spcAft>
                <a:spcPct val="0"/>
              </a:spcAft>
            </a:pPr>
            <a:r>
              <a:rPr lang="en-US" sz="800" dirty="0">
                <a:solidFill>
                  <a:srgbClr val="2968AF"/>
                </a:solidFill>
                <a:latin typeface="Arial"/>
              </a:rPr>
              <a:t>© 2013  Cisco and/or its affiliates. All rights reserved.</a:t>
            </a:r>
          </a:p>
        </p:txBody>
      </p:sp>
      <p:sp>
        <p:nvSpPr>
          <p:cNvPr id="6" name="Rectangle 7"/>
          <p:cNvSpPr>
            <a:spLocks noChangeArrowheads="1"/>
          </p:cNvSpPr>
          <p:nvPr/>
        </p:nvSpPr>
        <p:spPr bwMode="ltGray">
          <a:xfrm>
            <a:off x="11549885" y="6549644"/>
            <a:ext cx="291945" cy="206029"/>
          </a:xfrm>
          <a:prstGeom prst="rect">
            <a:avLst/>
          </a:prstGeom>
          <a:noFill/>
          <a:ln w="9525" algn="ctr">
            <a:noFill/>
            <a:miter lim="800000"/>
            <a:headEnd/>
            <a:tailEnd/>
          </a:ln>
          <a:effectLst/>
        </p:spPr>
        <p:txBody>
          <a:bodyPr wrap="none" lIns="82111" tIns="41058" rIns="82111" bIns="41058" anchor="b">
            <a:spAutoFit/>
          </a:bodyPr>
          <a:lstStyle/>
          <a:p>
            <a:pPr algn="r" defTabSz="814280" eaLnBrk="0" fontAlgn="base" hangingPunct="0">
              <a:spcBef>
                <a:spcPct val="0"/>
              </a:spcBef>
              <a:spcAft>
                <a:spcPct val="0"/>
              </a:spcAft>
            </a:pPr>
            <a:fld id="{DFCF27A5-1A5B-48D3-A060-2758FFBB1ADD}" type="slidenum">
              <a:rPr lang="en-US" sz="800">
                <a:solidFill>
                  <a:srgbClr val="2968AF"/>
                </a:solidFill>
                <a:latin typeface="Arial"/>
              </a:rPr>
              <a:pPr algn="r" defTabSz="814280" eaLnBrk="0" fontAlgn="base" hangingPunct="0">
                <a:spcBef>
                  <a:spcPct val="0"/>
                </a:spcBef>
                <a:spcAft>
                  <a:spcPct val="0"/>
                </a:spcAft>
              </a:pPr>
              <a:t>‹#›</a:t>
            </a:fld>
            <a:endParaRPr lang="en-US" sz="800" dirty="0">
              <a:solidFill>
                <a:srgbClr val="2968AF"/>
              </a:solidFill>
              <a:latin typeface="Arial"/>
            </a:endParaRPr>
          </a:p>
        </p:txBody>
      </p:sp>
      <p:sp>
        <p:nvSpPr>
          <p:cNvPr id="7" name="Rectangle 5"/>
          <p:cNvSpPr>
            <a:spLocks noChangeArrowheads="1"/>
          </p:cNvSpPr>
          <p:nvPr/>
        </p:nvSpPr>
        <p:spPr bwMode="ltGray">
          <a:xfrm>
            <a:off x="10102660" y="6576171"/>
            <a:ext cx="1331541" cy="206015"/>
          </a:xfrm>
          <a:prstGeom prst="rect">
            <a:avLst/>
          </a:prstGeom>
          <a:noFill/>
          <a:ln w="9525">
            <a:noFill/>
            <a:miter lim="800000"/>
            <a:headEnd/>
            <a:tailEnd/>
          </a:ln>
          <a:effectLst/>
        </p:spPr>
        <p:txBody>
          <a:bodyPr wrap="none" lIns="82107" tIns="41054" rIns="82107" bIns="41054" anchor="b">
            <a:spAutoFit/>
          </a:bodyPr>
          <a:lstStyle/>
          <a:p>
            <a:pPr algn="r" defTabSz="814245" eaLnBrk="0" fontAlgn="base" hangingPunct="0">
              <a:spcBef>
                <a:spcPct val="0"/>
              </a:spcBef>
              <a:spcAft>
                <a:spcPct val="0"/>
              </a:spcAft>
            </a:pPr>
            <a:r>
              <a:rPr lang="en-US" sz="800" dirty="0">
                <a:solidFill>
                  <a:srgbClr val="FFFFFF"/>
                </a:solidFill>
                <a:latin typeface="Arial"/>
                <a:cs typeface="CiscoSans Thin"/>
              </a:rPr>
              <a:t>Cisco Highly Confidential</a:t>
            </a:r>
          </a:p>
        </p:txBody>
      </p:sp>
      <p:sp>
        <p:nvSpPr>
          <p:cNvPr id="8" name="Rectangle 7"/>
          <p:cNvSpPr>
            <a:spLocks noChangeArrowheads="1"/>
          </p:cNvSpPr>
          <p:nvPr/>
        </p:nvSpPr>
        <p:spPr bwMode="ltGray">
          <a:xfrm>
            <a:off x="11549893" y="6572053"/>
            <a:ext cx="291937" cy="206024"/>
          </a:xfrm>
          <a:prstGeom prst="rect">
            <a:avLst/>
          </a:prstGeom>
          <a:noFill/>
          <a:ln w="9525" algn="ctr">
            <a:noFill/>
            <a:miter lim="800000"/>
            <a:headEnd/>
            <a:tailEnd/>
          </a:ln>
          <a:effectLst/>
        </p:spPr>
        <p:txBody>
          <a:bodyPr wrap="none" lIns="82107" tIns="41054" rIns="82107" bIns="41054" anchor="b">
            <a:spAutoFit/>
          </a:bodyPr>
          <a:lstStyle/>
          <a:p>
            <a:pPr algn="r" defTabSz="814245" eaLnBrk="0" fontAlgn="base" hangingPunct="0">
              <a:spcBef>
                <a:spcPct val="0"/>
              </a:spcBef>
              <a:spcAft>
                <a:spcPct val="0"/>
              </a:spcAft>
            </a:pPr>
            <a:fld id="{DFCF27A5-1A5B-48D3-A060-2758FFBB1ADD}" type="slidenum">
              <a:rPr lang="en-US" sz="800">
                <a:solidFill>
                  <a:srgbClr val="FFFFFF"/>
                </a:solidFill>
                <a:latin typeface="Arial"/>
                <a:cs typeface="CiscoSans Thin"/>
              </a:rPr>
              <a:pPr algn="r" defTabSz="814245" eaLnBrk="0" fontAlgn="base" hangingPunct="0">
                <a:spcBef>
                  <a:spcPct val="0"/>
                </a:spcBef>
                <a:spcAft>
                  <a:spcPct val="0"/>
                </a:spcAft>
              </a:pPr>
              <a:t>‹#›</a:t>
            </a:fld>
            <a:endParaRPr lang="en-US" sz="800" dirty="0">
              <a:solidFill>
                <a:srgbClr val="FFFFFF"/>
              </a:solidFill>
              <a:latin typeface="Arial"/>
              <a:cs typeface="CiscoSans Thin"/>
            </a:endParaRPr>
          </a:p>
        </p:txBody>
      </p:sp>
      <p:sp>
        <p:nvSpPr>
          <p:cNvPr id="10" name="Rectangle 4"/>
          <p:cNvSpPr>
            <a:spLocks noChangeArrowheads="1"/>
          </p:cNvSpPr>
          <p:nvPr/>
        </p:nvSpPr>
        <p:spPr bwMode="ltGray">
          <a:xfrm>
            <a:off x="389401" y="6555465"/>
            <a:ext cx="4560687" cy="206040"/>
          </a:xfrm>
          <a:prstGeom prst="rect">
            <a:avLst/>
          </a:prstGeom>
          <a:noFill/>
          <a:ln w="9525">
            <a:noFill/>
            <a:miter lim="800000"/>
            <a:headEnd/>
            <a:tailEnd/>
          </a:ln>
          <a:effectLst/>
        </p:spPr>
        <p:txBody>
          <a:bodyPr wrap="square" lIns="82107" tIns="41054" rIns="82107" bIns="41054" anchor="b" anchorCtr="0">
            <a:spAutoFit/>
          </a:bodyPr>
          <a:lstStyle/>
          <a:p>
            <a:pPr defTabSz="814245" eaLnBrk="0" fontAlgn="base" hangingPunct="0">
              <a:spcBef>
                <a:spcPct val="0"/>
              </a:spcBef>
              <a:spcAft>
                <a:spcPct val="0"/>
              </a:spcAft>
            </a:pPr>
            <a:r>
              <a:rPr lang="en-US" sz="800" dirty="0">
                <a:solidFill>
                  <a:srgbClr val="FFFFFF"/>
                </a:solidFill>
                <a:latin typeface="Arial"/>
                <a:cs typeface="CiscoSans Thin"/>
              </a:rPr>
              <a:t>© 2013-2014  Cisco and/or its affiliates. All rights reserved.</a:t>
            </a:r>
          </a:p>
        </p:txBody>
      </p:sp>
    </p:spTree>
    <p:extLst>
      <p:ext uri="{BB962C8B-B14F-4D97-AF65-F5344CB8AC3E}">
        <p14:creationId xmlns:p14="http://schemas.microsoft.com/office/powerpoint/2010/main" val="3411014729"/>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9" name="Rectangle 8"/>
          <p:cNvSpPr/>
          <p:nvPr/>
        </p:nvSpPr>
        <p:spPr>
          <a:xfrm>
            <a:off x="4891617" y="311157"/>
            <a:ext cx="43582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4" rIns="91420" bIns="45714" anchor="ctr"/>
          <a:lstStyle/>
          <a:p>
            <a:pPr algn="ctr" defTabSz="914332" eaLnBrk="0" hangingPunct="0">
              <a:lnSpc>
                <a:spcPct val="90000"/>
              </a:lnSpc>
              <a:defRPr/>
            </a:pPr>
            <a:endParaRPr lang="en-US" sz="3200">
              <a:solidFill>
                <a:srgbClr val="FFFFFF"/>
              </a:solidFill>
              <a:latin typeface="CiscoSans"/>
              <a:cs typeface="CiscoSans"/>
            </a:endParaRPr>
          </a:p>
        </p:txBody>
      </p:sp>
      <p:sp>
        <p:nvSpPr>
          <p:cNvPr id="10" name="Rectangle 9"/>
          <p:cNvSpPr/>
          <p:nvPr/>
        </p:nvSpPr>
        <p:spPr>
          <a:xfrm>
            <a:off x="446617" y="311157"/>
            <a:ext cx="43836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4" rIns="91420" bIns="45714" anchor="ctr"/>
          <a:lstStyle/>
          <a:p>
            <a:pPr algn="ctr" defTabSz="914332" eaLnBrk="0" hangingPunct="0">
              <a:lnSpc>
                <a:spcPct val="90000"/>
              </a:lnSpc>
              <a:defRPr/>
            </a:pPr>
            <a:endParaRPr lang="en-US" sz="3200">
              <a:solidFill>
                <a:srgbClr val="FFFFFF"/>
              </a:solidFill>
              <a:latin typeface="CiscoSans"/>
              <a:cs typeface="CiscoSans"/>
            </a:endParaRPr>
          </a:p>
        </p:txBody>
      </p:sp>
      <p:sp>
        <p:nvSpPr>
          <p:cNvPr id="11" name="Rectangle 10"/>
          <p:cNvSpPr/>
          <p:nvPr/>
        </p:nvSpPr>
        <p:spPr>
          <a:xfrm>
            <a:off x="9306987" y="311151"/>
            <a:ext cx="2451100"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4" rIns="91420" bIns="45714" anchor="ctr"/>
          <a:lstStyle/>
          <a:p>
            <a:pPr algn="ctr" defTabSz="914332" eaLnBrk="0" hangingPunct="0">
              <a:lnSpc>
                <a:spcPct val="90000"/>
              </a:lnSpc>
              <a:defRPr/>
            </a:pPr>
            <a:endParaRPr lang="en-US" sz="3200">
              <a:solidFill>
                <a:srgbClr val="FFFFFF"/>
              </a:solidFill>
              <a:latin typeface="CiscoSans"/>
              <a:cs typeface="CiscoSans"/>
            </a:endParaRPr>
          </a:p>
        </p:txBody>
      </p:sp>
      <p:sp>
        <p:nvSpPr>
          <p:cNvPr id="12" name="Rectangle 11"/>
          <p:cNvSpPr/>
          <p:nvPr/>
        </p:nvSpPr>
        <p:spPr>
          <a:xfrm>
            <a:off x="446623" y="3028957"/>
            <a:ext cx="3363383"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4" rIns="91420" bIns="45714" anchor="ctr"/>
          <a:lstStyle/>
          <a:p>
            <a:pPr algn="ctr" defTabSz="914332" eaLnBrk="0" hangingPunct="0">
              <a:lnSpc>
                <a:spcPct val="90000"/>
              </a:lnSpc>
              <a:defRPr/>
            </a:pPr>
            <a:endParaRPr lang="en-US" sz="3200">
              <a:solidFill>
                <a:srgbClr val="FFFFFF"/>
              </a:solidFill>
              <a:latin typeface="CiscoSans"/>
              <a:cs typeface="CiscoSans"/>
            </a:endParaRPr>
          </a:p>
        </p:txBody>
      </p:sp>
      <p:sp>
        <p:nvSpPr>
          <p:cNvPr id="13" name="Rectangle 12"/>
          <p:cNvSpPr/>
          <p:nvPr/>
        </p:nvSpPr>
        <p:spPr>
          <a:xfrm>
            <a:off x="3881969" y="3028957"/>
            <a:ext cx="5367867"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4" rIns="91420" bIns="45714" anchor="ctr"/>
          <a:lstStyle/>
          <a:p>
            <a:pPr algn="ctr" defTabSz="914332" eaLnBrk="0" hangingPunct="0">
              <a:lnSpc>
                <a:spcPct val="90000"/>
              </a:lnSpc>
              <a:defRPr/>
            </a:pPr>
            <a:endParaRPr lang="en-US" sz="3200">
              <a:solidFill>
                <a:srgbClr val="FFFFFF"/>
              </a:solidFill>
              <a:latin typeface="CiscoSans"/>
              <a:cs typeface="CiscoSans"/>
            </a:endParaRPr>
          </a:p>
        </p:txBody>
      </p:sp>
      <p:sp>
        <p:nvSpPr>
          <p:cNvPr id="14" name="Rectangle 13"/>
          <p:cNvSpPr/>
          <p:nvPr/>
        </p:nvSpPr>
        <p:spPr>
          <a:xfrm>
            <a:off x="9306987" y="1682751"/>
            <a:ext cx="2451100" cy="34438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4" rIns="91420" bIns="45714" anchor="ctr"/>
          <a:lstStyle/>
          <a:p>
            <a:pPr algn="ctr" defTabSz="914332" eaLnBrk="0" hangingPunct="0">
              <a:lnSpc>
                <a:spcPct val="90000"/>
              </a:lnSpc>
              <a:defRPr/>
            </a:pPr>
            <a:endParaRPr lang="en-US" sz="3200">
              <a:solidFill>
                <a:srgbClr val="FFFFFF"/>
              </a:solidFill>
              <a:latin typeface="CiscoSans"/>
              <a:cs typeface="CiscoSans"/>
            </a:endParaRPr>
          </a:p>
        </p:txBody>
      </p:sp>
      <p:sp>
        <p:nvSpPr>
          <p:cNvPr id="15" name="Rectangle 14"/>
          <p:cNvSpPr/>
          <p:nvPr/>
        </p:nvSpPr>
        <p:spPr>
          <a:xfrm>
            <a:off x="9306987" y="5183717"/>
            <a:ext cx="2451100" cy="13038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4" rIns="91420" bIns="45714" anchor="ctr"/>
          <a:lstStyle/>
          <a:p>
            <a:pPr algn="ctr" defTabSz="914332" eaLnBrk="0" hangingPunct="0">
              <a:lnSpc>
                <a:spcPct val="90000"/>
              </a:lnSpc>
              <a:defRPr/>
            </a:pPr>
            <a:endParaRPr lang="en-US" sz="3200">
              <a:solidFill>
                <a:srgbClr val="FFFFFF"/>
              </a:solidFill>
              <a:latin typeface="CiscoSans"/>
              <a:cs typeface="CiscoSans"/>
            </a:endParaRPr>
          </a:p>
        </p:txBody>
      </p:sp>
      <p:sp>
        <p:nvSpPr>
          <p:cNvPr id="49" name="Picture Placeholder 25"/>
          <p:cNvSpPr>
            <a:spLocks noGrp="1"/>
          </p:cNvSpPr>
          <p:nvPr>
            <p:ph type="pic" sz="quarter" idx="11"/>
          </p:nvPr>
        </p:nvSpPr>
        <p:spPr>
          <a:xfrm>
            <a:off x="4891995" y="311151"/>
            <a:ext cx="4357148" cy="2660652"/>
          </a:xfrm>
          <a:prstGeom prst="rect">
            <a:avLst/>
          </a:prstGeom>
          <a:solidFill>
            <a:schemeClr val="bg1">
              <a:alpha val="30000"/>
            </a:schemeClr>
          </a:solidFill>
          <a:ln>
            <a:solidFill>
              <a:schemeClr val="bg2"/>
            </a:solidFill>
          </a:ln>
          <a:effectLst/>
        </p:spPr>
        <p:txBody>
          <a:bodyPr vert="horz" lIns="91420" tIns="45714" rIns="91420" bIns="45714" rtlCol="0" anchor="ctr" anchorCtr="0">
            <a:normAutofit/>
          </a:bodyPr>
          <a:lstStyle>
            <a:lvl1pPr marL="0" indent="0" algn="ctr" defTabSz="914202"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427775" y="311151"/>
            <a:ext cx="4402668" cy="2660652"/>
          </a:xfrm>
          <a:prstGeom prst="rect">
            <a:avLst/>
          </a:prstGeom>
          <a:solidFill>
            <a:schemeClr val="bg1">
              <a:alpha val="30000"/>
            </a:schemeClr>
          </a:solidFill>
          <a:ln>
            <a:solidFill>
              <a:schemeClr val="bg2"/>
            </a:solidFill>
          </a:ln>
          <a:effectLst/>
        </p:spPr>
        <p:txBody>
          <a:bodyPr vert="horz" lIns="91420" tIns="45714" rIns="91420" bIns="45714" rtlCol="0" anchor="ctr" anchorCtr="0">
            <a:normAutofit/>
          </a:bodyPr>
          <a:lstStyle>
            <a:lvl1pPr marL="0" indent="0" algn="ctr" defTabSz="9142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9306444" y="311151"/>
            <a:ext cx="2451640" cy="1308101"/>
          </a:xfrm>
          <a:prstGeom prst="rect">
            <a:avLst/>
          </a:prstGeom>
          <a:solidFill>
            <a:schemeClr val="bg1">
              <a:alpha val="30000"/>
            </a:schemeClr>
          </a:solidFill>
          <a:ln>
            <a:solidFill>
              <a:schemeClr val="bg2"/>
            </a:solidFill>
          </a:ln>
          <a:effectLst/>
        </p:spPr>
        <p:txBody>
          <a:bodyPr vert="horz" lIns="91420" tIns="45714" rIns="91420" bIns="45714" rtlCol="0" anchor="ctr" anchorCtr="0">
            <a:normAutofit/>
          </a:bodyPr>
          <a:lstStyle>
            <a:lvl1pPr marL="0" indent="0" algn="ctr" defTabSz="9142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427765" y="3028963"/>
            <a:ext cx="3383227" cy="3458935"/>
          </a:xfrm>
          <a:prstGeom prst="rect">
            <a:avLst/>
          </a:prstGeom>
          <a:solidFill>
            <a:schemeClr val="bg1">
              <a:alpha val="30000"/>
            </a:schemeClr>
          </a:solidFill>
          <a:ln>
            <a:solidFill>
              <a:schemeClr val="bg2"/>
            </a:solidFill>
          </a:ln>
          <a:effectLst/>
        </p:spPr>
        <p:txBody>
          <a:bodyPr vert="horz" lIns="91420" tIns="45714" rIns="91420" bIns="45714" rtlCol="0" anchor="ctr" anchorCtr="0">
            <a:normAutofit/>
          </a:bodyPr>
          <a:lstStyle>
            <a:lvl1pPr marL="0" indent="0" algn="ctr" defTabSz="9142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3877781" y="3028963"/>
            <a:ext cx="5371355" cy="3458935"/>
          </a:xfrm>
          <a:prstGeom prst="rect">
            <a:avLst/>
          </a:prstGeom>
          <a:solidFill>
            <a:schemeClr val="bg1">
              <a:alpha val="30000"/>
            </a:schemeClr>
          </a:solidFill>
          <a:ln>
            <a:solidFill>
              <a:schemeClr val="bg2"/>
            </a:solidFill>
          </a:ln>
          <a:effectLst/>
        </p:spPr>
        <p:txBody>
          <a:bodyPr vert="horz" lIns="91420" tIns="45714" rIns="91420" bIns="45714" rtlCol="0" anchor="ctr" anchorCtr="0">
            <a:normAutofit/>
          </a:bodyPr>
          <a:lstStyle>
            <a:lvl1pPr marL="0" indent="0" algn="ctr" defTabSz="9142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9306444" y="1676401"/>
            <a:ext cx="2451640" cy="3449411"/>
          </a:xfrm>
          <a:prstGeom prst="rect">
            <a:avLst/>
          </a:prstGeom>
          <a:solidFill>
            <a:schemeClr val="bg1">
              <a:alpha val="30000"/>
            </a:schemeClr>
          </a:solidFill>
          <a:ln>
            <a:solidFill>
              <a:schemeClr val="bg2"/>
            </a:solidFill>
          </a:ln>
          <a:effectLst/>
        </p:spPr>
        <p:txBody>
          <a:bodyPr vert="horz" lIns="91420" tIns="45714" rIns="91420" bIns="45714" rtlCol="0" anchor="ctr" anchorCtr="0">
            <a:normAutofit/>
          </a:bodyPr>
          <a:lstStyle>
            <a:lvl1pPr marL="0" indent="0" algn="ctr" defTabSz="9142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9306444" y="5182964"/>
            <a:ext cx="2451640" cy="1304925"/>
          </a:xfrm>
          <a:prstGeom prst="rect">
            <a:avLst/>
          </a:prstGeom>
          <a:solidFill>
            <a:schemeClr val="bg1">
              <a:alpha val="30000"/>
            </a:schemeClr>
          </a:solidFill>
          <a:ln>
            <a:solidFill>
              <a:schemeClr val="bg2"/>
            </a:solidFill>
          </a:ln>
          <a:effectLst/>
        </p:spPr>
        <p:txBody>
          <a:bodyPr vert="horz" lIns="91420" tIns="45714" rIns="91420" bIns="45714" rtlCol="0" anchor="ctr" anchorCtr="0">
            <a:normAutofit/>
          </a:bodyPr>
          <a:lstStyle>
            <a:lvl1pPr marL="0" indent="0" algn="ctr" defTabSz="914202"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16" name="Rectangle 5"/>
          <p:cNvSpPr>
            <a:spLocks noChangeArrowheads="1"/>
          </p:cNvSpPr>
          <p:nvPr/>
        </p:nvSpPr>
        <p:spPr bwMode="ltGray">
          <a:xfrm>
            <a:off x="10102660" y="6576171"/>
            <a:ext cx="1331541" cy="206015"/>
          </a:xfrm>
          <a:prstGeom prst="rect">
            <a:avLst/>
          </a:prstGeom>
          <a:noFill/>
          <a:ln w="9525">
            <a:noFill/>
            <a:miter lim="800000"/>
            <a:headEnd/>
            <a:tailEnd/>
          </a:ln>
          <a:effectLst/>
        </p:spPr>
        <p:txBody>
          <a:bodyPr wrap="none" lIns="82107" tIns="41054" rIns="82107" bIns="41054" anchor="b">
            <a:spAutoFit/>
          </a:bodyPr>
          <a:lstStyle/>
          <a:p>
            <a:pPr algn="r" defTabSz="814245" eaLnBrk="0" fontAlgn="base" hangingPunct="0">
              <a:spcBef>
                <a:spcPct val="0"/>
              </a:spcBef>
              <a:spcAft>
                <a:spcPct val="0"/>
              </a:spcAft>
            </a:pPr>
            <a:r>
              <a:rPr lang="en-US" sz="800" dirty="0">
                <a:solidFill>
                  <a:srgbClr val="FFFFFF"/>
                </a:solidFill>
                <a:latin typeface="Arial"/>
                <a:cs typeface="CiscoSans Thin"/>
              </a:rPr>
              <a:t>Cisco Highly Confidential</a:t>
            </a:r>
          </a:p>
        </p:txBody>
      </p:sp>
      <p:sp>
        <p:nvSpPr>
          <p:cNvPr id="17" name="Rectangle 7"/>
          <p:cNvSpPr>
            <a:spLocks noChangeArrowheads="1"/>
          </p:cNvSpPr>
          <p:nvPr/>
        </p:nvSpPr>
        <p:spPr bwMode="ltGray">
          <a:xfrm>
            <a:off x="11549893" y="6572053"/>
            <a:ext cx="291937" cy="206024"/>
          </a:xfrm>
          <a:prstGeom prst="rect">
            <a:avLst/>
          </a:prstGeom>
          <a:noFill/>
          <a:ln w="9525" algn="ctr">
            <a:noFill/>
            <a:miter lim="800000"/>
            <a:headEnd/>
            <a:tailEnd/>
          </a:ln>
          <a:effectLst/>
        </p:spPr>
        <p:txBody>
          <a:bodyPr wrap="none" lIns="82107" tIns="41054" rIns="82107" bIns="41054" anchor="b">
            <a:spAutoFit/>
          </a:bodyPr>
          <a:lstStyle/>
          <a:p>
            <a:pPr algn="r" defTabSz="814245" eaLnBrk="0" fontAlgn="base" hangingPunct="0">
              <a:spcBef>
                <a:spcPct val="0"/>
              </a:spcBef>
              <a:spcAft>
                <a:spcPct val="0"/>
              </a:spcAft>
            </a:pPr>
            <a:fld id="{DFCF27A5-1A5B-48D3-A060-2758FFBB1ADD}" type="slidenum">
              <a:rPr lang="en-US" sz="800">
                <a:solidFill>
                  <a:srgbClr val="FFFFFF"/>
                </a:solidFill>
                <a:latin typeface="Arial"/>
                <a:cs typeface="CiscoSans Thin"/>
              </a:rPr>
              <a:pPr algn="r" defTabSz="814245" eaLnBrk="0" fontAlgn="base" hangingPunct="0">
                <a:spcBef>
                  <a:spcPct val="0"/>
                </a:spcBef>
                <a:spcAft>
                  <a:spcPct val="0"/>
                </a:spcAft>
              </a:pPr>
              <a:t>‹#›</a:t>
            </a:fld>
            <a:endParaRPr lang="en-US" sz="800" dirty="0">
              <a:solidFill>
                <a:srgbClr val="FFFFFF"/>
              </a:solidFill>
              <a:latin typeface="Arial"/>
              <a:cs typeface="CiscoSans Thin"/>
            </a:endParaRPr>
          </a:p>
        </p:txBody>
      </p:sp>
      <p:sp>
        <p:nvSpPr>
          <p:cNvPr id="18" name="Rectangle 4"/>
          <p:cNvSpPr>
            <a:spLocks noChangeArrowheads="1"/>
          </p:cNvSpPr>
          <p:nvPr/>
        </p:nvSpPr>
        <p:spPr bwMode="ltGray">
          <a:xfrm>
            <a:off x="389401" y="6555465"/>
            <a:ext cx="4560687" cy="206040"/>
          </a:xfrm>
          <a:prstGeom prst="rect">
            <a:avLst/>
          </a:prstGeom>
          <a:noFill/>
          <a:ln w="9525">
            <a:noFill/>
            <a:miter lim="800000"/>
            <a:headEnd/>
            <a:tailEnd/>
          </a:ln>
          <a:effectLst/>
        </p:spPr>
        <p:txBody>
          <a:bodyPr wrap="square" lIns="82107" tIns="41054" rIns="82107" bIns="41054" anchor="b" anchorCtr="0">
            <a:spAutoFit/>
          </a:bodyPr>
          <a:lstStyle/>
          <a:p>
            <a:pPr defTabSz="814245" eaLnBrk="0" fontAlgn="base" hangingPunct="0">
              <a:spcBef>
                <a:spcPct val="0"/>
              </a:spcBef>
              <a:spcAft>
                <a:spcPct val="0"/>
              </a:spcAft>
            </a:pPr>
            <a:r>
              <a:rPr lang="en-US" sz="800" dirty="0">
                <a:solidFill>
                  <a:srgbClr val="FFFFFF"/>
                </a:solidFill>
                <a:latin typeface="Arial"/>
                <a:cs typeface="CiscoSans Thin"/>
              </a:rPr>
              <a:t>© 2013-2014  Cisco and/or its affiliates. All rights reserved.</a:t>
            </a:r>
          </a:p>
        </p:txBody>
      </p:sp>
    </p:spTree>
    <p:extLst>
      <p:ext uri="{BB962C8B-B14F-4D97-AF65-F5344CB8AC3E}">
        <p14:creationId xmlns:p14="http://schemas.microsoft.com/office/powerpoint/2010/main" val="8727690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36988"/>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Wide screen video">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704857" y="777240"/>
            <a:ext cx="10886575"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91420" tIns="45714" rIns="91420" bIns="45714" rtlCol="0" anchor="ctr">
            <a:normAutofit/>
          </a:bodyPr>
          <a:lstStyle>
            <a:lvl1pPr marL="0" indent="0" algn="ctr" defTabSz="914202" rtl="0" eaLnBrk="1" latinLnBrk="0" hangingPunct="1">
              <a:lnSpc>
                <a:spcPct val="95000"/>
              </a:lnSpc>
              <a:spcBef>
                <a:spcPts val="1440"/>
              </a:spcBef>
              <a:buClr>
                <a:srgbClr val="92D050"/>
              </a:buClr>
              <a:buSzPct val="90000"/>
              <a:buFont typeface="Arial" pitchFamily="34" charset="0"/>
              <a:buNone/>
              <a:tabLst/>
              <a:defRPr lang="en-US" sz="19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
        <p:nvSpPr>
          <p:cNvPr id="3" name="Rectangle 5"/>
          <p:cNvSpPr>
            <a:spLocks noChangeArrowheads="1"/>
          </p:cNvSpPr>
          <p:nvPr/>
        </p:nvSpPr>
        <p:spPr bwMode="ltGray">
          <a:xfrm>
            <a:off x="10102660" y="6576171"/>
            <a:ext cx="1331541" cy="206015"/>
          </a:xfrm>
          <a:prstGeom prst="rect">
            <a:avLst/>
          </a:prstGeom>
          <a:noFill/>
          <a:ln w="9525">
            <a:noFill/>
            <a:miter lim="800000"/>
            <a:headEnd/>
            <a:tailEnd/>
          </a:ln>
          <a:effectLst/>
        </p:spPr>
        <p:txBody>
          <a:bodyPr wrap="none" lIns="82107" tIns="41054" rIns="82107" bIns="41054" anchor="b">
            <a:spAutoFit/>
          </a:bodyPr>
          <a:lstStyle/>
          <a:p>
            <a:pPr algn="r" defTabSz="814245" eaLnBrk="0" fontAlgn="base" hangingPunct="0">
              <a:spcBef>
                <a:spcPct val="0"/>
              </a:spcBef>
              <a:spcAft>
                <a:spcPct val="0"/>
              </a:spcAft>
            </a:pPr>
            <a:r>
              <a:rPr lang="en-US" sz="800" dirty="0">
                <a:solidFill>
                  <a:srgbClr val="FFFFFF"/>
                </a:solidFill>
                <a:latin typeface="Arial"/>
                <a:cs typeface="CiscoSans Thin"/>
              </a:rPr>
              <a:t>Cisco Highly Confidential</a:t>
            </a:r>
          </a:p>
        </p:txBody>
      </p:sp>
      <p:sp>
        <p:nvSpPr>
          <p:cNvPr id="4" name="Rectangle 7"/>
          <p:cNvSpPr>
            <a:spLocks noChangeArrowheads="1"/>
          </p:cNvSpPr>
          <p:nvPr/>
        </p:nvSpPr>
        <p:spPr bwMode="ltGray">
          <a:xfrm>
            <a:off x="11549893" y="6572053"/>
            <a:ext cx="291937" cy="206024"/>
          </a:xfrm>
          <a:prstGeom prst="rect">
            <a:avLst/>
          </a:prstGeom>
          <a:noFill/>
          <a:ln w="9525" algn="ctr">
            <a:noFill/>
            <a:miter lim="800000"/>
            <a:headEnd/>
            <a:tailEnd/>
          </a:ln>
          <a:effectLst/>
        </p:spPr>
        <p:txBody>
          <a:bodyPr wrap="none" lIns="82107" tIns="41054" rIns="82107" bIns="41054" anchor="b">
            <a:spAutoFit/>
          </a:bodyPr>
          <a:lstStyle/>
          <a:p>
            <a:pPr algn="r" defTabSz="814245" eaLnBrk="0" fontAlgn="base" hangingPunct="0">
              <a:spcBef>
                <a:spcPct val="0"/>
              </a:spcBef>
              <a:spcAft>
                <a:spcPct val="0"/>
              </a:spcAft>
            </a:pPr>
            <a:fld id="{DFCF27A5-1A5B-48D3-A060-2758FFBB1ADD}" type="slidenum">
              <a:rPr lang="en-US" sz="800">
                <a:solidFill>
                  <a:srgbClr val="FFFFFF"/>
                </a:solidFill>
                <a:latin typeface="Arial"/>
                <a:cs typeface="CiscoSans Thin"/>
              </a:rPr>
              <a:pPr algn="r" defTabSz="814245" eaLnBrk="0" fontAlgn="base" hangingPunct="0">
                <a:spcBef>
                  <a:spcPct val="0"/>
                </a:spcBef>
                <a:spcAft>
                  <a:spcPct val="0"/>
                </a:spcAft>
              </a:pPr>
              <a:t>‹#›</a:t>
            </a:fld>
            <a:endParaRPr lang="en-US" sz="800" dirty="0">
              <a:solidFill>
                <a:srgbClr val="FFFFFF"/>
              </a:solidFill>
              <a:latin typeface="Arial"/>
              <a:cs typeface="CiscoSans Thin"/>
            </a:endParaRPr>
          </a:p>
        </p:txBody>
      </p:sp>
      <p:sp>
        <p:nvSpPr>
          <p:cNvPr id="5" name="Rectangle 4"/>
          <p:cNvSpPr>
            <a:spLocks noChangeArrowheads="1"/>
          </p:cNvSpPr>
          <p:nvPr/>
        </p:nvSpPr>
        <p:spPr bwMode="ltGray">
          <a:xfrm>
            <a:off x="389401" y="6555465"/>
            <a:ext cx="4560687" cy="206040"/>
          </a:xfrm>
          <a:prstGeom prst="rect">
            <a:avLst/>
          </a:prstGeom>
          <a:noFill/>
          <a:ln w="9525">
            <a:noFill/>
            <a:miter lim="800000"/>
            <a:headEnd/>
            <a:tailEnd/>
          </a:ln>
          <a:effectLst/>
        </p:spPr>
        <p:txBody>
          <a:bodyPr wrap="square" lIns="82107" tIns="41054" rIns="82107" bIns="41054" anchor="b" anchorCtr="0">
            <a:spAutoFit/>
          </a:bodyPr>
          <a:lstStyle/>
          <a:p>
            <a:pPr defTabSz="814245" eaLnBrk="0" fontAlgn="base" hangingPunct="0">
              <a:spcBef>
                <a:spcPct val="0"/>
              </a:spcBef>
              <a:spcAft>
                <a:spcPct val="0"/>
              </a:spcAft>
            </a:pPr>
            <a:r>
              <a:rPr lang="en-US" sz="800" dirty="0">
                <a:solidFill>
                  <a:srgbClr val="FFFFFF"/>
                </a:solidFill>
                <a:latin typeface="Arial"/>
                <a:cs typeface="CiscoSans Thin"/>
              </a:rPr>
              <a:t>© 2013-2014  Cisco and/or its affiliates. All rights reserved.</a:t>
            </a:r>
          </a:p>
        </p:txBody>
      </p:sp>
    </p:spTree>
    <p:extLst>
      <p:ext uri="{BB962C8B-B14F-4D97-AF65-F5344CB8AC3E}">
        <p14:creationId xmlns:p14="http://schemas.microsoft.com/office/powerpoint/2010/main" val="148315362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tandard video">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905785" y="778669"/>
            <a:ext cx="5899416"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91420" tIns="45714" rIns="91420" bIns="45714" rtlCol="0" anchor="ctr">
            <a:normAutofit/>
          </a:bodyPr>
          <a:lstStyle>
            <a:lvl1pPr marL="0" indent="0" algn="ctr" defTabSz="914202" rtl="0" eaLnBrk="1" latinLnBrk="0" hangingPunct="1">
              <a:lnSpc>
                <a:spcPct val="95000"/>
              </a:lnSpc>
              <a:spcBef>
                <a:spcPts val="1440"/>
              </a:spcBef>
              <a:buClr>
                <a:srgbClr val="92D050"/>
              </a:buClr>
              <a:buSzPct val="90000"/>
              <a:buFont typeface="Arial" pitchFamily="34" charset="0"/>
              <a:buNone/>
              <a:tabLst/>
              <a:defRPr lang="en-US" sz="1900" kern="1200">
                <a:solidFill>
                  <a:schemeClr val="lt1"/>
                </a:solidFill>
                <a:latin typeface="+mn-lt"/>
                <a:ea typeface="+mn-ea"/>
                <a:cs typeface="CiscoSans"/>
              </a:defRPr>
            </a:lvl1pPr>
          </a:lstStyle>
          <a:p>
            <a:pPr lvl="0"/>
            <a:r>
              <a:rPr lang="en-US" noProof="0"/>
              <a:t>Click icon to add media</a:t>
            </a:r>
            <a:endParaRPr lang="en-US" noProof="0" dirty="0"/>
          </a:p>
        </p:txBody>
      </p:sp>
      <p:sp>
        <p:nvSpPr>
          <p:cNvPr id="3" name="Rectangle 5"/>
          <p:cNvSpPr>
            <a:spLocks noChangeArrowheads="1"/>
          </p:cNvSpPr>
          <p:nvPr/>
        </p:nvSpPr>
        <p:spPr bwMode="ltGray">
          <a:xfrm>
            <a:off x="10102660" y="6576171"/>
            <a:ext cx="1331541" cy="206015"/>
          </a:xfrm>
          <a:prstGeom prst="rect">
            <a:avLst/>
          </a:prstGeom>
          <a:noFill/>
          <a:ln w="9525">
            <a:noFill/>
            <a:miter lim="800000"/>
            <a:headEnd/>
            <a:tailEnd/>
          </a:ln>
          <a:effectLst/>
        </p:spPr>
        <p:txBody>
          <a:bodyPr wrap="none" lIns="82107" tIns="41054" rIns="82107" bIns="41054" anchor="b">
            <a:spAutoFit/>
          </a:bodyPr>
          <a:lstStyle/>
          <a:p>
            <a:pPr algn="r" defTabSz="814245" eaLnBrk="0" fontAlgn="base" hangingPunct="0">
              <a:spcBef>
                <a:spcPct val="0"/>
              </a:spcBef>
              <a:spcAft>
                <a:spcPct val="0"/>
              </a:spcAft>
            </a:pPr>
            <a:r>
              <a:rPr lang="en-US" sz="800" dirty="0">
                <a:solidFill>
                  <a:srgbClr val="FFFFFF"/>
                </a:solidFill>
                <a:latin typeface="Arial"/>
                <a:cs typeface="CiscoSans Thin"/>
              </a:rPr>
              <a:t>Cisco Highly Confidential</a:t>
            </a:r>
          </a:p>
        </p:txBody>
      </p:sp>
      <p:sp>
        <p:nvSpPr>
          <p:cNvPr id="4" name="Rectangle 7"/>
          <p:cNvSpPr>
            <a:spLocks noChangeArrowheads="1"/>
          </p:cNvSpPr>
          <p:nvPr/>
        </p:nvSpPr>
        <p:spPr bwMode="ltGray">
          <a:xfrm>
            <a:off x="11549893" y="6572053"/>
            <a:ext cx="291937" cy="206024"/>
          </a:xfrm>
          <a:prstGeom prst="rect">
            <a:avLst/>
          </a:prstGeom>
          <a:noFill/>
          <a:ln w="9525" algn="ctr">
            <a:noFill/>
            <a:miter lim="800000"/>
            <a:headEnd/>
            <a:tailEnd/>
          </a:ln>
          <a:effectLst/>
        </p:spPr>
        <p:txBody>
          <a:bodyPr wrap="none" lIns="82107" tIns="41054" rIns="82107" bIns="41054" anchor="b">
            <a:spAutoFit/>
          </a:bodyPr>
          <a:lstStyle/>
          <a:p>
            <a:pPr algn="r" defTabSz="814245" eaLnBrk="0" fontAlgn="base" hangingPunct="0">
              <a:spcBef>
                <a:spcPct val="0"/>
              </a:spcBef>
              <a:spcAft>
                <a:spcPct val="0"/>
              </a:spcAft>
            </a:pPr>
            <a:fld id="{DFCF27A5-1A5B-48D3-A060-2758FFBB1ADD}" type="slidenum">
              <a:rPr lang="en-US" sz="800">
                <a:solidFill>
                  <a:srgbClr val="FFFFFF"/>
                </a:solidFill>
                <a:latin typeface="Arial"/>
                <a:cs typeface="CiscoSans Thin"/>
              </a:rPr>
              <a:pPr algn="r" defTabSz="814245" eaLnBrk="0" fontAlgn="base" hangingPunct="0">
                <a:spcBef>
                  <a:spcPct val="0"/>
                </a:spcBef>
                <a:spcAft>
                  <a:spcPct val="0"/>
                </a:spcAft>
              </a:pPr>
              <a:t>‹#›</a:t>
            </a:fld>
            <a:endParaRPr lang="en-US" sz="800" dirty="0">
              <a:solidFill>
                <a:srgbClr val="FFFFFF"/>
              </a:solidFill>
              <a:latin typeface="Arial"/>
              <a:cs typeface="CiscoSans Thin"/>
            </a:endParaRPr>
          </a:p>
        </p:txBody>
      </p:sp>
      <p:sp>
        <p:nvSpPr>
          <p:cNvPr id="5" name="Rectangle 4"/>
          <p:cNvSpPr>
            <a:spLocks noChangeArrowheads="1"/>
          </p:cNvSpPr>
          <p:nvPr/>
        </p:nvSpPr>
        <p:spPr bwMode="ltGray">
          <a:xfrm>
            <a:off x="389401" y="6555465"/>
            <a:ext cx="4560687" cy="206040"/>
          </a:xfrm>
          <a:prstGeom prst="rect">
            <a:avLst/>
          </a:prstGeom>
          <a:noFill/>
          <a:ln w="9525">
            <a:noFill/>
            <a:miter lim="800000"/>
            <a:headEnd/>
            <a:tailEnd/>
          </a:ln>
          <a:effectLst/>
        </p:spPr>
        <p:txBody>
          <a:bodyPr wrap="square" lIns="82107" tIns="41054" rIns="82107" bIns="41054" anchor="b" anchorCtr="0">
            <a:spAutoFit/>
          </a:bodyPr>
          <a:lstStyle/>
          <a:p>
            <a:pPr defTabSz="814245" eaLnBrk="0" fontAlgn="base" hangingPunct="0">
              <a:spcBef>
                <a:spcPct val="0"/>
              </a:spcBef>
              <a:spcAft>
                <a:spcPct val="0"/>
              </a:spcAft>
            </a:pPr>
            <a:r>
              <a:rPr lang="en-US" sz="800" dirty="0">
                <a:solidFill>
                  <a:srgbClr val="FFFFFF"/>
                </a:solidFill>
                <a:latin typeface="Arial"/>
                <a:cs typeface="CiscoSans Thin"/>
              </a:rPr>
              <a:t>© 2013-2014  Cisco and/or its affiliates. All rights reserved.</a:t>
            </a:r>
          </a:p>
        </p:txBody>
      </p:sp>
    </p:spTree>
    <p:extLst>
      <p:ext uri="{BB962C8B-B14F-4D97-AF65-F5344CB8AC3E}">
        <p14:creationId xmlns:p14="http://schemas.microsoft.com/office/powerpoint/2010/main" val="232647636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12192000" cy="6866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56123" y="2190751"/>
            <a:ext cx="11679767"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52877677"/>
      </p:ext>
    </p:extLst>
  </p:cSld>
  <p:clrMapOvr>
    <a:masterClrMapping/>
  </p:clrMapOvr>
  <p:transition spd="slow">
    <p:wip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1_Closing_Photo">
    <p:spTree>
      <p:nvGrpSpPr>
        <p:cNvPr id="1" name=""/>
        <p:cNvGrpSpPr/>
        <p:nvPr/>
      </p:nvGrpSpPr>
      <p:grpSpPr>
        <a:xfrm>
          <a:off x="0" y="0"/>
          <a:ext cx="0" cy="0"/>
          <a:chOff x="0" y="0"/>
          <a:chExt cx="0" cy="0"/>
        </a:xfrm>
      </p:grpSpPr>
      <p:pic>
        <p:nvPicPr>
          <p:cNvPr id="16" name="Picture Placeholder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84" y="-3425"/>
            <a:ext cx="12200575" cy="6864857"/>
          </a:xfrm>
          <a:prstGeom prst="rect">
            <a:avLst/>
          </a:prstGeom>
        </p:spPr>
      </p:pic>
      <p:pic>
        <p:nvPicPr>
          <p:cNvPr id="17" name="Picture 16" descr="pref_1-line_logo+tagline-rt-white-CMYK.ai"/>
          <p:cNvPicPr>
            <a:picLocks noChangeAspect="1"/>
          </p:cNvPicPr>
          <p:nvPr/>
        </p:nvPicPr>
        <p:blipFill>
          <a:blip r:embed="rId3">
            <a:duotone>
              <a:prstClr val="black"/>
              <a:schemeClr val="accent3">
                <a:tint val="45000"/>
                <a:satMod val="400000"/>
              </a:schemeClr>
            </a:duotone>
            <a:lum bright="-100000" contrast="-100000"/>
            <a:alphaModFix amt="60000"/>
            <a:extLst>
              <a:ext uri="{28A0092B-C50C-407E-A947-70E740481C1C}">
                <a14:useLocalDpi xmlns:a14="http://schemas.microsoft.com/office/drawing/2010/main"/>
              </a:ext>
            </a:extLst>
          </a:blip>
          <a:stretch>
            <a:fillRect/>
          </a:stretch>
        </p:blipFill>
        <p:spPr>
          <a:xfrm>
            <a:off x="255660" y="2191512"/>
            <a:ext cx="11680680" cy="2474976"/>
          </a:xfrm>
          <a:prstGeom prst="rect">
            <a:avLst/>
          </a:prstGeom>
        </p:spPr>
      </p:pic>
    </p:spTree>
    <p:extLst>
      <p:ext uri="{BB962C8B-B14F-4D97-AF65-F5344CB8AC3E}">
        <p14:creationId xmlns:p14="http://schemas.microsoft.com/office/powerpoint/2010/main" val="1926763226"/>
      </p:ext>
    </p:extLst>
  </p:cSld>
  <p:clrMapOvr>
    <a:masterClrMapping/>
  </p:clrMapOvr>
  <p:transition spd="slow">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109147370"/>
      </p:ext>
    </p:extLst>
  </p:cSld>
  <p:clrMapOvr>
    <a:masterClrMapping/>
  </p:clrMapOvr>
  <p:transition spd="med">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Title Slide-animated gradient">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561600" y="432000"/>
            <a:ext cx="1266128" cy="780288"/>
          </a:xfrm>
          <a:prstGeom prst="rect">
            <a:avLst/>
          </a:prstGeom>
        </p:spPr>
      </p:pic>
      <p:sp>
        <p:nvSpPr>
          <p:cNvPr id="16" name="Subtitle 2"/>
          <p:cNvSpPr>
            <a:spLocks noGrp="1"/>
          </p:cNvSpPr>
          <p:nvPr>
            <p:ph type="subTitle" idx="1" hasCustomPrompt="1"/>
          </p:nvPr>
        </p:nvSpPr>
        <p:spPr>
          <a:xfrm>
            <a:off x="626001" y="5057610"/>
            <a:ext cx="11061895" cy="384175"/>
          </a:xfrm>
          <a:prstGeom prst="rect">
            <a:avLst/>
          </a:prstGeom>
        </p:spPr>
        <p:txBody>
          <a:bodyPr lIns="121880" tIns="60940" rIns="121880" bIns="60940" anchor="b" anchorCtr="0">
            <a:noAutofit/>
          </a:bodyPr>
          <a:lstStyle>
            <a:lvl1pPr marL="0" indent="0" algn="l">
              <a:buNone/>
              <a:defRPr sz="1900" b="0" i="0">
                <a:solidFill>
                  <a:srgbClr val="FFFFFE"/>
                </a:solidFill>
                <a:latin typeface="+mn-lt"/>
                <a:cs typeface="CiscoSans"/>
              </a:defRPr>
            </a:lvl1pPr>
            <a:lvl2pPr marL="457083" indent="0" algn="ctr">
              <a:buNone/>
              <a:defRPr>
                <a:solidFill>
                  <a:schemeClr val="tx1">
                    <a:tint val="75000"/>
                  </a:schemeClr>
                </a:solidFill>
              </a:defRPr>
            </a:lvl2pPr>
            <a:lvl3pPr marL="914180" indent="0" algn="ctr">
              <a:buNone/>
              <a:defRPr>
                <a:solidFill>
                  <a:schemeClr val="tx1">
                    <a:tint val="75000"/>
                  </a:schemeClr>
                </a:solidFill>
              </a:defRPr>
            </a:lvl3pPr>
            <a:lvl4pPr marL="1371268" indent="0" algn="ctr">
              <a:buNone/>
              <a:defRPr>
                <a:solidFill>
                  <a:schemeClr val="tx1">
                    <a:tint val="75000"/>
                  </a:schemeClr>
                </a:solidFill>
              </a:defRPr>
            </a:lvl4pPr>
            <a:lvl5pPr marL="1828361" indent="0" algn="ctr">
              <a:buNone/>
              <a:defRPr>
                <a:solidFill>
                  <a:schemeClr val="tx1">
                    <a:tint val="75000"/>
                  </a:schemeClr>
                </a:solidFill>
              </a:defRPr>
            </a:lvl5pPr>
            <a:lvl6pPr marL="2285446" indent="0" algn="ctr">
              <a:buNone/>
              <a:defRPr>
                <a:solidFill>
                  <a:schemeClr val="tx1">
                    <a:tint val="75000"/>
                  </a:schemeClr>
                </a:solidFill>
              </a:defRPr>
            </a:lvl6pPr>
            <a:lvl7pPr marL="2742541" indent="0" algn="ctr">
              <a:buNone/>
              <a:defRPr>
                <a:solidFill>
                  <a:schemeClr val="tx1">
                    <a:tint val="75000"/>
                  </a:schemeClr>
                </a:solidFill>
              </a:defRPr>
            </a:lvl7pPr>
            <a:lvl8pPr marL="3199627" indent="0" algn="ctr">
              <a:buNone/>
              <a:defRPr>
                <a:solidFill>
                  <a:schemeClr val="tx1">
                    <a:tint val="75000"/>
                  </a:schemeClr>
                </a:solidFill>
              </a:defRPr>
            </a:lvl8pPr>
            <a:lvl9pPr marL="3656719"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6001" y="5377606"/>
            <a:ext cx="11061895" cy="384175"/>
          </a:xfrm>
          <a:prstGeom prst="rect">
            <a:avLst/>
          </a:prstGeom>
        </p:spPr>
        <p:txBody>
          <a:bodyPr lIns="121880" tIns="60940" rIns="121880" bIns="60940"/>
          <a:lstStyle>
            <a:lvl1pPr marL="0" indent="0" algn="l">
              <a:buFontTx/>
              <a:buNone/>
              <a:defRPr lang="en-US" sz="1900"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6001" y="5697602"/>
            <a:ext cx="11061895" cy="384175"/>
          </a:xfrm>
          <a:prstGeom prst="rect">
            <a:avLst/>
          </a:prstGeom>
        </p:spPr>
        <p:txBody>
          <a:bodyPr lIns="121880" tIns="60940" rIns="121880" bIns="60940"/>
          <a:lstStyle>
            <a:lvl1pPr marL="0" indent="0" algn="l">
              <a:buFontTx/>
              <a:buNone/>
              <a:defRPr lang="en-US" sz="1900"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37" y="4281951"/>
            <a:ext cx="11070167" cy="398668"/>
          </a:xfrm>
          <a:prstGeom prst="rect">
            <a:avLst/>
          </a:prstGeom>
        </p:spPr>
        <p:txBody>
          <a:bodyPr lIns="121880" tIns="60940" rIns="121880" bIns="60940"/>
          <a:lstStyle>
            <a:lvl1pPr marL="0" indent="0">
              <a:buFont typeface="Arial" panose="020B0604020202020204" pitchFamily="34" charset="0"/>
              <a:buNone/>
              <a:defRPr sz="2900" baseline="0">
                <a:solidFill>
                  <a:srgbClr val="FFFFFE"/>
                </a:solidFill>
                <a:latin typeface="+mj-lt"/>
              </a:defRPr>
            </a:lvl1pPr>
            <a:lvl2pPr marL="406325" indent="0">
              <a:buNone/>
              <a:defRPr/>
            </a:lvl2pPr>
            <a:lvl3pPr marL="569798" indent="0">
              <a:buNone/>
              <a:defRPr/>
            </a:lvl3pPr>
            <a:lvl4pPr marL="688839" indent="0">
              <a:buNone/>
              <a:defRPr/>
            </a:lvl4pPr>
            <a:lvl5pPr marL="801528" indent="0">
              <a:buNone/>
              <a:defRPr/>
            </a:lvl5pPr>
          </a:lstStyle>
          <a:p>
            <a:pPr lvl="0"/>
            <a:r>
              <a:rPr lang="en-GB" dirty="0"/>
              <a:t>Subtitle Goes Here</a:t>
            </a:r>
          </a:p>
        </p:txBody>
      </p:sp>
      <p:sp>
        <p:nvSpPr>
          <p:cNvPr id="20" name="Title 1"/>
          <p:cNvSpPr>
            <a:spLocks noGrp="1"/>
          </p:cNvSpPr>
          <p:nvPr>
            <p:ph type="ctrTitle" hasCustomPrompt="1"/>
          </p:nvPr>
        </p:nvSpPr>
        <p:spPr>
          <a:xfrm>
            <a:off x="567689" y="3519969"/>
            <a:ext cx="11120203" cy="859640"/>
          </a:xfrm>
          <a:prstGeom prst="rect">
            <a:avLst/>
          </a:prstGeom>
        </p:spPr>
        <p:txBody>
          <a:bodyPr anchor="b"/>
          <a:lstStyle>
            <a:lvl1pPr marL="0" indent="0" algn="l">
              <a:lnSpc>
                <a:spcPct val="90000"/>
              </a:lnSpc>
              <a:buFont typeface="Arial" panose="020B0604020202020204" pitchFamily="34" charset="0"/>
              <a:buNone/>
              <a:defRPr sz="69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3416668511"/>
      </p:ext>
    </p:extLst>
  </p:cSld>
  <p:clrMapOvr>
    <a:masterClrMapping/>
  </p:clrMapOvr>
  <p:transition spd="slow">
    <p:wip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22" tIns="45714" rIns="91422" bIns="45714" anchor="ctr"/>
          <a:lstStyle/>
          <a:p>
            <a:pPr defTabSz="609523" fontAlgn="base">
              <a:spcBef>
                <a:spcPct val="0"/>
              </a:spcBef>
              <a:spcAft>
                <a:spcPct val="0"/>
              </a:spcAft>
            </a:pPr>
            <a:endParaRPr lang="en-US" sz="1900">
              <a:solidFill>
                <a:srgbClr val="676767"/>
              </a:solidFill>
              <a:ea typeface="ＭＳ Ｐゴシック" charset="0"/>
            </a:endParaRPr>
          </a:p>
        </p:txBody>
      </p:sp>
      <p:sp>
        <p:nvSpPr>
          <p:cNvPr id="6" name="Rectangle 3"/>
          <p:cNvSpPr>
            <a:spLocks noChangeArrowheads="1"/>
          </p:cNvSpPr>
          <p:nvPr/>
        </p:nvSpPr>
        <p:spPr bwMode="hidden">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22" tIns="45714" rIns="91422" bIns="45714" anchor="ctr"/>
          <a:lstStyle/>
          <a:p>
            <a:pPr defTabSz="609523" fontAlgn="base">
              <a:spcBef>
                <a:spcPct val="0"/>
              </a:spcBef>
              <a:spcAft>
                <a:spcPct val="0"/>
              </a:spcAft>
            </a:pPr>
            <a:endParaRPr lang="en-US" sz="1900">
              <a:solidFill>
                <a:srgbClr val="676767"/>
              </a:solidFill>
              <a:ea typeface="ＭＳ Ｐゴシック" charset="0"/>
            </a:endParaRPr>
          </a:p>
        </p:txBody>
      </p:sp>
      <p:sp>
        <p:nvSpPr>
          <p:cNvPr id="3" name="Subtitle 2"/>
          <p:cNvSpPr>
            <a:spLocks noGrp="1"/>
          </p:cNvSpPr>
          <p:nvPr>
            <p:ph type="subTitle" idx="1" hasCustomPrompt="1"/>
          </p:nvPr>
        </p:nvSpPr>
        <p:spPr>
          <a:xfrm>
            <a:off x="666570" y="4279413"/>
            <a:ext cx="6246489" cy="384175"/>
          </a:xfrm>
          <a:prstGeom prst="rect">
            <a:avLst/>
          </a:prstGeom>
        </p:spPr>
        <p:txBody>
          <a:bodyPr vert="horz" lIns="91422" tIns="45714" rIns="91422" bIns="45714" rtlCol="0">
            <a:noAutofit/>
          </a:bodyPr>
          <a:lstStyle>
            <a:lvl1pPr marL="0" indent="0" algn="l" defTabSz="914217" rtl="0" eaLnBrk="1" latinLnBrk="0" hangingPunct="1">
              <a:lnSpc>
                <a:spcPct val="95000"/>
              </a:lnSpc>
              <a:spcBef>
                <a:spcPts val="1440"/>
              </a:spcBef>
              <a:buClr>
                <a:srgbClr val="92D050"/>
              </a:buClr>
              <a:buSzPct val="90000"/>
              <a:buFont typeface="Arial" pitchFamily="34" charset="0"/>
              <a:buNone/>
              <a:tabLst/>
              <a:defRPr lang="en-US" sz="2400" kern="1200" baseline="0" dirty="0">
                <a:solidFill>
                  <a:schemeClr val="accent3"/>
                </a:solidFill>
                <a:latin typeface="+mj-lt"/>
                <a:ea typeface="+mn-ea"/>
                <a:cs typeface="+mn-cs"/>
              </a:defRPr>
            </a:lvl1pPr>
            <a:lvl2pPr marL="457103"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7" indent="0" algn="ctr">
              <a:buNone/>
              <a:defRPr>
                <a:solidFill>
                  <a:schemeClr val="tx1">
                    <a:tint val="75000"/>
                  </a:schemeClr>
                </a:solidFill>
              </a:defRPr>
            </a:lvl5pPr>
            <a:lvl6pPr marL="2285542" indent="0" algn="ctr">
              <a:buNone/>
              <a:defRPr>
                <a:solidFill>
                  <a:schemeClr val="tx1">
                    <a:tint val="75000"/>
                  </a:schemeClr>
                </a:solidFill>
              </a:defRPr>
            </a:lvl6pPr>
            <a:lvl7pPr marL="2742654" indent="0" algn="ctr">
              <a:buNone/>
              <a:defRPr>
                <a:solidFill>
                  <a:schemeClr val="tx1">
                    <a:tint val="75000"/>
                  </a:schemeClr>
                </a:solidFill>
              </a:defRPr>
            </a:lvl7pPr>
            <a:lvl8pPr marL="3199760" indent="0" algn="ctr">
              <a:buNone/>
              <a:defRPr>
                <a:solidFill>
                  <a:schemeClr val="tx1">
                    <a:tint val="75000"/>
                  </a:schemeClr>
                </a:solidFill>
              </a:defRPr>
            </a:lvl8pPr>
            <a:lvl9pPr marL="3656871" indent="0" algn="ctr">
              <a:buNone/>
              <a:defRPr>
                <a:solidFill>
                  <a:schemeClr val="tx1">
                    <a:tint val="75000"/>
                  </a:schemeClr>
                </a:solidFill>
              </a:defRPr>
            </a:lvl9pPr>
          </a:lstStyle>
          <a:p>
            <a:pPr lvl="0"/>
            <a:r>
              <a:rPr lang="en-GB" dirty="0"/>
              <a:t>Presenter Name and Title Go Here</a:t>
            </a:r>
            <a:endParaRPr lang="en-US" dirty="0"/>
          </a:p>
        </p:txBody>
      </p:sp>
      <p:sp>
        <p:nvSpPr>
          <p:cNvPr id="2" name="Title 1"/>
          <p:cNvSpPr>
            <a:spLocks noGrp="1"/>
          </p:cNvSpPr>
          <p:nvPr>
            <p:ph type="ctrTitle" hasCustomPrompt="1"/>
          </p:nvPr>
        </p:nvSpPr>
        <p:spPr>
          <a:xfrm>
            <a:off x="612720" y="3282704"/>
            <a:ext cx="6283409" cy="1022351"/>
          </a:xfrm>
        </p:spPr>
        <p:txBody>
          <a:bodyPr lIns="82277" tIns="45714" rIns="82277" bIns="45714" rtlCol="0" anchor="b">
            <a:noAutofit/>
          </a:bodyPr>
          <a:lstStyle>
            <a:lvl1pPr marL="0" indent="0" algn="l" defTabSz="914217" rtl="0" eaLnBrk="1" latinLnBrk="0" hangingPunct="1">
              <a:lnSpc>
                <a:spcPct val="80000"/>
              </a:lnSpc>
              <a:spcBef>
                <a:spcPct val="0"/>
              </a:spcBef>
              <a:buClr>
                <a:schemeClr val="tx1"/>
              </a:buClr>
              <a:buFont typeface="Ciscolight" pitchFamily="2" charset="0"/>
              <a:buNone/>
              <a:defRPr lang="en-US" sz="6900" b="0" kern="1200" spc="0" baseline="0" dirty="0">
                <a:solidFill>
                  <a:srgbClr val="3E6BB4"/>
                </a:solidFill>
                <a:latin typeface="+mj-lt"/>
                <a:ea typeface="+mj-ea"/>
                <a:cs typeface="+mj-cs"/>
              </a:defRPr>
            </a:lvl1pPr>
          </a:lstStyle>
          <a:p>
            <a:r>
              <a:rPr lang="en-GB" dirty="0"/>
              <a:t>Demo Title</a:t>
            </a:r>
            <a:endParaRPr lang="en-US" dirty="0"/>
          </a:p>
        </p:txBody>
      </p:sp>
      <p:sp>
        <p:nvSpPr>
          <p:cNvPr id="31" name="Picture Placeholder 30"/>
          <p:cNvSpPr>
            <a:spLocks noGrp="1"/>
          </p:cNvSpPr>
          <p:nvPr>
            <p:ph type="pic" sz="quarter" idx="10"/>
          </p:nvPr>
        </p:nvSpPr>
        <p:spPr>
          <a:xfrm>
            <a:off x="7387191" y="1917701"/>
            <a:ext cx="3568700" cy="2889251"/>
          </a:xfrm>
          <a:prstGeom prst="rect">
            <a:avLst/>
          </a:prstGeom>
        </p:spPr>
        <p:txBody>
          <a:bodyPr lIns="121880" tIns="60940" rIns="121880" bIns="60940" anchor="ctr" anchorCtr="1"/>
          <a:lstStyle>
            <a:lvl1pPr marL="0" indent="0" algn="ctr">
              <a:buNone/>
              <a:defRPr>
                <a:solidFill>
                  <a:schemeClr val="accent3"/>
                </a:solidFill>
                <a:latin typeface="+mj-lt"/>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3289704404"/>
      </p:ext>
    </p:extLst>
  </p:cSld>
  <p:clrMapOvr>
    <a:masterClrMapping/>
  </p:clrMapOvr>
  <p:transition spd="slow">
    <p:wip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Segu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userDrawn="1"/>
        </p:nvSpPr>
        <p:spPr bwMode="ltGray">
          <a:xfrm>
            <a:off x="11354277" y="6323876"/>
            <a:ext cx="291219" cy="206024"/>
          </a:xfrm>
          <a:prstGeom prst="rect">
            <a:avLst/>
          </a:prstGeom>
          <a:noFill/>
          <a:ln w="9525" algn="ctr">
            <a:noFill/>
            <a:miter lim="800000"/>
            <a:headEnd/>
            <a:tailEnd/>
          </a:ln>
          <a:effectLst/>
        </p:spPr>
        <p:txBody>
          <a:bodyPr wrap="none" lIns="82105" tIns="41054" rIns="82105" bIns="41054" anchor="b">
            <a:spAutoFit/>
          </a:bodyPr>
          <a:lstStyle/>
          <a:p>
            <a:pPr algn="r" defTabSz="814225">
              <a:defRPr/>
            </a:pPr>
            <a:fld id="{4ABDCABE-3F10-B64C-92F1-862014417034}" type="slidenum">
              <a:rPr lang="en-US" sz="800">
                <a:solidFill>
                  <a:srgbClr val="FFFFFF">
                    <a:alpha val="60000"/>
                  </a:srgbClr>
                </a:solidFill>
                <a:ea typeface="ＭＳ Ｐゴシック" charset="0"/>
                <a:cs typeface="CiscoSans Thin"/>
              </a:rPr>
              <a:pPr algn="r" defTabSz="814225">
                <a:defRPr/>
              </a:pPr>
              <a:t>‹#›</a:t>
            </a:fld>
            <a:endParaRPr lang="en-US" sz="800" dirty="0">
              <a:solidFill>
                <a:srgbClr val="FFFFFF">
                  <a:alpha val="60000"/>
                </a:srgbClr>
              </a:solidFill>
              <a:ea typeface="ＭＳ Ｐゴシック" charset="0"/>
              <a:cs typeface="CiscoSans Thin"/>
            </a:endParaRPr>
          </a:p>
        </p:txBody>
      </p:sp>
      <p:sp>
        <p:nvSpPr>
          <p:cNvPr id="8" name="Rectangle 4"/>
          <p:cNvSpPr>
            <a:spLocks noChangeArrowheads="1"/>
          </p:cNvSpPr>
          <p:nvPr userDrawn="1"/>
        </p:nvSpPr>
        <p:spPr bwMode="ltGray">
          <a:xfrm>
            <a:off x="7823344" y="6322204"/>
            <a:ext cx="3544024" cy="206024"/>
          </a:xfrm>
          <a:prstGeom prst="rect">
            <a:avLst/>
          </a:prstGeom>
          <a:noFill/>
          <a:ln w="9525">
            <a:noFill/>
            <a:miter lim="800000"/>
            <a:headEnd/>
            <a:tailEnd/>
          </a:ln>
          <a:effectLst/>
        </p:spPr>
        <p:txBody>
          <a:bodyPr lIns="82105" tIns="41054" rIns="82105" bIns="41054" anchor="b">
            <a:spAutoFit/>
          </a:bodyPr>
          <a:lstStyle/>
          <a:p>
            <a:pPr defTabSz="814225">
              <a:defRPr/>
            </a:pPr>
            <a:r>
              <a:rPr lang="en-US" sz="800" dirty="0">
                <a:solidFill>
                  <a:srgbClr val="FFFFFF">
                    <a:alpha val="60000"/>
                  </a:srgbClr>
                </a:solidFill>
                <a:ea typeface="ＭＳ Ｐゴシック" charset="0"/>
                <a:cs typeface="CiscoSans Thin"/>
              </a:rPr>
              <a:t>© 2014  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632233" y="6167697"/>
            <a:ext cx="575083" cy="35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0617303"/>
      </p:ext>
    </p:extLst>
  </p:cSld>
  <p:clrMapOvr>
    <a:masterClrMapping/>
  </p:clrMapOvr>
  <p:transition spd="med">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18" tIns="45714" rIns="91418" bIns="45714" anchor="ctr"/>
          <a:lstStyle/>
          <a:p>
            <a:pPr defTabSz="609523" fontAlgn="base">
              <a:spcBef>
                <a:spcPct val="0"/>
              </a:spcBef>
              <a:spcAft>
                <a:spcPct val="0"/>
              </a:spcAft>
            </a:pPr>
            <a:endParaRPr lang="en-US" sz="1900">
              <a:solidFill>
                <a:srgbClr val="676767"/>
              </a:solidFill>
              <a:ea typeface="ＭＳ Ｐゴシック" charset="0"/>
            </a:endParaRPr>
          </a:p>
        </p:txBody>
      </p:sp>
      <p:sp>
        <p:nvSpPr>
          <p:cNvPr id="4" name="Rectangle 6"/>
          <p:cNvSpPr>
            <a:spLocks noChangeArrowheads="1"/>
          </p:cNvSpPr>
          <p:nvPr/>
        </p:nvSpPr>
        <p:spPr bwMode="hidden">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18" tIns="45714" rIns="91418" bIns="45714" anchor="ctr"/>
          <a:lstStyle/>
          <a:p>
            <a:pPr defTabSz="609523" fontAlgn="base">
              <a:spcBef>
                <a:spcPct val="0"/>
              </a:spcBef>
              <a:spcAft>
                <a:spcPct val="0"/>
              </a:spcAft>
            </a:pPr>
            <a:endParaRPr lang="en-US" sz="1900">
              <a:solidFill>
                <a:srgbClr val="676767"/>
              </a:solidFill>
              <a:ea typeface="ＭＳ Ｐゴシック" charset="0"/>
            </a:endParaRPr>
          </a:p>
        </p:txBody>
      </p:sp>
      <p:sp>
        <p:nvSpPr>
          <p:cNvPr id="7" name="Title 1"/>
          <p:cNvSpPr>
            <a:spLocks noGrp="1"/>
          </p:cNvSpPr>
          <p:nvPr>
            <p:ph type="ctrTitle" hasCustomPrompt="1"/>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00" b="0" i="0" spc="0" baseline="0">
                <a:solidFill>
                  <a:srgbClr val="3E6BB4"/>
                </a:solidFill>
                <a:latin typeface="+mj-lt"/>
                <a:cs typeface="CiscoSans Thin"/>
              </a:defRPr>
            </a:lvl1pPr>
          </a:lstStyle>
          <a:p>
            <a:r>
              <a:rPr lang="en-GB" dirty="0"/>
              <a:t>Section Title Goes Here</a:t>
            </a:r>
            <a:endParaRPr lang="en-US" dirty="0"/>
          </a:p>
        </p:txBody>
      </p:sp>
    </p:spTree>
    <p:extLst>
      <p:ext uri="{BB962C8B-B14F-4D97-AF65-F5344CB8AC3E}">
        <p14:creationId xmlns:p14="http://schemas.microsoft.com/office/powerpoint/2010/main" val="3725742651"/>
      </p:ext>
    </p:extLst>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632890" y="1797053"/>
            <a:ext cx="11040076" cy="4098595"/>
          </a:xfrm>
          <a:prstGeom prst="rect">
            <a:avLst/>
          </a:prstGeom>
        </p:spPr>
        <p:txBody>
          <a:bodyPr lIns="121880" tIns="60940" rIns="121880" bIns="60940">
            <a:noAutofit/>
          </a:bodyPr>
          <a:lstStyle>
            <a:lvl1pPr marL="380873" marR="0" indent="-380873" algn="ctr" defTabSz="609395" rtl="0" eaLnBrk="1" fontAlgn="auto" latinLnBrk="0" hangingPunct="1">
              <a:lnSpc>
                <a:spcPct val="100000"/>
              </a:lnSpc>
              <a:spcBef>
                <a:spcPct val="20000"/>
              </a:spcBef>
              <a:spcAft>
                <a:spcPts val="0"/>
              </a:spcAft>
              <a:buClrTx/>
              <a:buSzTx/>
              <a:buFont typeface="Arial"/>
              <a:buNone/>
              <a:tabLst/>
              <a:defRPr sz="2700"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583688" y="45509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5" tIns="60942" rIns="121885" bIns="6094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4092894207"/>
      </p:ext>
    </p:extLst>
  </p:cSld>
  <p:clrMapOvr>
    <a:masterClrMapping/>
  </p:clrMapOvr>
  <p:transition spd="med">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121880" tIns="60940" rIns="121880" bIns="60940">
            <a:noAutofit/>
          </a:bodyPr>
          <a:lstStyle>
            <a:lvl1pPr marL="374524" indent="-298351">
              <a:lnSpc>
                <a:spcPct val="95000"/>
              </a:lnSpc>
              <a:spcBef>
                <a:spcPts val="1480"/>
              </a:spcBef>
              <a:buClr>
                <a:schemeClr val="tx1"/>
              </a:buClr>
              <a:buSzPct val="80000"/>
              <a:buFont typeface="Arial"/>
              <a:buChar char="•"/>
              <a:defRPr sz="4900" b="0" i="0">
                <a:solidFill>
                  <a:srgbClr val="676767"/>
                </a:solidFill>
                <a:latin typeface="+mn-lt"/>
                <a:cs typeface="CiscoSans ExtraLight"/>
              </a:defRPr>
            </a:lvl1pPr>
            <a:lvl2pPr marL="677110" indent="-287767">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622" indent="-228526">
              <a:buClr>
                <a:schemeClr val="tx1"/>
              </a:buClr>
              <a:buSzPct val="80000"/>
              <a:buFont typeface="Arial"/>
              <a:buChar char="•"/>
              <a:defRPr sz="2100" b="0" i="0">
                <a:solidFill>
                  <a:srgbClr val="676767"/>
                </a:solidFill>
                <a:latin typeface="+mn-lt"/>
                <a:cs typeface="CiscoSans ExtraLight"/>
              </a:defRPr>
            </a:lvl3pPr>
            <a:lvl4pPr marL="1214562" indent="-228526">
              <a:buClr>
                <a:schemeClr val="tx1"/>
              </a:buClr>
              <a:buSzPct val="80000"/>
              <a:buFont typeface="Arial"/>
              <a:buChar char="•"/>
              <a:defRPr sz="1900" b="0" i="0">
                <a:solidFill>
                  <a:srgbClr val="676767"/>
                </a:solidFill>
                <a:latin typeface="+mn-lt"/>
                <a:cs typeface="CiscoSans ExtraLight"/>
              </a:defRPr>
            </a:lvl4pPr>
            <a:lvl5pPr marL="1443087" indent="-224293">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9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5" tIns="60942" rIns="121885" bIns="6094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463892764"/>
      </p:ext>
    </p:extLst>
  </p:cSld>
  <p:clrMapOvr>
    <a:masterClrMapping/>
  </p:clrMapOvr>
  <p:transition spd="med">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121880" tIns="60940" rIns="121880" bIns="60940">
            <a:noAutofit/>
          </a:bodyPr>
          <a:lstStyle>
            <a:lvl1pPr marL="76171" indent="0">
              <a:lnSpc>
                <a:spcPct val="95000"/>
              </a:lnSpc>
              <a:spcBef>
                <a:spcPts val="1480"/>
              </a:spcBef>
              <a:buClr>
                <a:schemeClr val="tx1"/>
              </a:buClr>
              <a:buSzPct val="80000"/>
              <a:buFont typeface="Arial"/>
              <a:buNone/>
              <a:defRPr sz="4900" b="0" i="0">
                <a:solidFill>
                  <a:srgbClr val="676767"/>
                </a:solidFill>
                <a:latin typeface="+mn-lt"/>
                <a:cs typeface="CiscoSans ExtraLight"/>
              </a:defRPr>
            </a:lvl1pPr>
            <a:lvl2pPr marL="389340"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091" indent="0">
              <a:buClr>
                <a:schemeClr val="tx1"/>
              </a:buClr>
              <a:buSzPct val="80000"/>
              <a:buFont typeface="Arial"/>
              <a:buNone/>
              <a:defRPr sz="2100" b="0" i="0">
                <a:solidFill>
                  <a:srgbClr val="676767"/>
                </a:solidFill>
                <a:latin typeface="+mn-lt"/>
                <a:cs typeface="CiscoSans ExtraLight"/>
              </a:defRPr>
            </a:lvl3pPr>
            <a:lvl4pPr marL="986038" indent="0">
              <a:buClr>
                <a:schemeClr val="tx1"/>
              </a:buClr>
              <a:buSzPct val="80000"/>
              <a:buFont typeface="Arial"/>
              <a:buNone/>
              <a:defRPr sz="1900" b="0" i="0">
                <a:solidFill>
                  <a:srgbClr val="676767"/>
                </a:solidFill>
                <a:latin typeface="+mn-lt"/>
                <a:cs typeface="CiscoSans ExtraLight"/>
              </a:defRPr>
            </a:lvl4pPr>
            <a:lvl5pPr marL="1218796"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9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5" tIns="60942" rIns="121885" bIns="6094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806305437"/>
      </p:ext>
    </p:extLst>
  </p:cSld>
  <p:clrMapOvr>
    <a:masterClrMapping/>
  </p:clrMapOvr>
  <p:transition spd="med">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19566" y="1194135"/>
            <a:ext cx="11198319" cy="4224280"/>
          </a:xfrm>
          <a:prstGeom prst="rect">
            <a:avLst/>
          </a:prstGeom>
        </p:spPr>
        <p:txBody>
          <a:bodyPr lIns="121880" tIns="60940" rIns="121880" bIns="60940">
            <a:noAutofit/>
          </a:bodyPr>
          <a:lstStyle>
            <a:lvl1pPr marL="76171" indent="0">
              <a:lnSpc>
                <a:spcPct val="95000"/>
              </a:lnSpc>
              <a:spcBef>
                <a:spcPts val="1480"/>
              </a:spcBef>
              <a:buClr>
                <a:schemeClr val="tx1"/>
              </a:buClr>
              <a:buSzPct val="80000"/>
              <a:buFont typeface="Arial"/>
              <a:buNone/>
              <a:defRPr sz="4900" b="0" i="0">
                <a:solidFill>
                  <a:srgbClr val="676767"/>
                </a:solidFill>
                <a:latin typeface="+mn-lt"/>
                <a:cs typeface="CiscoSans ExtraLight"/>
              </a:defRPr>
            </a:lvl1pPr>
            <a:lvl2pPr marL="389340"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091" indent="0">
              <a:buClr>
                <a:schemeClr val="tx1"/>
              </a:buClr>
              <a:buSzPct val="80000"/>
              <a:buFont typeface="Arial"/>
              <a:buNone/>
              <a:defRPr sz="2100" b="0" i="0">
                <a:solidFill>
                  <a:srgbClr val="676767"/>
                </a:solidFill>
                <a:latin typeface="+mn-lt"/>
                <a:cs typeface="CiscoSans ExtraLight"/>
              </a:defRPr>
            </a:lvl3pPr>
            <a:lvl4pPr marL="986038" indent="0">
              <a:buClr>
                <a:schemeClr val="tx1"/>
              </a:buClr>
              <a:buSzPct val="80000"/>
              <a:buFont typeface="Arial"/>
              <a:buNone/>
              <a:defRPr sz="1900" b="0" i="0">
                <a:solidFill>
                  <a:srgbClr val="676767"/>
                </a:solidFill>
                <a:latin typeface="+mn-lt"/>
                <a:cs typeface="CiscoSans ExtraLight"/>
              </a:defRPr>
            </a:lvl4pPr>
            <a:lvl5pPr marL="1218796"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428946354"/>
      </p:ext>
    </p:extLst>
  </p:cSld>
  <p:clrMapOvr>
    <a:masterClrMapping/>
  </p:clrMapOvr>
  <p:transition spd="med">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04852" y="1168479"/>
            <a:ext cx="11013016" cy="4224280"/>
          </a:xfrm>
          <a:prstGeom prst="rect">
            <a:avLst/>
          </a:prstGeom>
        </p:spPr>
        <p:txBody>
          <a:bodyPr lIns="121880" tIns="60940" rIns="121880" bIns="60940">
            <a:noAutofit/>
          </a:bodyPr>
          <a:lstStyle>
            <a:lvl1pPr marL="283166" indent="-523138">
              <a:lnSpc>
                <a:spcPts val="5920"/>
              </a:lnSpc>
              <a:spcBef>
                <a:spcPts val="0"/>
              </a:spcBef>
              <a:buClr>
                <a:schemeClr val="tx1"/>
              </a:buClr>
              <a:buSzPct val="80000"/>
              <a:buFont typeface="Arial"/>
              <a:buChar char="•"/>
              <a:defRPr sz="4900" b="0" i="0">
                <a:solidFill>
                  <a:srgbClr val="676767"/>
                </a:solidFill>
                <a:latin typeface="+mn-lt"/>
                <a:cs typeface="CiscoSans ExtraLight"/>
              </a:defRPr>
            </a:lvl1pPr>
            <a:lvl2pPr marL="677110" indent="-287767">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622" indent="-228526">
              <a:buClr>
                <a:schemeClr val="tx1"/>
              </a:buClr>
              <a:buSzPct val="80000"/>
              <a:buFont typeface="Arial"/>
              <a:buChar char="•"/>
              <a:defRPr sz="2100" b="0" i="0">
                <a:solidFill>
                  <a:srgbClr val="676767"/>
                </a:solidFill>
                <a:latin typeface="+mn-lt"/>
                <a:cs typeface="CiscoSans ExtraLight"/>
              </a:defRPr>
            </a:lvl3pPr>
            <a:lvl4pPr marL="1214562" indent="-228526">
              <a:buClr>
                <a:schemeClr val="tx1"/>
              </a:buClr>
              <a:buSzPct val="80000"/>
              <a:buFont typeface="Arial"/>
              <a:buChar char="•"/>
              <a:defRPr sz="1900" b="0" i="0">
                <a:solidFill>
                  <a:srgbClr val="676767"/>
                </a:solidFill>
                <a:latin typeface="+mn-lt"/>
                <a:cs typeface="CiscoSans ExtraLight"/>
              </a:defRPr>
            </a:lvl4pPr>
            <a:lvl5pPr marL="1443087" indent="-224293">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1043571420"/>
      </p:ext>
    </p:extLst>
  </p:cSld>
  <p:clrMapOvr>
    <a:masterClrMapping/>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797051"/>
            <a:ext cx="11036459" cy="4224280"/>
          </a:xfrm>
          <a:prstGeom prst="rect">
            <a:avLst/>
          </a:prstGeom>
        </p:spPr>
        <p:txBody>
          <a:bodyPr lIns="121880" tIns="60940" rIns="121880" bIns="60940">
            <a:noAutofit/>
          </a:bodyPr>
          <a:lstStyle>
            <a:lvl1pPr marL="374524" indent="-298351">
              <a:lnSpc>
                <a:spcPct val="95000"/>
              </a:lnSpc>
              <a:spcBef>
                <a:spcPts val="1480"/>
              </a:spcBef>
              <a:buClr>
                <a:schemeClr val="tx1"/>
              </a:buClr>
              <a:buSzPct val="80000"/>
              <a:buFont typeface="Arial"/>
              <a:buChar char="•"/>
              <a:defRPr sz="2700" b="0" i="0">
                <a:solidFill>
                  <a:srgbClr val="676767"/>
                </a:solidFill>
                <a:latin typeface="+mn-lt"/>
                <a:cs typeface="CiscoSans ExtraLight"/>
              </a:defRPr>
            </a:lvl1pPr>
            <a:lvl2pPr marL="677110" indent="-287767">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622" indent="-228526">
              <a:buClr>
                <a:schemeClr val="tx1"/>
              </a:buClr>
              <a:buSzPct val="80000"/>
              <a:buFont typeface="Arial"/>
              <a:buChar char="•"/>
              <a:defRPr sz="2100" b="0" i="0">
                <a:solidFill>
                  <a:srgbClr val="676767"/>
                </a:solidFill>
                <a:latin typeface="+mn-lt"/>
                <a:cs typeface="CiscoSans ExtraLight"/>
              </a:defRPr>
            </a:lvl3pPr>
            <a:lvl4pPr marL="1214562" indent="-228526">
              <a:buClr>
                <a:schemeClr val="tx1"/>
              </a:buClr>
              <a:buSzPct val="80000"/>
              <a:buFont typeface="Arial"/>
              <a:buChar char="•"/>
              <a:defRPr sz="1900" b="0" i="0">
                <a:solidFill>
                  <a:srgbClr val="676767"/>
                </a:solidFill>
                <a:latin typeface="+mn-lt"/>
                <a:cs typeface="CiscoSans ExtraLight"/>
              </a:defRPr>
            </a:lvl4pPr>
            <a:lvl5pPr marL="1443087" indent="-224293">
              <a:buClr>
                <a:schemeClr val="tx1"/>
              </a:buClr>
              <a:buSzPct val="80000"/>
              <a:buFont typeface="Arial"/>
              <a:buChar char="•"/>
              <a:defRPr sz="16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9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5" tIns="60942" rIns="121885" bIns="6094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319703666"/>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624417" y="5221411"/>
            <a:ext cx="10389144" cy="465808"/>
          </a:xfrm>
          <a:prstGeom prst="rect">
            <a:avLst/>
          </a:prstGeom>
        </p:spPr>
        <p:txBody>
          <a:bodyPr wrap="square" lIns="91412" tIns="45710" rIns="91412" bIns="45710" anchor="b" anchorCtr="0">
            <a:noAutofit/>
          </a:bodyPr>
          <a:lstStyle>
            <a:lvl1pPr marL="0" indent="0" algn="l" defTabSz="804667">
              <a:lnSpc>
                <a:spcPct val="100000"/>
              </a:lnSpc>
              <a:spcBef>
                <a:spcPct val="50000"/>
              </a:spcBef>
              <a:buNone/>
              <a:defRPr sz="29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Click to edit text </a:t>
            </a:r>
          </a:p>
        </p:txBody>
      </p:sp>
      <p:sp>
        <p:nvSpPr>
          <p:cNvPr id="4" name="Title 1"/>
          <p:cNvSpPr>
            <a:spLocks noGrp="1"/>
          </p:cNvSpPr>
          <p:nvPr>
            <p:ph type="ctrTitle" hasCustomPrompt="1"/>
          </p:nvPr>
        </p:nvSpPr>
        <p:spPr>
          <a:xfrm>
            <a:off x="383897" y="2054074"/>
            <a:ext cx="10629664" cy="3038449"/>
          </a:xfrm>
          <a:prstGeom prst="rect">
            <a:avLst/>
          </a:prstGeom>
        </p:spPr>
        <p:txBody>
          <a:bodyPr anchor="ctr">
            <a:noAutofit/>
          </a:bodyPr>
          <a:lstStyle>
            <a:lvl1pPr marL="244771" indent="-533224" algn="l">
              <a:lnSpc>
                <a:spcPct val="90000"/>
              </a:lnSpc>
              <a:defRPr sz="6100"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334007456"/>
      </p:ext>
    </p:extLst>
  </p:cSld>
  <p:clrMapOvr>
    <a:masterClrMapping/>
  </p:clrMapOvr>
  <p:transition spd="med">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583708" y="1797051"/>
            <a:ext cx="5201497" cy="4110792"/>
          </a:xfrm>
          <a:prstGeom prst="rect">
            <a:avLst/>
          </a:prstGeom>
        </p:spPr>
        <p:txBody>
          <a:bodyPr lIns="121880" tIns="60940" rIns="121880" bIns="60940">
            <a:noAutofit/>
          </a:bodyPr>
          <a:lstStyle>
            <a:lvl1pPr marL="304700" indent="-228526">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95" indent="-287767">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26" indent="-228526">
              <a:buClr>
                <a:schemeClr val="tx1"/>
              </a:buClr>
              <a:buSzPct val="80000"/>
              <a:buFont typeface="Arial"/>
              <a:buChar char="•"/>
              <a:defRPr sz="2100" b="0" i="0">
                <a:solidFill>
                  <a:schemeClr val="tx1"/>
                </a:solidFill>
                <a:latin typeface="+mn-lt"/>
                <a:cs typeface="CiscoSans ExtraLight"/>
              </a:defRPr>
            </a:lvl3pPr>
            <a:lvl4pPr marL="1066445" indent="-228526">
              <a:buClr>
                <a:schemeClr val="tx1"/>
              </a:buClr>
              <a:buSzPct val="80000"/>
              <a:buFont typeface="Arial"/>
              <a:buChar char="•"/>
              <a:defRPr sz="1900" b="0" i="0">
                <a:solidFill>
                  <a:schemeClr val="tx1"/>
                </a:solidFill>
                <a:latin typeface="+mn-lt"/>
                <a:cs typeface="CiscoSans ExtraLight"/>
              </a:defRPr>
            </a:lvl4pPr>
            <a:lvl5pPr marL="1294969" indent="-228526">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6086392" y="1797051"/>
            <a:ext cx="5624613" cy="4110792"/>
          </a:xfrm>
          <a:prstGeom prst="rect">
            <a:avLst/>
          </a:prstGeom>
        </p:spPr>
        <p:txBody>
          <a:bodyPr lIns="121880" tIns="60940" rIns="121880" bIns="60940">
            <a:noAutofit/>
          </a:bodyPr>
          <a:lstStyle>
            <a:lvl1pPr marL="304700" indent="-228526">
              <a:lnSpc>
                <a:spcPct val="95000"/>
              </a:lnSpc>
              <a:spcBef>
                <a:spcPts val="1480"/>
              </a:spcBef>
              <a:buClr>
                <a:schemeClr val="tx1"/>
              </a:buClr>
              <a:buSzPct val="80000"/>
              <a:buFont typeface="Arial"/>
              <a:buChar char="•"/>
              <a:defRPr sz="2700" b="0" i="0" baseline="0">
                <a:solidFill>
                  <a:schemeClr val="tx1"/>
                </a:solidFill>
                <a:latin typeface="+mn-lt"/>
                <a:cs typeface="CiscoSans ExtraLight"/>
              </a:defRPr>
            </a:lvl1pPr>
            <a:lvl2pPr marL="609395" indent="-287767">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26" indent="-228526">
              <a:buClr>
                <a:schemeClr val="tx1"/>
              </a:buClr>
              <a:buSzPct val="80000"/>
              <a:buFont typeface="Arial"/>
              <a:buChar char="•"/>
              <a:defRPr sz="2100" b="0" i="0">
                <a:solidFill>
                  <a:schemeClr val="tx1"/>
                </a:solidFill>
                <a:latin typeface="+mn-lt"/>
                <a:cs typeface="CiscoSans ExtraLight"/>
              </a:defRPr>
            </a:lvl3pPr>
            <a:lvl4pPr marL="1066445" indent="-228526">
              <a:buClr>
                <a:schemeClr val="tx1"/>
              </a:buClr>
              <a:buSzPct val="80000"/>
              <a:buFont typeface="Arial"/>
              <a:buChar char="•"/>
              <a:defRPr sz="1900" b="0" i="0">
                <a:solidFill>
                  <a:schemeClr val="tx1"/>
                </a:solidFill>
                <a:latin typeface="+mn-lt"/>
                <a:cs typeface="CiscoSans ExtraLight"/>
              </a:defRPr>
            </a:lvl4pPr>
            <a:lvl5pPr marL="1294969" indent="-228526">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583688" y="45509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5" tIns="60942" rIns="121885" bIns="6094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737329339"/>
      </p:ext>
    </p:extLst>
  </p:cSld>
  <p:clrMapOvr>
    <a:masterClrMapping/>
  </p:clrMapOvr>
  <p:transition spd="med">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6087960" y="812811"/>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919" y="403352"/>
            <a:ext cx="4954660" cy="1101929"/>
          </a:xfrm>
          <a:prstGeom prst="rect">
            <a:avLst/>
          </a:prstGeom>
        </p:spPr>
        <p:txBody>
          <a:bodyPr lIns="82273" tIns="45714" rIns="82273" bIns="45714" rtlCol="0">
            <a:noAutofit/>
          </a:bodyPr>
          <a:lstStyle>
            <a:lvl1pPr algn="l" defTabSz="914180" rtl="0" eaLnBrk="1" latinLnBrk="0" hangingPunct="1">
              <a:lnSpc>
                <a:spcPct val="80000"/>
              </a:lnSpc>
              <a:spcBef>
                <a:spcPct val="0"/>
              </a:spcBef>
              <a:buNone/>
              <a:defRPr lang="en-US" sz="4300" b="0" i="0" kern="1200" spc="-100"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6541299" y="403341"/>
            <a:ext cx="4954660" cy="1101928"/>
          </a:xfrm>
          <a:prstGeom prst="rect">
            <a:avLst/>
          </a:prstGeom>
        </p:spPr>
        <p:txBody>
          <a:bodyPr lIns="121880" tIns="60940" rIns="121880" bIns="60940" anchor="ctr" anchorCtr="0">
            <a:noAutofit/>
          </a:bodyPr>
          <a:lstStyle>
            <a:lvl1pPr marL="0" marR="0" indent="0" algn="l" defTabSz="914180" rtl="0" eaLnBrk="1" fontAlgn="auto" latinLnBrk="0" hangingPunct="1">
              <a:lnSpc>
                <a:spcPct val="80000"/>
              </a:lnSpc>
              <a:spcBef>
                <a:spcPct val="0"/>
              </a:spcBef>
              <a:spcAft>
                <a:spcPts val="0"/>
              </a:spcAft>
              <a:buClrTx/>
              <a:buSzTx/>
              <a:buFontTx/>
              <a:buNone/>
              <a:tabLst/>
              <a:defRPr lang="en-US" sz="4300" b="0" i="0" kern="1200" spc="-100"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623919" y="1797051"/>
            <a:ext cx="4954660" cy="4110792"/>
          </a:xfrm>
          <a:prstGeom prst="rect">
            <a:avLst/>
          </a:prstGeom>
        </p:spPr>
        <p:txBody>
          <a:bodyPr lIns="121880" tIns="60940" rIns="121880" bIns="60940">
            <a:noAutofit/>
          </a:bodyPr>
          <a:lstStyle>
            <a:lvl1pPr marL="304700" indent="-228526">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95" indent="-287767">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26" indent="-228526">
              <a:buClr>
                <a:schemeClr val="tx1"/>
              </a:buClr>
              <a:buSzPct val="80000"/>
              <a:buFont typeface="Arial"/>
              <a:buChar char="•"/>
              <a:defRPr sz="2100" b="0" i="0">
                <a:solidFill>
                  <a:schemeClr val="tx1"/>
                </a:solidFill>
                <a:latin typeface="+mn-lt"/>
                <a:cs typeface="CiscoSans ExtraLight"/>
              </a:defRPr>
            </a:lvl3pPr>
            <a:lvl4pPr marL="1066445" indent="-228526">
              <a:buClr>
                <a:schemeClr val="tx1"/>
              </a:buClr>
              <a:buSzPct val="80000"/>
              <a:buFont typeface="Arial"/>
              <a:buChar char="•"/>
              <a:defRPr sz="1900" b="0" i="0">
                <a:solidFill>
                  <a:schemeClr val="tx1"/>
                </a:solidFill>
                <a:latin typeface="+mn-lt"/>
                <a:cs typeface="CiscoSans ExtraLight"/>
              </a:defRPr>
            </a:lvl4pPr>
            <a:lvl5pPr marL="1294969" indent="-228526">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6541299" y="1797051"/>
            <a:ext cx="4954660" cy="4110792"/>
          </a:xfrm>
          <a:prstGeom prst="rect">
            <a:avLst/>
          </a:prstGeom>
        </p:spPr>
        <p:txBody>
          <a:bodyPr lIns="121880" tIns="60940" rIns="121880" bIns="60940">
            <a:noAutofit/>
          </a:bodyPr>
          <a:lstStyle>
            <a:lvl1pPr marL="304700" indent="-228526">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95" indent="-287767">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26" indent="-228526">
              <a:buClr>
                <a:schemeClr val="tx1"/>
              </a:buClr>
              <a:buSzPct val="80000"/>
              <a:buFont typeface="Arial"/>
              <a:buChar char="•"/>
              <a:defRPr sz="2100" b="0" i="0">
                <a:solidFill>
                  <a:schemeClr val="tx1"/>
                </a:solidFill>
                <a:latin typeface="+mn-lt"/>
                <a:cs typeface="CiscoSans ExtraLight"/>
              </a:defRPr>
            </a:lvl3pPr>
            <a:lvl4pPr marL="1066445" indent="-228526">
              <a:buClr>
                <a:schemeClr val="tx1"/>
              </a:buClr>
              <a:buSzPct val="80000"/>
              <a:buFont typeface="Arial"/>
              <a:buChar char="•"/>
              <a:defRPr sz="1900" b="0" i="0">
                <a:solidFill>
                  <a:schemeClr val="tx1"/>
                </a:solidFill>
                <a:latin typeface="+mn-lt"/>
                <a:cs typeface="CiscoSans ExtraLight"/>
              </a:defRPr>
            </a:lvl4pPr>
            <a:lvl5pPr marL="1294969" indent="-228526">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742844848"/>
      </p:ext>
    </p:extLst>
  </p:cSld>
  <p:clrMapOvr>
    <a:masterClrMapping/>
  </p:clrMapOvr>
  <p:transition spd="med">
    <p:fade/>
  </p:transition>
  <p:hf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4093633" y="812811"/>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49684" y="812811"/>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615970" y="304437"/>
            <a:ext cx="3116145" cy="1027281"/>
          </a:xfrm>
          <a:prstGeom prst="rect">
            <a:avLst/>
          </a:prstGeom>
        </p:spPr>
        <p:txBody>
          <a:bodyPr lIns="121880" tIns="60940" rIns="121880" bIns="60940" anchor="b" anchorCtr="0">
            <a:noAutofit/>
          </a:bodyPr>
          <a:lstStyle>
            <a:lvl1pPr marL="0" marR="0" indent="0" algn="l" defTabSz="914180"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4503657" y="303797"/>
            <a:ext cx="3116145" cy="1027281"/>
          </a:xfrm>
          <a:prstGeom prst="rect">
            <a:avLst/>
          </a:prstGeom>
        </p:spPr>
        <p:txBody>
          <a:bodyPr lIns="121880" tIns="60940" rIns="121880" bIns="60940" anchor="b" anchorCtr="0">
            <a:noAutofit/>
          </a:bodyPr>
          <a:lstStyle>
            <a:lvl1pPr marL="0" marR="0" indent="0" algn="l" defTabSz="914180"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8473104" y="293984"/>
            <a:ext cx="3116145" cy="1027281"/>
          </a:xfrm>
          <a:prstGeom prst="rect">
            <a:avLst/>
          </a:prstGeom>
        </p:spPr>
        <p:txBody>
          <a:bodyPr lIns="121880" tIns="60940" rIns="121880" bIns="60940" anchor="b" anchorCtr="0">
            <a:noAutofit/>
          </a:bodyPr>
          <a:lstStyle>
            <a:lvl1pPr marL="0" marR="0" indent="0" algn="l" defTabSz="914180"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615953" y="1601459"/>
            <a:ext cx="3116147" cy="4419872"/>
          </a:xfrm>
          <a:prstGeom prst="rect">
            <a:avLst/>
          </a:prstGeom>
        </p:spPr>
        <p:txBody>
          <a:bodyPr lIns="121880" tIns="60940" rIns="121880" bIns="60940">
            <a:noAutofit/>
          </a:bodyPr>
          <a:lstStyle>
            <a:lvl1pPr marL="311048" indent="-228526">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810" indent="-228526">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4503637" y="1600428"/>
            <a:ext cx="3116147" cy="4419872"/>
          </a:xfrm>
          <a:prstGeom prst="rect">
            <a:avLst/>
          </a:prstGeom>
        </p:spPr>
        <p:txBody>
          <a:bodyPr lIns="121880" tIns="60940" rIns="121880" bIns="60940">
            <a:noAutofit/>
          </a:bodyPr>
          <a:lstStyle>
            <a:lvl1pPr marL="311048" indent="-228526">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810" indent="-228526">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8473085" y="1600428"/>
            <a:ext cx="3116147" cy="4419872"/>
          </a:xfrm>
          <a:prstGeom prst="rect">
            <a:avLst/>
          </a:prstGeom>
        </p:spPr>
        <p:txBody>
          <a:bodyPr lIns="121880" tIns="60940" rIns="121880" bIns="60940">
            <a:noAutofit/>
          </a:bodyPr>
          <a:lstStyle>
            <a:lvl1pPr marL="311048" indent="-228526">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810" indent="-228526">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503925858"/>
      </p:ext>
    </p:extLst>
  </p:cSld>
  <p:clrMapOvr>
    <a:masterClrMapping/>
  </p:clrMapOvr>
  <p:transition spd="med">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6760647" y="1773768"/>
            <a:ext cx="4950372" cy="413596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80" tIns="60940" rIns="121880" bIns="60940" anchor="ctr"/>
          <a:lstStyle/>
          <a:p>
            <a:pPr algn="ctr" defTabSz="609523">
              <a:defRPr/>
            </a:pPr>
            <a:endParaRPr lang="en-US" sz="1900">
              <a:solidFill>
                <a:srgbClr val="FFFFFF"/>
              </a:solidFill>
            </a:endParaRPr>
          </a:p>
        </p:txBody>
      </p:sp>
      <p:sp>
        <p:nvSpPr>
          <p:cNvPr id="12" name="Text Placeholder 11"/>
          <p:cNvSpPr>
            <a:spLocks noGrp="1"/>
          </p:cNvSpPr>
          <p:nvPr>
            <p:ph type="body" sz="quarter" idx="11" hasCustomPrompt="1"/>
          </p:nvPr>
        </p:nvSpPr>
        <p:spPr>
          <a:xfrm>
            <a:off x="6864941" y="1975668"/>
            <a:ext cx="4501216" cy="2212024"/>
          </a:xfrm>
          <a:prstGeom prst="rect">
            <a:avLst/>
          </a:prstGeom>
        </p:spPr>
        <p:txBody>
          <a:bodyPr lIns="121880" tIns="60940" rIns="121880" bIns="60940">
            <a:noAutofit/>
          </a:bodyPr>
          <a:lstStyle>
            <a:lvl1pPr marL="114277" indent="-114277" algn="l" defTabSz="914180" rtl="0" eaLnBrk="1" latinLnBrk="0" hangingPunct="1">
              <a:lnSpc>
                <a:spcPct val="90000"/>
              </a:lnSpc>
              <a:spcBef>
                <a:spcPts val="0"/>
              </a:spcBef>
              <a:buNone/>
              <a:defRPr lang="en-US" sz="2000" kern="1200" baseline="0" dirty="0" smtClean="0">
                <a:solidFill>
                  <a:schemeClr val="tx2"/>
                </a:solidFill>
                <a:latin typeface="+mn-lt"/>
                <a:ea typeface="+mn-ea"/>
                <a:cs typeface="CiscoSans ExtraLight"/>
              </a:defRPr>
            </a:lvl1pPr>
            <a:lvl2pPr marL="114277" indent="-114277" algn="l" defTabSz="914180" rtl="0" eaLnBrk="1" latinLnBrk="0" hangingPunct="1">
              <a:defRPr lang="en-US" sz="2000" kern="1200" dirty="0" smtClean="0">
                <a:solidFill>
                  <a:schemeClr val="accent2"/>
                </a:solidFill>
                <a:latin typeface="Ciscolight" pitchFamily="2" charset="0"/>
                <a:ea typeface="+mn-ea"/>
                <a:cs typeface="+mn-cs"/>
              </a:defRPr>
            </a:lvl2pPr>
            <a:lvl3pPr marL="114277" indent="-114277" algn="l" defTabSz="914180" rtl="0" eaLnBrk="1" latinLnBrk="0" hangingPunct="1">
              <a:defRPr lang="en-US" sz="2000" kern="1200" dirty="0" smtClean="0">
                <a:solidFill>
                  <a:schemeClr val="accent2"/>
                </a:solidFill>
                <a:latin typeface="Ciscolight" pitchFamily="2" charset="0"/>
                <a:ea typeface="+mn-ea"/>
                <a:cs typeface="+mn-cs"/>
              </a:defRPr>
            </a:lvl3pPr>
            <a:lvl4pPr marL="114277" indent="-114277" algn="l" defTabSz="914180" rtl="0" eaLnBrk="1" latinLnBrk="0" hangingPunct="1">
              <a:defRPr lang="en-US" sz="2000" kern="1200" dirty="0" smtClean="0">
                <a:solidFill>
                  <a:schemeClr val="accent2"/>
                </a:solidFill>
                <a:latin typeface="Ciscolight" pitchFamily="2" charset="0"/>
                <a:ea typeface="+mn-ea"/>
                <a:cs typeface="+mn-cs"/>
              </a:defRPr>
            </a:lvl4pPr>
            <a:lvl5pPr marL="114277" indent="-114277" algn="l" defTabSz="914180" rtl="0" eaLnBrk="1" latinLnBrk="0" hangingPunct="1">
              <a:defRPr lang="en-US" sz="20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6864950" y="4736592"/>
            <a:ext cx="4674993" cy="338328"/>
          </a:xfrm>
          <a:prstGeom prst="rect">
            <a:avLst/>
          </a:prstGeom>
        </p:spPr>
        <p:txBody>
          <a:bodyPr lIns="121880" tIns="60940" rIns="121880" bIns="60940">
            <a:noAutofit/>
          </a:bodyPr>
          <a:lstStyle>
            <a:lvl1pPr marL="0" indent="0">
              <a:buClr>
                <a:schemeClr val="tx2"/>
              </a:buClr>
              <a:buFontTx/>
              <a:buNone/>
              <a:defRPr sz="16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583708" y="1797051"/>
            <a:ext cx="5201497" cy="4110792"/>
          </a:xfrm>
          <a:prstGeom prst="rect">
            <a:avLst/>
          </a:prstGeom>
        </p:spPr>
        <p:txBody>
          <a:bodyPr lIns="121880" tIns="60940" rIns="121880" bIns="60940">
            <a:noAutofit/>
          </a:bodyPr>
          <a:lstStyle>
            <a:lvl1pPr marL="304700" indent="-228526">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95" indent="-287767">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26" indent="-228526">
              <a:buClr>
                <a:schemeClr val="tx1"/>
              </a:buClr>
              <a:buSzPct val="80000"/>
              <a:buFont typeface="Arial"/>
              <a:buChar char="•"/>
              <a:defRPr sz="2100" b="0" i="0">
                <a:solidFill>
                  <a:schemeClr val="tx1"/>
                </a:solidFill>
                <a:latin typeface="+mn-lt"/>
                <a:cs typeface="CiscoSans ExtraLight"/>
              </a:defRPr>
            </a:lvl3pPr>
            <a:lvl4pPr marL="1066445" indent="-228526">
              <a:buClr>
                <a:schemeClr val="tx1"/>
              </a:buClr>
              <a:buSzPct val="80000"/>
              <a:buFont typeface="Arial"/>
              <a:buChar char="•"/>
              <a:defRPr sz="1900" b="0" i="0">
                <a:solidFill>
                  <a:schemeClr val="tx1"/>
                </a:solidFill>
                <a:latin typeface="+mn-lt"/>
                <a:cs typeface="CiscoSans ExtraLight"/>
              </a:defRPr>
            </a:lvl4pPr>
            <a:lvl5pPr marL="1294969" indent="-228526">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583688" y="45509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5" tIns="60942" rIns="121885" bIns="6094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423831395"/>
      </p:ext>
    </p:extLst>
  </p:cSld>
  <p:clrMapOvr>
    <a:masterClrMapping/>
  </p:clrMapOvr>
  <p:transition spd="med">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9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5" tIns="60942" rIns="121885" bIns="6094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318233281"/>
      </p:ext>
    </p:extLst>
  </p:cSld>
  <p:clrMapOvr>
    <a:masterClrMapping/>
  </p:clrMapOvr>
  <p:transition spd="med">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624417" y="5221411"/>
            <a:ext cx="10389144" cy="465808"/>
          </a:xfrm>
          <a:prstGeom prst="rect">
            <a:avLst/>
          </a:prstGeom>
        </p:spPr>
        <p:txBody>
          <a:bodyPr wrap="square" lIns="121880" tIns="60940" rIns="121880" bIns="60940" anchor="b" anchorCtr="0">
            <a:noAutofit/>
          </a:bodyPr>
          <a:lstStyle>
            <a:lvl1pPr marL="0" indent="0" algn="l" defTabSz="804667">
              <a:lnSpc>
                <a:spcPct val="100000"/>
              </a:lnSpc>
              <a:spcBef>
                <a:spcPct val="50000"/>
              </a:spcBef>
              <a:buNone/>
              <a:defRPr sz="29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Click to edit text </a:t>
            </a:r>
          </a:p>
        </p:txBody>
      </p:sp>
      <p:sp>
        <p:nvSpPr>
          <p:cNvPr id="4" name="Title 1"/>
          <p:cNvSpPr>
            <a:spLocks noGrp="1"/>
          </p:cNvSpPr>
          <p:nvPr>
            <p:ph type="ctrTitle" hasCustomPrompt="1"/>
          </p:nvPr>
        </p:nvSpPr>
        <p:spPr>
          <a:xfrm>
            <a:off x="383897" y="2054075"/>
            <a:ext cx="10629664" cy="3038449"/>
          </a:xfrm>
          <a:prstGeom prst="rect">
            <a:avLst/>
          </a:prstGeom>
        </p:spPr>
        <p:txBody>
          <a:bodyPr anchor="ctr">
            <a:noAutofit/>
          </a:bodyPr>
          <a:lstStyle>
            <a:lvl1pPr marL="244771" indent="-533224" algn="l">
              <a:lnSpc>
                <a:spcPct val="90000"/>
              </a:lnSpc>
              <a:defRPr sz="6100"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1412572973"/>
      </p:ext>
    </p:extLst>
  </p:cSld>
  <p:clrMapOvr>
    <a:masterClrMapping/>
  </p:clrMapOvr>
  <p:transition spd="med">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6146928" y="812811"/>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618352" y="1918759"/>
            <a:ext cx="5093797" cy="3020519"/>
          </a:xfrm>
        </p:spPr>
        <p:txBody>
          <a:bodyPr lIns="82277" tIns="45714" rIns="82277" bIns="45714" rtlCol="0" anchor="ctr">
            <a:noAutofit/>
          </a:bodyPr>
          <a:lstStyle>
            <a:lvl1pPr marL="0" indent="0" algn="l" defTabSz="914217" rtl="0" eaLnBrk="1" latinLnBrk="0" hangingPunct="1">
              <a:lnSpc>
                <a:spcPct val="80000"/>
              </a:lnSpc>
              <a:spcBef>
                <a:spcPct val="0"/>
              </a:spcBef>
              <a:buClr>
                <a:schemeClr val="tx1"/>
              </a:buClr>
              <a:buFont typeface="Ciscolight" pitchFamily="2" charset="0"/>
              <a:buNone/>
              <a:defRPr lang="en-US" sz="6000"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6563361" y="872691"/>
            <a:ext cx="5154507" cy="5120640"/>
          </a:xfrm>
          <a:prstGeom prst="rect">
            <a:avLst/>
          </a:prstGeom>
        </p:spPr>
        <p:txBody>
          <a:bodyPr lIns="121880" tIns="60940" rIns="121880" bIns="60940" anchor="ctr" anchorCtr="0">
            <a:noAutofit/>
          </a:bodyPr>
          <a:lstStyle>
            <a:lvl1pPr marL="0" indent="0">
              <a:buFontTx/>
              <a:buNone/>
              <a:defRPr sz="2100" baseline="0">
                <a:solidFill>
                  <a:schemeClr val="tx1"/>
                </a:solidFill>
                <a:latin typeface="+mn-lt"/>
              </a:defRPr>
            </a:lvl1pPr>
            <a:lvl2pPr>
              <a:defRPr sz="2000"/>
            </a:lvl2pPr>
            <a:lvl3pPr>
              <a:defRPr sz="2000"/>
            </a:lvl3pPr>
            <a:lvl4pPr>
              <a:defRPr sz="2000"/>
            </a:lvl4pPr>
            <a:lvl5pPr>
              <a:defRPr sz="2000"/>
            </a:lvl5pPr>
          </a:lstStyle>
          <a:p>
            <a:pPr lvl="0"/>
            <a:r>
              <a:rPr lang="en-GB" dirty="0"/>
              <a:t>Click to edit text</a:t>
            </a:r>
          </a:p>
        </p:txBody>
      </p:sp>
    </p:spTree>
    <p:extLst>
      <p:ext uri="{BB962C8B-B14F-4D97-AF65-F5344CB8AC3E}">
        <p14:creationId xmlns:p14="http://schemas.microsoft.com/office/powerpoint/2010/main" val="2193399049"/>
      </p:ext>
    </p:extLst>
  </p:cSld>
  <p:clrMapOvr>
    <a:masterClrMapping/>
  </p:clrMapOvr>
  <p:transition spd="slow">
    <p:wip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83688" y="1797053"/>
            <a:ext cx="11127317" cy="3544971"/>
          </a:xfrm>
          <a:prstGeom prst="rect">
            <a:avLst/>
          </a:prstGeom>
        </p:spPr>
        <p:txBody>
          <a:bodyPr lIns="121880" tIns="60940" rIns="121880" bIns="60940">
            <a:noAutofit/>
          </a:bodyPr>
          <a:lstStyle>
            <a:lvl1pPr marL="0" indent="0" algn="ctr">
              <a:buNone/>
              <a:defRPr sz="27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hasCustomPrompt="1"/>
          </p:nvPr>
        </p:nvSpPr>
        <p:spPr>
          <a:xfrm>
            <a:off x="583692" y="5530973"/>
            <a:ext cx="9573749" cy="434977"/>
          </a:xfrm>
          <a:prstGeom prst="rect">
            <a:avLst/>
          </a:prstGeom>
        </p:spPr>
        <p:txBody>
          <a:bodyPr wrap="square" lIns="121880" tIns="60940" rIns="121880" bIns="60940" anchor="b" anchorCtr="0">
            <a:noAutofit/>
          </a:bodyPr>
          <a:lstStyle>
            <a:lvl1pPr algn="l" defTabSz="804667">
              <a:lnSpc>
                <a:spcPct val="100000"/>
              </a:lnSpc>
              <a:spcBef>
                <a:spcPct val="50000"/>
              </a:spcBef>
              <a:buNone/>
              <a:defRPr sz="21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Source</a:t>
            </a:r>
          </a:p>
        </p:txBody>
      </p:sp>
      <p:sp>
        <p:nvSpPr>
          <p:cNvPr id="5" name="Title Placeholder 5"/>
          <p:cNvSpPr>
            <a:spLocks noGrp="1"/>
          </p:cNvSpPr>
          <p:nvPr>
            <p:ph type="title" hasCustomPrompt="1"/>
          </p:nvPr>
        </p:nvSpPr>
        <p:spPr bwMode="auto">
          <a:xfrm>
            <a:off x="583688" y="45509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5" tIns="60942" rIns="121885" bIns="60942"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4088327406"/>
      </p:ext>
    </p:extLst>
  </p:cSld>
  <p:clrMapOvr>
    <a:masterClrMapping/>
  </p:clrMapOvr>
  <p:transition spd="med">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83688" y="1799168"/>
            <a:ext cx="11127317" cy="3547533"/>
          </a:xfrm>
          <a:prstGeom prst="rect">
            <a:avLst/>
          </a:prstGeom>
        </p:spPr>
        <p:txBody>
          <a:bodyPr vert="horz" lIns="121880" tIns="60940" rIns="121880" bIns="60940">
            <a:noAutofit/>
          </a:bodyPr>
          <a:lstStyle>
            <a:lvl1pPr marL="0" indent="0" algn="ctr">
              <a:buNone/>
              <a:defRPr sz="27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hasCustomPrompt="1"/>
          </p:nvPr>
        </p:nvSpPr>
        <p:spPr>
          <a:xfrm>
            <a:off x="583692" y="5530973"/>
            <a:ext cx="9573749" cy="434977"/>
          </a:xfrm>
          <a:prstGeom prst="rect">
            <a:avLst/>
          </a:prstGeom>
        </p:spPr>
        <p:txBody>
          <a:bodyPr wrap="square" lIns="121880" tIns="60940" rIns="121880" bIns="60940" anchor="b" anchorCtr="0">
            <a:noAutofit/>
          </a:bodyPr>
          <a:lstStyle>
            <a:lvl1pPr algn="l" defTabSz="804667">
              <a:lnSpc>
                <a:spcPct val="100000"/>
              </a:lnSpc>
              <a:spcBef>
                <a:spcPct val="50000"/>
              </a:spcBef>
              <a:buNone/>
              <a:defRPr sz="21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Source</a:t>
            </a:r>
          </a:p>
        </p:txBody>
      </p:sp>
      <p:sp>
        <p:nvSpPr>
          <p:cNvPr id="5" name="Title Placeholder 5"/>
          <p:cNvSpPr>
            <a:spLocks noGrp="1"/>
          </p:cNvSpPr>
          <p:nvPr>
            <p:ph type="title"/>
          </p:nvPr>
        </p:nvSpPr>
        <p:spPr bwMode="auto">
          <a:xfrm>
            <a:off x="583688" y="45509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5" tIns="60942" rIns="121885" bIns="6094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167838691"/>
      </p:ext>
    </p:extLst>
  </p:cSld>
  <p:clrMapOvr>
    <a:masterClrMapping/>
  </p:clrMapOvr>
  <p:transition spd="med">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703" y="1799275"/>
            <a:ext cx="5342668" cy="4054364"/>
          </a:xfrm>
          <a:prstGeom prst="rect">
            <a:avLst/>
          </a:prstGeom>
        </p:spPr>
        <p:txBody>
          <a:bodyPr lIns="121880" tIns="60940" rIns="121880" bIns="60940" anchor="ctr" anchorCtr="0">
            <a:noAutofit/>
          </a:bodyPr>
          <a:lstStyle>
            <a:lvl1pPr marL="0" indent="0">
              <a:buNone/>
              <a:defRPr sz="32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6279877" y="1799178"/>
            <a:ext cx="5431128" cy="4052529"/>
          </a:xfrm>
          <a:prstGeom prst="rect">
            <a:avLst/>
          </a:prstGeom>
        </p:spPr>
        <p:txBody>
          <a:bodyPr vert="horz" lIns="121880" tIns="60940" rIns="121880" bIns="60940">
            <a:noAutofit/>
          </a:bodyPr>
          <a:lstStyle>
            <a:lvl1pPr marL="0" indent="0" algn="ctr">
              <a:buNone/>
              <a:defRPr sz="2700">
                <a:solidFill>
                  <a:schemeClr val="tx1"/>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583688" y="45509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5" tIns="60942" rIns="121885" bIns="6094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4030918830"/>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6146928" y="812806"/>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618352" y="1918753"/>
            <a:ext cx="5093797" cy="3020519"/>
          </a:xfrm>
        </p:spPr>
        <p:txBody>
          <a:bodyPr lIns="61709" tIns="34286" rIns="61709" bIns="34286" rtlCol="0" anchor="ctr">
            <a:noAutofit/>
          </a:bodyPr>
          <a:lstStyle>
            <a:lvl1pPr marL="0" indent="0" algn="l" defTabSz="914217" rtl="0" eaLnBrk="1" latinLnBrk="0" hangingPunct="1">
              <a:lnSpc>
                <a:spcPct val="80000"/>
              </a:lnSpc>
              <a:spcBef>
                <a:spcPct val="0"/>
              </a:spcBef>
              <a:buClr>
                <a:schemeClr val="tx1"/>
              </a:buClr>
              <a:buFont typeface="Ciscolight" pitchFamily="2" charset="0"/>
              <a:buNone/>
              <a:defRPr lang="en-US" sz="6000"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6563361" y="872691"/>
            <a:ext cx="5154507" cy="5120640"/>
          </a:xfrm>
          <a:prstGeom prst="rect">
            <a:avLst/>
          </a:prstGeom>
        </p:spPr>
        <p:txBody>
          <a:bodyPr lIns="91412" tIns="45710" rIns="91412" bIns="45710" anchor="ctr" anchorCtr="0">
            <a:noAutofit/>
          </a:bodyPr>
          <a:lstStyle>
            <a:lvl1pPr marL="0" indent="0">
              <a:buFontTx/>
              <a:buNone/>
              <a:defRPr sz="2100" baseline="0">
                <a:solidFill>
                  <a:schemeClr val="tx1"/>
                </a:solidFill>
                <a:latin typeface="+mn-lt"/>
              </a:defRPr>
            </a:lvl1pPr>
            <a:lvl2pPr>
              <a:defRPr sz="2000"/>
            </a:lvl2pPr>
            <a:lvl3pPr>
              <a:defRPr sz="2000"/>
            </a:lvl3pPr>
            <a:lvl4pPr>
              <a:defRPr sz="2000"/>
            </a:lvl4pPr>
            <a:lvl5pPr>
              <a:defRPr sz="2000"/>
            </a:lvl5pPr>
          </a:lstStyle>
          <a:p>
            <a:pPr lvl="0"/>
            <a:r>
              <a:rPr lang="en-GB" dirty="0"/>
              <a:t>Click to edit text</a:t>
            </a:r>
          </a:p>
        </p:txBody>
      </p:sp>
    </p:spTree>
    <p:extLst>
      <p:ext uri="{BB962C8B-B14F-4D97-AF65-F5344CB8AC3E}">
        <p14:creationId xmlns:p14="http://schemas.microsoft.com/office/powerpoint/2010/main" val="1989101953"/>
      </p:ext>
    </p:extLst>
  </p:cSld>
  <p:clrMapOvr>
    <a:masterClrMapping/>
  </p:clrMapOvr>
  <p:transition spd="slow">
    <p:wip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695" y="1799139"/>
            <a:ext cx="5338660" cy="4054500"/>
          </a:xfrm>
          <a:prstGeom prst="rect">
            <a:avLst/>
          </a:prstGeom>
        </p:spPr>
        <p:txBody>
          <a:bodyPr lIns="121880" tIns="60940" rIns="121880" bIns="60940" anchor="ctr" anchorCtr="0">
            <a:noAutofit/>
          </a:bodyPr>
          <a:lstStyle>
            <a:lvl1pPr marL="0" indent="0">
              <a:buNone/>
              <a:defRPr sz="32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6277480" y="1799167"/>
            <a:ext cx="5433525" cy="4054944"/>
          </a:xfrm>
          <a:prstGeom prst="rect">
            <a:avLst/>
          </a:prstGeom>
        </p:spPr>
        <p:txBody>
          <a:bodyPr vert="horz" lIns="121880" tIns="60940" rIns="121880" bIns="60940">
            <a:noAutofit/>
          </a:bodyPr>
          <a:lstStyle>
            <a:lvl1pPr marL="0" indent="0" algn="ctr">
              <a:buNone/>
              <a:defRPr sz="2700" b="0" i="0">
                <a:solidFill>
                  <a:schemeClr val="tx1"/>
                </a:solidFill>
                <a:latin typeface="+mn-lt"/>
                <a:cs typeface="CiscoSans ExtraLight"/>
              </a:defRPr>
            </a:lvl1pPr>
          </a:lstStyle>
          <a:p>
            <a:pPr lvl="0"/>
            <a:r>
              <a:rPr lang="en-US" noProof="0"/>
              <a:t>Drag picture to placeholder or click icon to add</a:t>
            </a:r>
            <a:endParaRPr lang="en-US" noProof="0" dirty="0"/>
          </a:p>
        </p:txBody>
      </p:sp>
      <p:sp>
        <p:nvSpPr>
          <p:cNvPr id="5" name="Title Placeholder 5"/>
          <p:cNvSpPr>
            <a:spLocks noGrp="1"/>
          </p:cNvSpPr>
          <p:nvPr>
            <p:ph type="title"/>
          </p:nvPr>
        </p:nvSpPr>
        <p:spPr bwMode="auto">
          <a:xfrm>
            <a:off x="583688" y="45509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5" tIns="60942" rIns="121885" bIns="6094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738517360"/>
      </p:ext>
    </p:extLst>
  </p:cSld>
  <p:clrMapOvr>
    <a:masterClrMapping/>
  </p:clrMapOvr>
  <p:transition spd="med">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p:cNvSpPr/>
          <p:nvPr userDrawn="1"/>
        </p:nvSpPr>
        <p:spPr>
          <a:xfrm>
            <a:off x="8113489" y="2163193"/>
            <a:ext cx="3091419" cy="3091419"/>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6" tIns="60953" rIns="121906" bIns="60953" rtlCol="0" anchor="ctr"/>
          <a:lstStyle/>
          <a:p>
            <a:pPr algn="ctr" defTabSz="609523" fontAlgn="base">
              <a:spcBef>
                <a:spcPct val="0"/>
              </a:spcBef>
              <a:spcAft>
                <a:spcPct val="0"/>
              </a:spcAft>
            </a:pPr>
            <a:endParaRPr lang="en-US" sz="1900" dirty="0">
              <a:solidFill>
                <a:srgbClr val="FFFFFF"/>
              </a:solidFill>
              <a:cs typeface="Arial"/>
            </a:endParaRPr>
          </a:p>
        </p:txBody>
      </p:sp>
      <p:sp>
        <p:nvSpPr>
          <p:cNvPr id="4" name="Oval 3"/>
          <p:cNvSpPr/>
          <p:nvPr userDrawn="1"/>
        </p:nvSpPr>
        <p:spPr>
          <a:xfrm>
            <a:off x="4564309" y="2163193"/>
            <a:ext cx="3091419" cy="3091419"/>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6" tIns="60953" rIns="121906" bIns="60953" rtlCol="0" anchor="ctr"/>
          <a:lstStyle/>
          <a:p>
            <a:pPr algn="ctr" defTabSz="609523" fontAlgn="base">
              <a:spcBef>
                <a:spcPct val="0"/>
              </a:spcBef>
              <a:spcAft>
                <a:spcPct val="0"/>
              </a:spcAft>
            </a:pPr>
            <a:endParaRPr lang="en-US" sz="1900" dirty="0">
              <a:solidFill>
                <a:srgbClr val="FFFFFF"/>
              </a:solidFill>
              <a:cs typeface="Arial"/>
            </a:endParaRPr>
          </a:p>
        </p:txBody>
      </p:sp>
      <p:sp>
        <p:nvSpPr>
          <p:cNvPr id="7" name="Oval 6"/>
          <p:cNvSpPr/>
          <p:nvPr userDrawn="1"/>
        </p:nvSpPr>
        <p:spPr>
          <a:xfrm>
            <a:off x="1019029" y="2163193"/>
            <a:ext cx="3091419" cy="3091419"/>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6" tIns="60953" rIns="121906" bIns="60953" rtlCol="0" anchor="ctr"/>
          <a:lstStyle/>
          <a:p>
            <a:pPr algn="ctr" defTabSz="609523" fontAlgn="base">
              <a:spcBef>
                <a:spcPct val="0"/>
              </a:spcBef>
              <a:spcAft>
                <a:spcPct val="0"/>
              </a:spcAft>
            </a:pPr>
            <a:endParaRPr lang="en-US" sz="1900" dirty="0">
              <a:solidFill>
                <a:srgbClr val="FFFFFF"/>
              </a:solidFill>
              <a:cs typeface="Arial"/>
            </a:endParaRPr>
          </a:p>
        </p:txBody>
      </p:sp>
      <p:sp>
        <p:nvSpPr>
          <p:cNvPr id="17" name="Text Placeholder 17"/>
          <p:cNvSpPr>
            <a:spLocks noGrp="1"/>
          </p:cNvSpPr>
          <p:nvPr>
            <p:ph type="body" sz="quarter" idx="11" hasCustomPrompt="1"/>
          </p:nvPr>
        </p:nvSpPr>
        <p:spPr>
          <a:xfrm>
            <a:off x="1036648" y="3733535"/>
            <a:ext cx="3056181" cy="804881"/>
          </a:xfrm>
          <a:prstGeom prst="rect">
            <a:avLst/>
          </a:prstGeom>
        </p:spPr>
        <p:txBody>
          <a:bodyPr lIns="121880" tIns="60940" rIns="121880" bIns="60940"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4581928" y="3730940"/>
            <a:ext cx="3056181" cy="804881"/>
          </a:xfrm>
          <a:prstGeom prst="rect">
            <a:avLst/>
          </a:prstGeom>
        </p:spPr>
        <p:txBody>
          <a:bodyPr lIns="121880" tIns="60940" rIns="121880" bIns="60940"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8131108" y="3730940"/>
            <a:ext cx="3056181" cy="804881"/>
          </a:xfrm>
          <a:prstGeom prst="rect">
            <a:avLst/>
          </a:prstGeom>
        </p:spPr>
        <p:txBody>
          <a:bodyPr lIns="121880" tIns="60940" rIns="121880" bIns="60940"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2027767" y="2857372"/>
            <a:ext cx="1051984" cy="1051984"/>
          </a:xfrm>
          <a:prstGeom prst="rect">
            <a:avLst/>
          </a:prstGeom>
        </p:spPr>
        <p:txBody>
          <a:bodyPr vert="horz" lIns="121906" tIns="60953" rIns="121906" bIns="60953"/>
          <a:lstStyle>
            <a:lvl1pPr marL="0" indent="0" algn="ctr">
              <a:buNone/>
              <a:defRPr sz="16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5603827" y="2870412"/>
            <a:ext cx="1051984" cy="1051984"/>
          </a:xfrm>
          <a:prstGeom prst="rect">
            <a:avLst/>
          </a:prstGeom>
        </p:spPr>
        <p:txBody>
          <a:bodyPr vert="horz" lIns="121906" tIns="60953" rIns="121906" bIns="60953"/>
          <a:lstStyle>
            <a:lvl1pPr marL="0" indent="0" algn="ctr">
              <a:buNone/>
              <a:defRPr sz="16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9122480" y="2857372"/>
            <a:ext cx="1051984" cy="1051984"/>
          </a:xfrm>
          <a:prstGeom prst="rect">
            <a:avLst/>
          </a:prstGeom>
        </p:spPr>
        <p:txBody>
          <a:bodyPr vert="horz" lIns="121906" tIns="60953" rIns="121906" bIns="60953"/>
          <a:lstStyle>
            <a:lvl1pPr marL="0" indent="0" algn="ctr">
              <a:buNone/>
              <a:defRPr sz="1600">
                <a:solidFill>
                  <a:schemeClr val="bg1"/>
                </a:solidFill>
              </a:defRPr>
            </a:lvl1pPr>
          </a:lstStyle>
          <a:p>
            <a:r>
              <a:rPr lang="en-US" dirty="0"/>
              <a:t>Icon</a:t>
            </a:r>
          </a:p>
        </p:txBody>
      </p:sp>
    </p:spTree>
    <p:extLst>
      <p:ext uri="{BB962C8B-B14F-4D97-AF65-F5344CB8AC3E}">
        <p14:creationId xmlns:p14="http://schemas.microsoft.com/office/powerpoint/2010/main" val="3273505720"/>
      </p:ext>
    </p:extLst>
  </p:cSld>
  <p:clrMapOvr>
    <a:masterClrMapping/>
  </p:clrMapOvr>
  <p:transition spd="slow">
    <p:wip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1033114" y="2163193"/>
            <a:ext cx="3075001" cy="3074624"/>
          </a:xfrm>
          <a:prstGeom prst="ellipse">
            <a:avLst/>
          </a:prstGeom>
          <a:solidFill>
            <a:sysClr val="windowText" lastClr="000000">
              <a:alpha val="30000"/>
            </a:sysClr>
          </a:solidFill>
          <a:ln w="25400" cap="flat" cmpd="sng" algn="ctr">
            <a:noFill/>
            <a:prstDash val="solid"/>
          </a:ln>
          <a:effectLst/>
        </p:spPr>
        <p:txBody>
          <a:bodyPr lIns="91426" tIns="45718" rIns="91426" bIns="45718" anchor="ctr"/>
          <a:lstStyle/>
          <a:p>
            <a:pPr algn="ctr" defTabSz="1219050">
              <a:defRPr/>
            </a:pPr>
            <a:endParaRPr lang="en-US" sz="2400" kern="0">
              <a:solidFill>
                <a:prstClr val="white"/>
              </a:solidFill>
              <a:ea typeface="ＭＳ Ｐゴシック" charset="0"/>
            </a:endParaRPr>
          </a:p>
        </p:txBody>
      </p:sp>
      <p:sp>
        <p:nvSpPr>
          <p:cNvPr id="44" name="Oval 43"/>
          <p:cNvSpPr/>
          <p:nvPr userDrawn="1"/>
        </p:nvSpPr>
        <p:spPr>
          <a:xfrm>
            <a:off x="4563799" y="2163193"/>
            <a:ext cx="3075001" cy="3074624"/>
          </a:xfrm>
          <a:prstGeom prst="ellipse">
            <a:avLst/>
          </a:prstGeom>
          <a:solidFill>
            <a:sysClr val="windowText" lastClr="000000">
              <a:alpha val="30000"/>
            </a:sysClr>
          </a:solidFill>
          <a:ln w="25400" cap="flat" cmpd="sng" algn="ctr">
            <a:noFill/>
            <a:prstDash val="solid"/>
          </a:ln>
          <a:effectLst/>
        </p:spPr>
        <p:txBody>
          <a:bodyPr lIns="91426" tIns="45718" rIns="91426" bIns="45718" anchor="ctr"/>
          <a:lstStyle/>
          <a:p>
            <a:pPr algn="ctr" defTabSz="1219050">
              <a:defRPr/>
            </a:pPr>
            <a:endParaRPr lang="en-US" sz="2400" kern="0">
              <a:solidFill>
                <a:prstClr val="white"/>
              </a:solidFill>
              <a:ea typeface="ＭＳ Ｐゴシック" charset="0"/>
            </a:endParaRPr>
          </a:p>
        </p:txBody>
      </p:sp>
      <p:sp>
        <p:nvSpPr>
          <p:cNvPr id="45" name="Oval 44"/>
          <p:cNvSpPr/>
          <p:nvPr userDrawn="1"/>
        </p:nvSpPr>
        <p:spPr>
          <a:xfrm>
            <a:off x="8116490" y="2163193"/>
            <a:ext cx="3075001" cy="3074624"/>
          </a:xfrm>
          <a:prstGeom prst="ellipse">
            <a:avLst/>
          </a:prstGeom>
          <a:solidFill>
            <a:sysClr val="windowText" lastClr="000000">
              <a:alpha val="30000"/>
            </a:sysClr>
          </a:solidFill>
          <a:ln w="25400" cap="flat" cmpd="sng" algn="ctr">
            <a:noFill/>
            <a:prstDash val="solid"/>
          </a:ln>
          <a:effectLst/>
        </p:spPr>
        <p:txBody>
          <a:bodyPr lIns="91426" tIns="45718" rIns="91426" bIns="45718" anchor="ctr"/>
          <a:lstStyle/>
          <a:p>
            <a:pPr algn="ctr" defTabSz="1219050">
              <a:defRPr/>
            </a:pPr>
            <a:endParaRPr lang="en-US" sz="2400" kern="0">
              <a:solidFill>
                <a:prstClr val="white"/>
              </a:solidFill>
              <a:ea typeface="ＭＳ Ｐゴシック" charset="0"/>
            </a:endParaRPr>
          </a:p>
        </p:txBody>
      </p:sp>
      <p:sp>
        <p:nvSpPr>
          <p:cNvPr id="3" name="Title Placeholder 5"/>
          <p:cNvSpPr>
            <a:spLocks noGrp="1"/>
          </p:cNvSpPr>
          <p:nvPr>
            <p:ph type="title"/>
          </p:nvPr>
        </p:nvSpPr>
        <p:spPr bwMode="auto">
          <a:xfrm>
            <a:off x="583688" y="45509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5" tIns="60942" rIns="121885" bIns="60942" numCol="1" anchor="ctr" anchorCtr="0" compatLnSpc="1">
            <a:prstTxWarp prst="textNoShape">
              <a:avLst/>
            </a:prstTxWarp>
          </a:bodyPr>
          <a:lstStyle/>
          <a:p>
            <a:pPr lvl="0"/>
            <a:r>
              <a:rPr lang="en-US"/>
              <a:t>Click to edit Master title style</a:t>
            </a:r>
            <a:endParaRPr lang="en-GB" dirty="0"/>
          </a:p>
        </p:txBody>
      </p:sp>
      <p:sp>
        <p:nvSpPr>
          <p:cNvPr id="35" name="Picture Placeholder 25"/>
          <p:cNvSpPr>
            <a:spLocks noGrp="1"/>
          </p:cNvSpPr>
          <p:nvPr>
            <p:ph type="pic" sz="quarter" idx="10" hasCustomPrompt="1"/>
          </p:nvPr>
        </p:nvSpPr>
        <p:spPr>
          <a:xfrm>
            <a:off x="1033287" y="2163193"/>
            <a:ext cx="3074624" cy="3074624"/>
          </a:xfrm>
          <a:prstGeom prst="ellipse">
            <a:avLst/>
          </a:prstGeom>
          <a:solidFill>
            <a:schemeClr val="bg1">
              <a:alpha val="30000"/>
            </a:schemeClr>
          </a:solidFill>
          <a:ln>
            <a:noFill/>
          </a:ln>
          <a:effectLst/>
        </p:spPr>
        <p:txBody>
          <a:bodyPr lIns="121885" tIns="60942" rIns="121885" bIns="60942" anchor="ctr" anchorCtr="0"/>
          <a:lstStyle>
            <a:lvl1pPr algn="l">
              <a:buFontTx/>
              <a:buNone/>
              <a:defRPr sz="1700"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4563981" y="2163193"/>
            <a:ext cx="3074624" cy="3074624"/>
          </a:xfrm>
          <a:prstGeom prst="ellipse">
            <a:avLst/>
          </a:prstGeom>
          <a:solidFill>
            <a:schemeClr val="bg1">
              <a:alpha val="30000"/>
            </a:schemeClr>
          </a:solidFill>
          <a:ln>
            <a:noFill/>
          </a:ln>
          <a:effectLst/>
        </p:spPr>
        <p:txBody>
          <a:bodyPr lIns="121885" tIns="60942" rIns="121885" bIns="60942" anchor="ctr" anchorCtr="0"/>
          <a:lstStyle>
            <a:lvl1pPr algn="l">
              <a:buFontTx/>
              <a:buNone/>
              <a:defRPr sz="17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8116671" y="2163193"/>
            <a:ext cx="3074624" cy="3074624"/>
          </a:xfrm>
          <a:prstGeom prst="ellipse">
            <a:avLst/>
          </a:prstGeom>
          <a:solidFill>
            <a:schemeClr val="bg1">
              <a:alpha val="30000"/>
            </a:schemeClr>
          </a:solidFill>
          <a:ln>
            <a:noFill/>
          </a:ln>
          <a:effectLst/>
        </p:spPr>
        <p:txBody>
          <a:bodyPr lIns="121885" tIns="60942" rIns="121885" bIns="60942" anchor="ctr" anchorCtr="0"/>
          <a:lstStyle>
            <a:lvl1pPr algn="l">
              <a:buFontTx/>
              <a:buNone/>
              <a:defRPr sz="17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1051732" y="5164197"/>
            <a:ext cx="3056181" cy="804881"/>
          </a:xfrm>
          <a:prstGeom prst="rect">
            <a:avLst/>
          </a:prstGeom>
        </p:spPr>
        <p:txBody>
          <a:bodyPr lIns="121880" tIns="60940" rIns="121880" bIns="60940"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4582424" y="5161601"/>
            <a:ext cx="3056181" cy="804881"/>
          </a:xfrm>
          <a:prstGeom prst="rect">
            <a:avLst/>
          </a:prstGeom>
        </p:spPr>
        <p:txBody>
          <a:bodyPr lIns="121880" tIns="60940" rIns="121880" bIns="60940"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8135116" y="5161601"/>
            <a:ext cx="3056181" cy="804881"/>
          </a:xfrm>
          <a:prstGeom prst="rect">
            <a:avLst/>
          </a:prstGeom>
        </p:spPr>
        <p:txBody>
          <a:bodyPr lIns="121880" tIns="60940" rIns="121880" bIns="60940"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Tree>
    <p:extLst>
      <p:ext uri="{BB962C8B-B14F-4D97-AF65-F5344CB8AC3E}">
        <p14:creationId xmlns:p14="http://schemas.microsoft.com/office/powerpoint/2010/main" val="926955988"/>
      </p:ext>
    </p:extLst>
  </p:cSld>
  <p:clrMapOvr>
    <a:masterClrMapping/>
  </p:clrMapOvr>
  <p:transition spd="slow">
    <p:wip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99" y="6172213"/>
            <a:ext cx="977900"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2000" cy="6858000"/>
          </a:xfrm>
          <a:prstGeom prst="rect">
            <a:avLst/>
          </a:prstGeom>
        </p:spPr>
        <p:txBody>
          <a:bodyPr vert="horz" lIns="121880" tIns="60940" rIns="121880" bIns="60940"/>
          <a:lstStyle>
            <a:lvl1pPr marL="0" indent="0" algn="ctr">
              <a:buNone/>
              <a:defRPr sz="2900" baseline="0">
                <a:latin typeface="+mn-lt"/>
                <a:cs typeface="CiscoSans ExtraLight"/>
              </a:defRPr>
            </a:lvl1pPr>
          </a:lstStyle>
          <a:p>
            <a:pPr lvl="0"/>
            <a:r>
              <a:rPr lang="en-US" noProof="0"/>
              <a:t>Drag picture to placeholder or click icon to add</a:t>
            </a:r>
            <a:endParaRPr lang="en-US" noProof="0" dirty="0"/>
          </a:p>
        </p:txBody>
      </p:sp>
      <p:sp>
        <p:nvSpPr>
          <p:cNvPr id="6" name="Text Placeholder 2"/>
          <p:cNvSpPr>
            <a:spLocks noGrp="1"/>
          </p:cNvSpPr>
          <p:nvPr>
            <p:ph type="body" sz="quarter" idx="11" hasCustomPrompt="1"/>
          </p:nvPr>
        </p:nvSpPr>
        <p:spPr bwMode="auto">
          <a:xfrm>
            <a:off x="666752" y="4637669"/>
            <a:ext cx="10852149" cy="689931"/>
          </a:xfrm>
          <a:prstGeom prst="rect">
            <a:avLst/>
          </a:prstGeom>
          <a:solidFill>
            <a:schemeClr val="bg1">
              <a:alpha val="70000"/>
            </a:schemeClr>
          </a:solidFill>
        </p:spPr>
        <p:txBody>
          <a:bodyPr wrap="square" lIns="143980" tIns="0" rIns="121906" bIns="60953" numCol="1" anchor="ctr" anchorCtr="0" compatLnSpc="1">
            <a:prstTxWarp prst="textNoShape">
              <a:avLst/>
            </a:prstTxWarp>
            <a:spAutoFit/>
          </a:bodyPr>
          <a:lstStyle>
            <a:lvl1pPr marL="230373" indent="0">
              <a:lnSpc>
                <a:spcPts val="4907"/>
              </a:lnSpc>
              <a:spcBef>
                <a:spcPts val="0"/>
              </a:spcBef>
              <a:buNone/>
              <a:defRPr sz="3200" i="1"/>
            </a:lvl1pPr>
          </a:lstStyle>
          <a:p>
            <a:pPr lvl="0"/>
            <a:r>
              <a:rPr lang="en-GB" dirty="0"/>
              <a:t>Text Goes Here</a:t>
            </a:r>
          </a:p>
        </p:txBody>
      </p:sp>
    </p:spTree>
    <p:extLst>
      <p:ext uri="{BB962C8B-B14F-4D97-AF65-F5344CB8AC3E}">
        <p14:creationId xmlns:p14="http://schemas.microsoft.com/office/powerpoint/2010/main" val="1281564819"/>
      </p:ext>
    </p:extLst>
  </p:cSld>
  <p:clrMapOvr>
    <a:masterClrMapping/>
  </p:clrMapOvr>
  <p:transition spd="slow">
    <p:wip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5" y="401395"/>
            <a:ext cx="11417563" cy="3389567"/>
          </a:xfrm>
          <a:prstGeom prst="rect">
            <a:avLst/>
          </a:prstGeom>
        </p:spPr>
        <p:txBody>
          <a:bodyPr vert="horz" lIns="121880" tIns="60940" rIns="121880" bIns="60940"/>
          <a:lstStyle>
            <a:lvl1pPr marL="0" indent="0" algn="ctr">
              <a:buNone/>
              <a:defRPr sz="2900" baseline="0">
                <a:solidFill>
                  <a:srgbClr val="676767"/>
                </a:solidFill>
                <a:latin typeface="+mn-lt"/>
                <a:cs typeface="CiscoSans ExtraLight"/>
              </a:defRPr>
            </a:lvl1pPr>
          </a:lstStyle>
          <a:p>
            <a:pPr lvl="0"/>
            <a:r>
              <a:rPr lang="en-US" noProof="0"/>
              <a:t>Drag picture to placeholder or click icon to add</a:t>
            </a:r>
            <a:endParaRPr lang="en-US" noProof="0" dirty="0"/>
          </a:p>
        </p:txBody>
      </p:sp>
      <p:sp>
        <p:nvSpPr>
          <p:cNvPr id="4" name="Text Placeholder 3"/>
          <p:cNvSpPr>
            <a:spLocks noGrp="1"/>
          </p:cNvSpPr>
          <p:nvPr>
            <p:ph type="body" sz="quarter" idx="11" hasCustomPrompt="1"/>
          </p:nvPr>
        </p:nvSpPr>
        <p:spPr>
          <a:xfrm>
            <a:off x="598381" y="4072703"/>
            <a:ext cx="11152315" cy="752343"/>
          </a:xfrm>
          <a:prstGeom prst="rect">
            <a:avLst/>
          </a:prstGeom>
        </p:spPr>
        <p:txBody>
          <a:bodyPr vert="horz" wrap="square" lIns="121906" tIns="60953" rIns="121906" bIns="60953">
            <a:spAutoFit/>
          </a:bodyPr>
          <a:lstStyle>
            <a:lvl1pPr marL="0" indent="0">
              <a:buNone/>
              <a:defRPr sz="4300"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168850170"/>
      </p:ext>
    </p:extLst>
  </p:cSld>
  <p:clrMapOvr>
    <a:masterClrMapping/>
  </p:clrMapOvr>
  <p:transition spd="slow">
    <p:wip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99" y="6172213"/>
            <a:ext cx="977900"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6464" cy="6858000"/>
          </a:xfrm>
          <a:prstGeom prst="rect">
            <a:avLst/>
          </a:prstGeom>
        </p:spPr>
        <p:txBody>
          <a:bodyPr vert="horz" lIns="121880" tIns="60940" rIns="121880" bIns="60940"/>
          <a:lstStyle>
            <a:lvl1pPr marL="0" indent="0" algn="ctr">
              <a:buNone/>
              <a:defRPr sz="2900" baseline="0">
                <a:latin typeface="+mn-lt"/>
                <a:cs typeface="CiscoSans ExtraLight"/>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968601772"/>
      </p:ext>
    </p:extLst>
  </p:cSld>
  <p:clrMapOvr>
    <a:masterClrMapping/>
  </p:clrMapOvr>
  <p:transition spd="slow">
    <p:wip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3" y="320844"/>
            <a:ext cx="11307184" cy="5688861"/>
          </a:xfrm>
          <a:prstGeom prst="rect">
            <a:avLst/>
          </a:prstGeom>
        </p:spPr>
        <p:txBody>
          <a:bodyPr vert="horz" lIns="121885" tIns="60942" rIns="121885" bIns="60942"/>
          <a:lstStyle>
            <a:lvl1pPr marL="0" indent="0" algn="ctr">
              <a:buNone/>
              <a:defRPr sz="2000" baseline="0">
                <a:latin typeface="+mn-lt"/>
                <a:cs typeface="CiscoSans ExtraLight"/>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928416953"/>
      </p:ext>
    </p:extLst>
  </p:cSld>
  <p:clrMapOvr>
    <a:masterClrMapping/>
  </p:clrMapOvr>
  <p:transition spd="slow">
    <p:wip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4" name="Rectangle 3"/>
          <p:cNvSpPr/>
          <p:nvPr/>
        </p:nvSpPr>
        <p:spPr>
          <a:xfrm>
            <a:off x="2523069" y="795868"/>
            <a:ext cx="7131051" cy="40047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8" rIns="91426" bIns="45718" anchor="ctr"/>
          <a:lstStyle/>
          <a:p>
            <a:pPr algn="ctr" defTabSz="609523">
              <a:defRPr/>
            </a:pPr>
            <a:endParaRPr lang="en-US" sz="1900">
              <a:solidFill>
                <a:srgbClr val="FFFFFF"/>
              </a:solidFill>
            </a:endParaRPr>
          </a:p>
        </p:txBody>
      </p:sp>
      <p:sp>
        <p:nvSpPr>
          <p:cNvPr id="5" name="Rectangle 4"/>
          <p:cNvSpPr/>
          <p:nvPr/>
        </p:nvSpPr>
        <p:spPr>
          <a:xfrm>
            <a:off x="2523068" y="4794252"/>
            <a:ext cx="7128933" cy="99694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6" tIns="45718" rIns="91426" bIns="45718" anchor="ctr"/>
          <a:lstStyle/>
          <a:p>
            <a:pPr algn="ctr" defTabSz="609523">
              <a:defRPr/>
            </a:pPr>
            <a:endParaRPr lang="en-US" sz="1900">
              <a:solidFill>
                <a:srgbClr val="FFFFFF"/>
              </a:solidFill>
            </a:endParaRPr>
          </a:p>
        </p:txBody>
      </p:sp>
      <p:sp>
        <p:nvSpPr>
          <p:cNvPr id="26" name="Picture Placeholder 25"/>
          <p:cNvSpPr>
            <a:spLocks noGrp="1"/>
          </p:cNvSpPr>
          <p:nvPr>
            <p:ph type="pic" sz="quarter" idx="10"/>
          </p:nvPr>
        </p:nvSpPr>
        <p:spPr>
          <a:xfrm>
            <a:off x="2533653" y="795528"/>
            <a:ext cx="7105651" cy="4005072"/>
          </a:xfrm>
          <a:prstGeom prst="rect">
            <a:avLst/>
          </a:prstGeom>
          <a:solidFill>
            <a:schemeClr val="bg1">
              <a:alpha val="30000"/>
            </a:schemeClr>
          </a:solidFill>
          <a:ln>
            <a:solidFill>
              <a:srgbClr val="676767"/>
            </a:solidFill>
          </a:ln>
          <a:effectLst/>
        </p:spPr>
        <p:txBody>
          <a:bodyPr lIns="121885" tIns="60942" rIns="121885" bIns="60942" anchor="ctr" anchorCtr="0"/>
          <a:lstStyle>
            <a:lvl1pPr algn="ctr">
              <a:buFontTx/>
              <a:buNone/>
              <a:defRPr>
                <a:solidFill>
                  <a:schemeClr val="tx1"/>
                </a:solidFill>
                <a:latin typeface="+mj-lt"/>
              </a:defRPr>
            </a:lvl1pPr>
          </a:lstStyle>
          <a:p>
            <a:pPr lvl="0"/>
            <a:r>
              <a:rPr lang="en-US" noProof="0"/>
              <a:t>Drag picture to placeholder or click icon to add</a:t>
            </a:r>
            <a:endParaRPr lang="en-US" noProof="0" dirty="0"/>
          </a:p>
        </p:txBody>
      </p:sp>
      <p:sp>
        <p:nvSpPr>
          <p:cNvPr id="11" name="Title 10"/>
          <p:cNvSpPr>
            <a:spLocks noGrp="1"/>
          </p:cNvSpPr>
          <p:nvPr>
            <p:ph type="title" hasCustomPrompt="1"/>
          </p:nvPr>
        </p:nvSpPr>
        <p:spPr>
          <a:xfrm>
            <a:off x="2754497" y="4873439"/>
            <a:ext cx="6765427" cy="838200"/>
          </a:xfrm>
        </p:spPr>
        <p:txBody>
          <a:bodyPr anchor="ctr"/>
          <a:lstStyle>
            <a:lvl1pPr>
              <a:defRPr sz="27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3379238379"/>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4" name="Rectangle 3"/>
          <p:cNvSpPr/>
          <p:nvPr/>
        </p:nvSpPr>
        <p:spPr>
          <a:xfrm>
            <a:off x="733086" y="311163"/>
            <a:ext cx="4364567" cy="24595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8" rIns="91426" bIns="45718" anchor="ctr"/>
          <a:lstStyle/>
          <a:p>
            <a:pPr algn="ctr" defTabSz="609523">
              <a:defRPr/>
            </a:pPr>
            <a:endParaRPr lang="en-US" sz="1900">
              <a:solidFill>
                <a:srgbClr val="FFFFFF"/>
              </a:solidFill>
            </a:endParaRPr>
          </a:p>
        </p:txBody>
      </p:sp>
      <p:sp>
        <p:nvSpPr>
          <p:cNvPr id="26" name="Picture Placeholder 25"/>
          <p:cNvSpPr>
            <a:spLocks noGrp="1"/>
          </p:cNvSpPr>
          <p:nvPr>
            <p:ph type="pic" sz="quarter" idx="10"/>
          </p:nvPr>
        </p:nvSpPr>
        <p:spPr>
          <a:xfrm>
            <a:off x="733321" y="310896"/>
            <a:ext cx="4364736" cy="2459736"/>
          </a:xfrm>
          <a:prstGeom prst="rect">
            <a:avLst/>
          </a:prstGeom>
          <a:solidFill>
            <a:schemeClr val="bg1">
              <a:alpha val="30000"/>
            </a:schemeClr>
          </a:solidFill>
          <a:ln>
            <a:solidFill>
              <a:srgbClr val="676767"/>
            </a:solidFill>
          </a:ln>
          <a:effectLst/>
        </p:spPr>
        <p:txBody>
          <a:bodyPr vert="horz" lIns="91426" tIns="45718" rIns="91426" bIns="45718" rtlCol="0" anchor="ctr" anchorCtr="0">
            <a:normAutofit/>
          </a:bodyPr>
          <a:lstStyle>
            <a:lvl1pPr marL="0" indent="0" algn="ctr" defTabSz="914256"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pPr lvl="0"/>
            <a:r>
              <a:rPr lang="en-US" noProof="0"/>
              <a:t>Drag picture to placeholder or click icon to add</a:t>
            </a:r>
            <a:endParaRPr lang="en-US" noProof="0" dirty="0"/>
          </a:p>
        </p:txBody>
      </p:sp>
      <p:sp>
        <p:nvSpPr>
          <p:cNvPr id="9" name="Title 8"/>
          <p:cNvSpPr>
            <a:spLocks noGrp="1"/>
          </p:cNvSpPr>
          <p:nvPr>
            <p:ph type="title" hasCustomPrompt="1"/>
          </p:nvPr>
        </p:nvSpPr>
        <p:spPr>
          <a:xfrm>
            <a:off x="574594" y="3307603"/>
            <a:ext cx="8973153" cy="2152559"/>
          </a:xfrm>
        </p:spPr>
        <p:txBody>
          <a:bodyPr>
            <a:noAutofit/>
          </a:bodyPr>
          <a:lstStyle>
            <a:lvl1pPr marL="0" marR="0" indent="0" algn="l" defTabSz="914256" rtl="0" eaLnBrk="1" fontAlgn="auto" latinLnBrk="0" hangingPunct="1">
              <a:lnSpc>
                <a:spcPct val="80000"/>
              </a:lnSpc>
              <a:spcBef>
                <a:spcPct val="0"/>
              </a:spcBef>
              <a:spcAft>
                <a:spcPts val="0"/>
              </a:spcAft>
              <a:buClrTx/>
              <a:buSzTx/>
              <a:buFontTx/>
              <a:buNone/>
              <a:tabLst/>
              <a:defRPr sz="60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4219814362"/>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 name="Rectangle 3"/>
          <p:cNvSpPr/>
          <p:nvPr/>
        </p:nvSpPr>
        <p:spPr>
          <a:xfrm>
            <a:off x="6656917" y="728812"/>
            <a:ext cx="4840816" cy="515975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8" rIns="91426" bIns="45718" anchor="ctr"/>
          <a:lstStyle/>
          <a:p>
            <a:pPr algn="ctr" defTabSz="609523">
              <a:defRPr/>
            </a:pPr>
            <a:endParaRPr lang="en-US" sz="1900">
              <a:solidFill>
                <a:srgbClr val="FFFFFF"/>
              </a:solidFill>
            </a:endParaRPr>
          </a:p>
        </p:txBody>
      </p:sp>
      <p:sp>
        <p:nvSpPr>
          <p:cNvPr id="26" name="Picture Placeholder 25"/>
          <p:cNvSpPr>
            <a:spLocks noGrp="1"/>
          </p:cNvSpPr>
          <p:nvPr>
            <p:ph type="pic" sz="quarter" idx="10"/>
          </p:nvPr>
        </p:nvSpPr>
        <p:spPr>
          <a:xfrm>
            <a:off x="6656832" y="728980"/>
            <a:ext cx="4840224" cy="5159757"/>
          </a:xfrm>
          <a:prstGeom prst="rect">
            <a:avLst/>
          </a:prstGeom>
          <a:solidFill>
            <a:schemeClr val="bg1">
              <a:alpha val="30000"/>
            </a:schemeClr>
          </a:solidFill>
          <a:ln>
            <a:solidFill>
              <a:srgbClr val="2968AF"/>
            </a:solidFill>
          </a:ln>
          <a:effectLst/>
        </p:spPr>
        <p:txBody>
          <a:bodyPr lIns="121885" tIns="60942" rIns="121885" bIns="60942" anchor="ctr" anchorCtr="0"/>
          <a:lstStyle>
            <a:lvl1pPr algn="ctr">
              <a:buFontTx/>
              <a:buNone/>
              <a:defRPr>
                <a:solidFill>
                  <a:schemeClr val="tx1"/>
                </a:solidFill>
                <a:latin typeface="+mj-lt"/>
              </a:defRPr>
            </a:lvl1pPr>
          </a:lstStyle>
          <a:p>
            <a:pPr lvl="0"/>
            <a:r>
              <a:rPr lang="en-US" noProof="0"/>
              <a:t>Drag picture to placeholder or click icon to add</a:t>
            </a:r>
            <a:endParaRPr lang="en-US" noProof="0" dirty="0"/>
          </a:p>
        </p:txBody>
      </p:sp>
      <p:sp>
        <p:nvSpPr>
          <p:cNvPr id="9" name="Title 8"/>
          <p:cNvSpPr>
            <a:spLocks noGrp="1"/>
          </p:cNvSpPr>
          <p:nvPr>
            <p:ph type="title" hasCustomPrompt="1"/>
          </p:nvPr>
        </p:nvSpPr>
        <p:spPr>
          <a:xfrm>
            <a:off x="583560" y="728992"/>
            <a:ext cx="5799891" cy="1085313"/>
          </a:xfrm>
        </p:spPr>
        <p:txBody>
          <a:bodyPr wrap="none" anchor="t" anchorCtr="0">
            <a:noAutofit/>
          </a:bodyPr>
          <a:lstStyle>
            <a:lvl1pPr>
              <a:lnSpc>
                <a:spcPct val="90000"/>
              </a:lnSpc>
              <a:defRPr sz="3300">
                <a:solidFill>
                  <a:schemeClr val="bg1"/>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1303278388"/>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83688" y="1797053"/>
            <a:ext cx="11127317" cy="3544971"/>
          </a:xfrm>
          <a:prstGeom prst="rect">
            <a:avLst/>
          </a:prstGeom>
        </p:spPr>
        <p:txBody>
          <a:bodyPr lIns="91412" tIns="45710" rIns="91412" bIns="45710">
            <a:noAutofit/>
          </a:bodyPr>
          <a:lstStyle>
            <a:lvl1pPr marL="0" indent="0" algn="ctr">
              <a:buNone/>
              <a:defRPr sz="27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hasCustomPrompt="1"/>
          </p:nvPr>
        </p:nvSpPr>
        <p:spPr>
          <a:xfrm>
            <a:off x="583692" y="5530966"/>
            <a:ext cx="9573749" cy="434977"/>
          </a:xfrm>
          <a:prstGeom prst="rect">
            <a:avLst/>
          </a:prstGeom>
        </p:spPr>
        <p:txBody>
          <a:bodyPr wrap="square" lIns="91412" tIns="45710" rIns="91412" bIns="45710" anchor="b" anchorCtr="0">
            <a:noAutofit/>
          </a:bodyPr>
          <a:lstStyle>
            <a:lvl1pPr algn="l" defTabSz="804667">
              <a:lnSpc>
                <a:spcPct val="100000"/>
              </a:lnSpc>
              <a:spcBef>
                <a:spcPct val="50000"/>
              </a:spcBef>
              <a:buNone/>
              <a:defRPr sz="21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Source</a:t>
            </a:r>
          </a:p>
        </p:txBody>
      </p:sp>
      <p:sp>
        <p:nvSpPr>
          <p:cNvPr id="5" name="Title Placeholder 5"/>
          <p:cNvSpPr>
            <a:spLocks noGrp="1"/>
          </p:cNvSpPr>
          <p:nvPr>
            <p:ph type="title" hasCustomPrompt="1"/>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3311651907"/>
      </p:ext>
    </p:extLst>
  </p:cSld>
  <p:clrMapOvr>
    <a:masterClrMapping/>
  </p:clrMapOvr>
  <p:transition spd="med">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9" name="Rectangle 8"/>
          <p:cNvSpPr/>
          <p:nvPr/>
        </p:nvSpPr>
        <p:spPr>
          <a:xfrm>
            <a:off x="4891617" y="311164"/>
            <a:ext cx="43582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4" rIns="91422" bIns="45714" anchor="ctr"/>
          <a:lstStyle/>
          <a:p>
            <a:pPr algn="ctr" defTabSz="609523">
              <a:defRPr/>
            </a:pPr>
            <a:endParaRPr lang="en-US" sz="1900">
              <a:solidFill>
                <a:srgbClr val="FFFFFF"/>
              </a:solidFill>
              <a:latin typeface="CiscoSans"/>
              <a:cs typeface="CiscoSans"/>
            </a:endParaRPr>
          </a:p>
        </p:txBody>
      </p:sp>
      <p:sp>
        <p:nvSpPr>
          <p:cNvPr id="10" name="Rectangle 9"/>
          <p:cNvSpPr/>
          <p:nvPr/>
        </p:nvSpPr>
        <p:spPr>
          <a:xfrm>
            <a:off x="446617" y="311164"/>
            <a:ext cx="43836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4" rIns="91422" bIns="45714" anchor="ctr"/>
          <a:lstStyle/>
          <a:p>
            <a:pPr algn="ctr" defTabSz="609523">
              <a:defRPr/>
            </a:pPr>
            <a:endParaRPr lang="en-US" sz="1900">
              <a:solidFill>
                <a:srgbClr val="FFFFFF"/>
              </a:solidFill>
              <a:latin typeface="CiscoSans"/>
              <a:cs typeface="CiscoSans"/>
            </a:endParaRPr>
          </a:p>
        </p:txBody>
      </p:sp>
      <p:sp>
        <p:nvSpPr>
          <p:cNvPr id="11" name="Rectangle 10"/>
          <p:cNvSpPr/>
          <p:nvPr/>
        </p:nvSpPr>
        <p:spPr>
          <a:xfrm>
            <a:off x="9306999" y="311151"/>
            <a:ext cx="2451100"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4" rIns="91422" bIns="45714" anchor="ctr"/>
          <a:lstStyle/>
          <a:p>
            <a:pPr algn="ctr" defTabSz="609523">
              <a:defRPr/>
            </a:pPr>
            <a:endParaRPr lang="en-US" sz="1900">
              <a:solidFill>
                <a:srgbClr val="FFFFFF"/>
              </a:solidFill>
              <a:latin typeface="CiscoSans"/>
              <a:cs typeface="CiscoSans"/>
            </a:endParaRPr>
          </a:p>
        </p:txBody>
      </p:sp>
      <p:sp>
        <p:nvSpPr>
          <p:cNvPr id="12" name="Rectangle 11"/>
          <p:cNvSpPr/>
          <p:nvPr/>
        </p:nvSpPr>
        <p:spPr>
          <a:xfrm>
            <a:off x="446627" y="3028964"/>
            <a:ext cx="3363383"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4" rIns="91422" bIns="45714" anchor="ctr"/>
          <a:lstStyle/>
          <a:p>
            <a:pPr algn="ctr" defTabSz="609523">
              <a:defRPr/>
            </a:pPr>
            <a:endParaRPr lang="en-US" sz="1900">
              <a:solidFill>
                <a:srgbClr val="FFFFFF"/>
              </a:solidFill>
              <a:latin typeface="CiscoSans"/>
              <a:cs typeface="CiscoSans"/>
            </a:endParaRPr>
          </a:p>
        </p:txBody>
      </p:sp>
      <p:sp>
        <p:nvSpPr>
          <p:cNvPr id="13" name="Rectangle 12"/>
          <p:cNvSpPr/>
          <p:nvPr/>
        </p:nvSpPr>
        <p:spPr>
          <a:xfrm>
            <a:off x="3881969" y="3028964"/>
            <a:ext cx="5367867"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4" rIns="91422" bIns="45714" anchor="ctr"/>
          <a:lstStyle/>
          <a:p>
            <a:pPr algn="ctr" defTabSz="609523">
              <a:defRPr/>
            </a:pPr>
            <a:endParaRPr lang="en-US" sz="1900">
              <a:solidFill>
                <a:srgbClr val="FFFFFF"/>
              </a:solidFill>
              <a:latin typeface="CiscoSans"/>
              <a:cs typeface="CiscoSans"/>
            </a:endParaRPr>
          </a:p>
        </p:txBody>
      </p:sp>
      <p:sp>
        <p:nvSpPr>
          <p:cNvPr id="14" name="Rectangle 13"/>
          <p:cNvSpPr/>
          <p:nvPr/>
        </p:nvSpPr>
        <p:spPr>
          <a:xfrm>
            <a:off x="9306999" y="1682751"/>
            <a:ext cx="2451100" cy="34438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4" rIns="91422" bIns="45714" anchor="ctr"/>
          <a:lstStyle/>
          <a:p>
            <a:pPr algn="ctr" defTabSz="609523">
              <a:defRPr/>
            </a:pPr>
            <a:endParaRPr lang="en-US" sz="1900">
              <a:solidFill>
                <a:srgbClr val="FFFFFF"/>
              </a:solidFill>
              <a:latin typeface="CiscoSans"/>
              <a:cs typeface="CiscoSans"/>
            </a:endParaRPr>
          </a:p>
        </p:txBody>
      </p:sp>
      <p:sp>
        <p:nvSpPr>
          <p:cNvPr id="15" name="Rectangle 14"/>
          <p:cNvSpPr/>
          <p:nvPr/>
        </p:nvSpPr>
        <p:spPr>
          <a:xfrm>
            <a:off x="9306999" y="5183717"/>
            <a:ext cx="2451100" cy="13038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4" rIns="91422" bIns="45714" anchor="ctr"/>
          <a:lstStyle/>
          <a:p>
            <a:pPr algn="ctr" defTabSz="609523">
              <a:defRPr/>
            </a:pPr>
            <a:endParaRPr lang="en-US" sz="1900">
              <a:solidFill>
                <a:srgbClr val="FFFFFF"/>
              </a:solidFill>
              <a:latin typeface="CiscoSans"/>
              <a:cs typeface="CiscoSans"/>
            </a:endParaRPr>
          </a:p>
        </p:txBody>
      </p:sp>
      <p:sp>
        <p:nvSpPr>
          <p:cNvPr id="49" name="Picture Placeholder 25"/>
          <p:cNvSpPr>
            <a:spLocks noGrp="1"/>
          </p:cNvSpPr>
          <p:nvPr>
            <p:ph type="pic" sz="quarter" idx="11"/>
          </p:nvPr>
        </p:nvSpPr>
        <p:spPr>
          <a:xfrm>
            <a:off x="4892007" y="311151"/>
            <a:ext cx="4357148" cy="2660652"/>
          </a:xfrm>
          <a:prstGeom prst="rect">
            <a:avLst/>
          </a:prstGeom>
          <a:solidFill>
            <a:schemeClr val="bg1">
              <a:alpha val="30000"/>
            </a:schemeClr>
          </a:solidFill>
          <a:ln>
            <a:solidFill>
              <a:schemeClr val="bg2"/>
            </a:solidFill>
          </a:ln>
          <a:effectLst/>
        </p:spPr>
        <p:txBody>
          <a:bodyPr vert="horz" lIns="91422" tIns="45714" rIns="91422" bIns="45714"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2"/>
                </a:solidFill>
                <a:latin typeface="+mn-lt"/>
                <a:ea typeface="+mn-ea"/>
                <a:cs typeface="Broadway" panose="04040905080B02020502" pitchFamily="82" charset="0"/>
              </a:defRPr>
            </a:lvl1pPr>
          </a:lstStyle>
          <a:p>
            <a:pPr lvl="0"/>
            <a:r>
              <a:rPr lang="en-US" noProof="0"/>
              <a:t>Drag picture to placeholder or click icon to add</a:t>
            </a:r>
            <a:endParaRPr lang="en-US" noProof="0" dirty="0"/>
          </a:p>
        </p:txBody>
      </p:sp>
      <p:sp>
        <p:nvSpPr>
          <p:cNvPr id="26" name="Picture Placeholder 25"/>
          <p:cNvSpPr>
            <a:spLocks noGrp="1"/>
          </p:cNvSpPr>
          <p:nvPr>
            <p:ph type="pic" sz="quarter" idx="10"/>
          </p:nvPr>
        </p:nvSpPr>
        <p:spPr>
          <a:xfrm>
            <a:off x="427775" y="311151"/>
            <a:ext cx="4402668" cy="2660652"/>
          </a:xfrm>
          <a:prstGeom prst="rect">
            <a:avLst/>
          </a:prstGeom>
          <a:solidFill>
            <a:schemeClr val="bg1">
              <a:alpha val="30000"/>
            </a:schemeClr>
          </a:solidFill>
          <a:ln>
            <a:solidFill>
              <a:schemeClr val="bg2"/>
            </a:solidFill>
          </a:ln>
          <a:effectLst/>
        </p:spPr>
        <p:txBody>
          <a:bodyPr vert="horz" lIns="91422" tIns="45714" rIns="91422" bIns="45714"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Drag picture to placeholder or click icon to add</a:t>
            </a:r>
            <a:endParaRPr lang="en-US" noProof="0" dirty="0"/>
          </a:p>
        </p:txBody>
      </p:sp>
      <p:sp>
        <p:nvSpPr>
          <p:cNvPr id="51" name="Picture Placeholder 25"/>
          <p:cNvSpPr>
            <a:spLocks noGrp="1"/>
          </p:cNvSpPr>
          <p:nvPr>
            <p:ph type="pic" sz="quarter" idx="12"/>
          </p:nvPr>
        </p:nvSpPr>
        <p:spPr>
          <a:xfrm>
            <a:off x="9306444" y="311151"/>
            <a:ext cx="2451640" cy="1308101"/>
          </a:xfrm>
          <a:prstGeom prst="rect">
            <a:avLst/>
          </a:prstGeom>
          <a:solidFill>
            <a:schemeClr val="bg1">
              <a:alpha val="30000"/>
            </a:schemeClr>
          </a:solidFill>
          <a:ln>
            <a:solidFill>
              <a:schemeClr val="bg2"/>
            </a:solidFill>
          </a:ln>
          <a:effectLst/>
        </p:spPr>
        <p:txBody>
          <a:bodyPr vert="horz" lIns="91422" tIns="45714" rIns="91422" bIns="45714"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Drag picture to placeholder or click icon to add</a:t>
            </a:r>
            <a:endParaRPr lang="en-US" noProof="0" dirty="0"/>
          </a:p>
        </p:txBody>
      </p:sp>
      <p:sp>
        <p:nvSpPr>
          <p:cNvPr id="53" name="Picture Placeholder 25"/>
          <p:cNvSpPr>
            <a:spLocks noGrp="1"/>
          </p:cNvSpPr>
          <p:nvPr>
            <p:ph type="pic" sz="quarter" idx="13"/>
          </p:nvPr>
        </p:nvSpPr>
        <p:spPr>
          <a:xfrm>
            <a:off x="427765" y="3028970"/>
            <a:ext cx="3383227" cy="3458935"/>
          </a:xfrm>
          <a:prstGeom prst="rect">
            <a:avLst/>
          </a:prstGeom>
          <a:solidFill>
            <a:schemeClr val="bg1">
              <a:alpha val="30000"/>
            </a:schemeClr>
          </a:solidFill>
          <a:ln>
            <a:solidFill>
              <a:schemeClr val="bg2"/>
            </a:solidFill>
          </a:ln>
          <a:effectLst/>
        </p:spPr>
        <p:txBody>
          <a:bodyPr vert="horz" lIns="91422" tIns="45714" rIns="91422" bIns="45714"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Drag picture to placeholder or click icon to add</a:t>
            </a:r>
            <a:endParaRPr lang="en-US" noProof="0" dirty="0"/>
          </a:p>
        </p:txBody>
      </p:sp>
      <p:sp>
        <p:nvSpPr>
          <p:cNvPr id="55" name="Picture Placeholder 25"/>
          <p:cNvSpPr>
            <a:spLocks noGrp="1"/>
          </p:cNvSpPr>
          <p:nvPr>
            <p:ph type="pic" sz="quarter" idx="14"/>
          </p:nvPr>
        </p:nvSpPr>
        <p:spPr>
          <a:xfrm>
            <a:off x="3877781" y="3028970"/>
            <a:ext cx="5371355" cy="3458935"/>
          </a:xfrm>
          <a:prstGeom prst="rect">
            <a:avLst/>
          </a:prstGeom>
          <a:solidFill>
            <a:schemeClr val="bg1">
              <a:alpha val="30000"/>
            </a:schemeClr>
          </a:solidFill>
          <a:ln>
            <a:solidFill>
              <a:schemeClr val="bg2"/>
            </a:solidFill>
          </a:ln>
          <a:effectLst/>
        </p:spPr>
        <p:txBody>
          <a:bodyPr vert="horz" lIns="91422" tIns="45714" rIns="91422" bIns="45714"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Drag picture to placeholder or click icon to add</a:t>
            </a:r>
            <a:endParaRPr lang="en-US" noProof="0" dirty="0"/>
          </a:p>
        </p:txBody>
      </p:sp>
      <p:sp>
        <p:nvSpPr>
          <p:cNvPr id="57" name="Picture Placeholder 25"/>
          <p:cNvSpPr>
            <a:spLocks noGrp="1"/>
          </p:cNvSpPr>
          <p:nvPr>
            <p:ph type="pic" sz="quarter" idx="15"/>
          </p:nvPr>
        </p:nvSpPr>
        <p:spPr>
          <a:xfrm>
            <a:off x="9306444" y="1676401"/>
            <a:ext cx="2451640" cy="3449411"/>
          </a:xfrm>
          <a:prstGeom prst="rect">
            <a:avLst/>
          </a:prstGeom>
          <a:solidFill>
            <a:schemeClr val="bg1">
              <a:alpha val="30000"/>
            </a:schemeClr>
          </a:solidFill>
          <a:ln>
            <a:solidFill>
              <a:schemeClr val="bg2"/>
            </a:solidFill>
          </a:ln>
          <a:effectLst/>
        </p:spPr>
        <p:txBody>
          <a:bodyPr vert="horz" lIns="91422" tIns="45714" rIns="91422" bIns="45714"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Drag picture to placeholder or click icon to add</a:t>
            </a:r>
            <a:endParaRPr lang="en-US" noProof="0" dirty="0"/>
          </a:p>
        </p:txBody>
      </p:sp>
      <p:sp>
        <p:nvSpPr>
          <p:cNvPr id="59" name="Picture Placeholder 25"/>
          <p:cNvSpPr>
            <a:spLocks noGrp="1"/>
          </p:cNvSpPr>
          <p:nvPr>
            <p:ph type="pic" sz="quarter" idx="16"/>
          </p:nvPr>
        </p:nvSpPr>
        <p:spPr>
          <a:xfrm>
            <a:off x="9306444" y="5182964"/>
            <a:ext cx="2451640" cy="1304925"/>
          </a:xfrm>
          <a:prstGeom prst="rect">
            <a:avLst/>
          </a:prstGeom>
          <a:solidFill>
            <a:schemeClr val="bg1">
              <a:alpha val="30000"/>
            </a:schemeClr>
          </a:solidFill>
          <a:ln>
            <a:solidFill>
              <a:schemeClr val="bg2"/>
            </a:solidFill>
          </a:ln>
          <a:effectLst/>
        </p:spPr>
        <p:txBody>
          <a:bodyPr vert="horz" lIns="91422" tIns="45714" rIns="91422" bIns="45714"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217139174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6331655"/>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ide screen video">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704869" y="777240"/>
            <a:ext cx="10886575"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91422" tIns="45714" rIns="91422" bIns="45714" rtlCol="0" anchor="ctr">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19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215866239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tandard video">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905785" y="778669"/>
            <a:ext cx="5899416"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91422" tIns="45714" rIns="91422" bIns="45714" rtlCol="0" anchor="ctr">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1900"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293934593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12192000" cy="6866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56137" y="2190751"/>
            <a:ext cx="11679767"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81151248"/>
      </p:ext>
    </p:extLst>
  </p:cSld>
  <p:clrMapOvr>
    <a:masterClrMapping/>
  </p:clrMapOvr>
  <p:transition spd="slow">
    <p:wip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4_Title_Photo">
    <p:spTree>
      <p:nvGrpSpPr>
        <p:cNvPr id="1" name=""/>
        <p:cNvGrpSpPr/>
        <p:nvPr/>
      </p:nvGrpSpPr>
      <p:grpSpPr>
        <a:xfrm>
          <a:off x="0" y="0"/>
          <a:ext cx="0" cy="0"/>
          <a:chOff x="0" y="0"/>
          <a:chExt cx="0" cy="0"/>
        </a:xfrm>
      </p:grpSpPr>
      <p:pic>
        <p:nvPicPr>
          <p:cNvPr id="16" name="Picture Placeholder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0" y="0"/>
            <a:ext cx="12200575" cy="6864856"/>
          </a:xfrm>
          <a:prstGeom prst="rect">
            <a:avLst/>
          </a:prstGeom>
        </p:spPr>
      </p:pic>
      <p:pic>
        <p:nvPicPr>
          <p:cNvPr id="17" name="Picture 8" descr="logo_black.ai"/>
          <p:cNvPicPr>
            <a:picLocks noChangeAspect="1"/>
          </p:cNvPicPr>
          <p:nvPr userDrawn="1"/>
        </p:nvPicPr>
        <p:blipFill>
          <a:blip r:embed="rId3">
            <a:alphaModFix amt="82000"/>
            <a:extLst>
              <a:ext uri="{28A0092B-C50C-407E-A947-70E740481C1C}">
                <a14:useLocalDpi xmlns:a14="http://schemas.microsoft.com/office/drawing/2010/main" val="0"/>
              </a:ext>
            </a:extLst>
          </a:blip>
          <a:srcRect/>
          <a:stretch>
            <a:fillRect/>
          </a:stretch>
        </p:blipFill>
        <p:spPr bwMode="auto">
          <a:xfrm>
            <a:off x="567291" y="427569"/>
            <a:ext cx="1265767" cy="781051"/>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ubtitle 2"/>
          <p:cNvSpPr>
            <a:spLocks noGrp="1"/>
          </p:cNvSpPr>
          <p:nvPr>
            <p:ph type="subTitle" idx="1" hasCustomPrompt="1"/>
          </p:nvPr>
        </p:nvSpPr>
        <p:spPr>
          <a:xfrm>
            <a:off x="626001" y="5057615"/>
            <a:ext cx="11061895" cy="384175"/>
          </a:xfrm>
          <a:prstGeom prst="rect">
            <a:avLst/>
          </a:prstGeom>
        </p:spPr>
        <p:txBody>
          <a:bodyPr lIns="121858" tIns="60929" rIns="121858" bIns="60929" anchor="b" anchorCtr="0">
            <a:noAutofit/>
          </a:bodyPr>
          <a:lstStyle>
            <a:lvl1pPr marL="0" indent="0" algn="l">
              <a:buNone/>
              <a:defRPr sz="1900" b="0" i="0">
                <a:solidFill>
                  <a:schemeClr val="bg1"/>
                </a:solidFill>
                <a:latin typeface="+mn-lt"/>
                <a:cs typeface="CiscoSans"/>
              </a:defRPr>
            </a:lvl1pPr>
            <a:lvl2pPr marL="457003" indent="0" algn="ctr">
              <a:buNone/>
              <a:defRPr>
                <a:solidFill>
                  <a:schemeClr val="tx1">
                    <a:tint val="75000"/>
                  </a:schemeClr>
                </a:solidFill>
              </a:defRPr>
            </a:lvl2pPr>
            <a:lvl3pPr marL="914028" indent="0" algn="ctr">
              <a:buNone/>
              <a:defRPr>
                <a:solidFill>
                  <a:schemeClr val="tx1">
                    <a:tint val="75000"/>
                  </a:schemeClr>
                </a:solidFill>
              </a:defRPr>
            </a:lvl3pPr>
            <a:lvl4pPr marL="1371038" indent="0" algn="ctr">
              <a:buNone/>
              <a:defRPr>
                <a:solidFill>
                  <a:schemeClr val="tx1">
                    <a:tint val="75000"/>
                  </a:schemeClr>
                </a:solidFill>
              </a:defRPr>
            </a:lvl4pPr>
            <a:lvl5pPr marL="1828057" indent="0" algn="ctr">
              <a:buNone/>
              <a:defRPr>
                <a:solidFill>
                  <a:schemeClr val="tx1">
                    <a:tint val="75000"/>
                  </a:schemeClr>
                </a:solidFill>
              </a:defRPr>
            </a:lvl5pPr>
            <a:lvl6pPr marL="2285062" indent="0" algn="ctr">
              <a:buNone/>
              <a:defRPr>
                <a:solidFill>
                  <a:schemeClr val="tx1">
                    <a:tint val="75000"/>
                  </a:schemeClr>
                </a:solidFill>
              </a:defRPr>
            </a:lvl6pPr>
            <a:lvl7pPr marL="2742082" indent="0" algn="ctr">
              <a:buNone/>
              <a:defRPr>
                <a:solidFill>
                  <a:schemeClr val="tx1">
                    <a:tint val="75000"/>
                  </a:schemeClr>
                </a:solidFill>
              </a:defRPr>
            </a:lvl7pPr>
            <a:lvl8pPr marL="3199093" indent="0" algn="ctr">
              <a:buNone/>
              <a:defRPr>
                <a:solidFill>
                  <a:schemeClr val="tx1">
                    <a:tint val="75000"/>
                  </a:schemeClr>
                </a:solidFill>
              </a:defRPr>
            </a:lvl8pPr>
            <a:lvl9pPr marL="3656111" indent="0" algn="ctr">
              <a:buNone/>
              <a:defRPr>
                <a:solidFill>
                  <a:schemeClr val="tx1">
                    <a:tint val="75000"/>
                  </a:schemeClr>
                </a:solidFill>
              </a:defRPr>
            </a:lvl9pPr>
          </a:lstStyle>
          <a:p>
            <a:r>
              <a:rPr lang="en-GB" dirty="0"/>
              <a:t>Speaker Name</a:t>
            </a:r>
            <a:endParaRPr lang="en-US" dirty="0"/>
          </a:p>
        </p:txBody>
      </p:sp>
      <p:sp>
        <p:nvSpPr>
          <p:cNvPr id="12" name="Text Placeholder 38"/>
          <p:cNvSpPr>
            <a:spLocks noGrp="1"/>
          </p:cNvSpPr>
          <p:nvPr>
            <p:ph type="body" sz="quarter" idx="11" hasCustomPrompt="1"/>
          </p:nvPr>
        </p:nvSpPr>
        <p:spPr>
          <a:xfrm>
            <a:off x="626001" y="5438086"/>
            <a:ext cx="11061895" cy="384175"/>
          </a:xfrm>
          <a:prstGeom prst="rect">
            <a:avLst/>
          </a:prstGeom>
        </p:spPr>
        <p:txBody>
          <a:bodyPr lIns="121858" tIns="60929" rIns="121858" bIns="60929"/>
          <a:lstStyle>
            <a:lvl1pPr marL="0" indent="0" algn="l">
              <a:buFontTx/>
              <a:buNone/>
              <a:defRPr lang="en-US" sz="1900" b="0" i="0" kern="1200" dirty="0" smtClean="0">
                <a:solidFill>
                  <a:schemeClr val="bg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3" name="Text Placeholder 40"/>
          <p:cNvSpPr>
            <a:spLocks noGrp="1"/>
          </p:cNvSpPr>
          <p:nvPr>
            <p:ph type="body" sz="quarter" idx="12" hasCustomPrompt="1"/>
          </p:nvPr>
        </p:nvSpPr>
        <p:spPr>
          <a:xfrm>
            <a:off x="626001" y="5818557"/>
            <a:ext cx="11061895" cy="384175"/>
          </a:xfrm>
          <a:prstGeom prst="rect">
            <a:avLst/>
          </a:prstGeom>
        </p:spPr>
        <p:txBody>
          <a:bodyPr lIns="121858" tIns="60929" rIns="121858" bIns="60929"/>
          <a:lstStyle>
            <a:lvl1pPr marL="0" indent="0" algn="l">
              <a:buFontTx/>
              <a:buNone/>
              <a:defRPr lang="en-US" sz="1900" b="0" i="0" kern="1200" dirty="0" smtClean="0">
                <a:solidFill>
                  <a:schemeClr val="bg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4" name="Text Placeholder 2"/>
          <p:cNvSpPr>
            <a:spLocks noGrp="1"/>
          </p:cNvSpPr>
          <p:nvPr>
            <p:ph type="body" sz="quarter" idx="13" hasCustomPrompt="1"/>
          </p:nvPr>
        </p:nvSpPr>
        <p:spPr>
          <a:xfrm>
            <a:off x="617737" y="4281951"/>
            <a:ext cx="11070167" cy="398668"/>
          </a:xfrm>
          <a:prstGeom prst="rect">
            <a:avLst/>
          </a:prstGeom>
        </p:spPr>
        <p:txBody>
          <a:bodyPr lIns="121858" tIns="60929" rIns="121858" bIns="60929"/>
          <a:lstStyle>
            <a:lvl1pPr marL="0" indent="0">
              <a:buFont typeface="Arial" panose="020B0604020202020204" pitchFamily="34" charset="0"/>
              <a:buNone/>
              <a:defRPr sz="2900" baseline="0">
                <a:solidFill>
                  <a:srgbClr val="4D4D4D"/>
                </a:solidFill>
                <a:latin typeface="+mj-lt"/>
              </a:defRPr>
            </a:lvl1pPr>
            <a:lvl2pPr marL="406261" indent="0">
              <a:buNone/>
              <a:defRPr/>
            </a:lvl2pPr>
            <a:lvl3pPr marL="569702" indent="0">
              <a:buNone/>
              <a:defRPr/>
            </a:lvl3pPr>
            <a:lvl4pPr marL="688727" indent="0">
              <a:buNone/>
              <a:defRPr/>
            </a:lvl4pPr>
            <a:lvl5pPr marL="801395" indent="0">
              <a:buNone/>
              <a:defRPr/>
            </a:lvl5pPr>
          </a:lstStyle>
          <a:p>
            <a:pPr lvl="0"/>
            <a:r>
              <a:rPr lang="en-GB" dirty="0"/>
              <a:t>Subtitle Goes Here</a:t>
            </a:r>
          </a:p>
        </p:txBody>
      </p:sp>
      <p:sp>
        <p:nvSpPr>
          <p:cNvPr id="10" name="Title 1"/>
          <p:cNvSpPr>
            <a:spLocks noGrp="1"/>
          </p:cNvSpPr>
          <p:nvPr>
            <p:ph type="ctrTitle" hasCustomPrompt="1"/>
          </p:nvPr>
        </p:nvSpPr>
        <p:spPr>
          <a:xfrm>
            <a:off x="567689" y="3519969"/>
            <a:ext cx="11120203" cy="859640"/>
          </a:xfrm>
          <a:prstGeom prst="rect">
            <a:avLst/>
          </a:prstGeom>
        </p:spPr>
        <p:txBody>
          <a:bodyPr anchor="b"/>
          <a:lstStyle>
            <a:lvl1pPr marL="0" indent="0" algn="l">
              <a:lnSpc>
                <a:spcPct val="90000"/>
              </a:lnSpc>
              <a:buFont typeface="Arial" panose="020B0604020202020204" pitchFamily="34" charset="0"/>
              <a:buNone/>
              <a:defRPr sz="6900" b="0" i="0" spc="0" baseline="0">
                <a:solidFill>
                  <a:srgbClr val="4D4D4D"/>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3403352775"/>
      </p:ext>
    </p:extLst>
  </p:cSld>
  <p:clrMapOvr>
    <a:masterClrMapping/>
  </p:clrMapOvr>
  <p:transition spd="slow">
    <p:wip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3"/>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lIns="91442" tIns="45726" rIns="91442" bIns="45726"/>
          <a:lstStyle>
            <a:lvl1pPr marL="0" indent="0" algn="ctr">
              <a:buNone/>
              <a:defRPr>
                <a:solidFill>
                  <a:schemeClr val="tx1">
                    <a:tint val="75000"/>
                  </a:schemeClr>
                </a:solidFill>
              </a:defRPr>
            </a:lvl1pPr>
            <a:lvl2pPr marL="457203" indent="0" algn="ctr">
              <a:buNone/>
              <a:defRPr>
                <a:solidFill>
                  <a:schemeClr val="tx1">
                    <a:tint val="75000"/>
                  </a:schemeClr>
                </a:solidFill>
              </a:defRPr>
            </a:lvl2pPr>
            <a:lvl3pPr marL="914408" indent="0" algn="ctr">
              <a:buNone/>
              <a:defRPr>
                <a:solidFill>
                  <a:schemeClr val="tx1">
                    <a:tint val="75000"/>
                  </a:schemeClr>
                </a:solidFill>
              </a:defRPr>
            </a:lvl3pPr>
            <a:lvl4pPr marL="1371612" indent="0" algn="ctr">
              <a:buNone/>
              <a:defRPr>
                <a:solidFill>
                  <a:schemeClr val="tx1">
                    <a:tint val="75000"/>
                  </a:schemeClr>
                </a:solidFill>
              </a:defRPr>
            </a:lvl4pPr>
            <a:lvl5pPr marL="1828817" indent="0" algn="ctr">
              <a:buNone/>
              <a:defRPr>
                <a:solidFill>
                  <a:schemeClr val="tx1">
                    <a:tint val="75000"/>
                  </a:schemeClr>
                </a:solidFill>
              </a:defRPr>
            </a:lvl5pPr>
            <a:lvl6pPr marL="2286022" indent="0" algn="ctr">
              <a:buNone/>
              <a:defRPr>
                <a:solidFill>
                  <a:schemeClr val="tx1">
                    <a:tint val="75000"/>
                  </a:schemeClr>
                </a:solidFill>
              </a:defRPr>
            </a:lvl6pPr>
            <a:lvl7pPr marL="2743225" indent="0" algn="ctr">
              <a:buNone/>
              <a:defRPr>
                <a:solidFill>
                  <a:schemeClr val="tx1">
                    <a:tint val="75000"/>
                  </a:schemeClr>
                </a:solidFill>
              </a:defRPr>
            </a:lvl7pPr>
            <a:lvl8pPr marL="3200427" indent="0" algn="ctr">
              <a:buNone/>
              <a:defRPr>
                <a:solidFill>
                  <a:schemeClr val="tx1">
                    <a:tint val="75000"/>
                  </a:schemeClr>
                </a:solidFill>
              </a:defRPr>
            </a:lvl8pPr>
            <a:lvl9pPr marL="365763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lIns="91442" tIns="45726" rIns="91442" bIns="45726"/>
          <a:lstStyle/>
          <a:p>
            <a:pPr defTabSz="609523" fontAlgn="base">
              <a:spcBef>
                <a:spcPct val="0"/>
              </a:spcBef>
              <a:spcAft>
                <a:spcPct val="0"/>
              </a:spcAft>
            </a:pPr>
            <a:fld id="{C7938085-19D1-4680-9254-6A675DCF63A1}" type="datetimeFigureOut">
              <a:rPr lang="en-US" smtClean="0">
                <a:solidFill>
                  <a:srgbClr val="676767"/>
                </a:solidFill>
                <a:ea typeface="ＭＳ Ｐゴシック" charset="0"/>
              </a:rPr>
              <a:pPr defTabSz="609523" fontAlgn="base">
                <a:spcBef>
                  <a:spcPct val="0"/>
                </a:spcBef>
                <a:spcAft>
                  <a:spcPct val="0"/>
                </a:spcAft>
              </a:pPr>
              <a:t>10/15/19</a:t>
            </a:fld>
            <a:endParaRPr lang="en-US">
              <a:solidFill>
                <a:srgbClr val="676767"/>
              </a:solidFill>
              <a:ea typeface="ＭＳ Ｐゴシック" charset="0"/>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lIns="91442" tIns="45726" rIns="91442" bIns="45726"/>
          <a:lstStyle/>
          <a:p>
            <a:pPr defTabSz="609523" fontAlgn="base">
              <a:spcBef>
                <a:spcPct val="0"/>
              </a:spcBef>
              <a:spcAft>
                <a:spcPct val="0"/>
              </a:spcAft>
            </a:pPr>
            <a:endParaRPr lang="en-US">
              <a:solidFill>
                <a:srgbClr val="676767"/>
              </a:solidFill>
              <a:ea typeface="ＭＳ Ｐゴシック" charset="0"/>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lIns="91442" tIns="45726" rIns="91442" bIns="45726"/>
          <a:lstStyle/>
          <a:p>
            <a:pPr defTabSz="609523" fontAlgn="base">
              <a:spcBef>
                <a:spcPct val="0"/>
              </a:spcBef>
              <a:spcAft>
                <a:spcPct val="0"/>
              </a:spcAft>
            </a:pPr>
            <a:fld id="{8AE9F519-454F-48D7-8911-FEAC264EACDD}" type="slidenum">
              <a:rPr lang="en-US" smtClean="0">
                <a:solidFill>
                  <a:srgbClr val="676767"/>
                </a:solidFill>
                <a:ea typeface="ＭＳ Ｐゴシック" charset="0"/>
              </a:rPr>
              <a:pPr defTabSz="609523" fontAlgn="base">
                <a:spcBef>
                  <a:spcPct val="0"/>
                </a:spcBef>
                <a:spcAft>
                  <a:spcPct val="0"/>
                </a:spcAft>
              </a:pPr>
              <a:t>‹#›</a:t>
            </a:fld>
            <a:endParaRPr lang="en-US">
              <a:solidFill>
                <a:srgbClr val="676767"/>
              </a:solidFill>
              <a:ea typeface="ＭＳ Ｐゴシック" charset="0"/>
            </a:endParaRPr>
          </a:p>
        </p:txBody>
      </p:sp>
    </p:spTree>
    <p:extLst>
      <p:ext uri="{BB962C8B-B14F-4D97-AF65-F5344CB8AC3E}">
        <p14:creationId xmlns:p14="http://schemas.microsoft.com/office/powerpoint/2010/main" val="422514525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lIns="121906" tIns="60953" rIns="121906" bIns="60953"/>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2"/>
            <a:ext cx="2844800" cy="365125"/>
          </a:xfrm>
          <a:prstGeom prst="rect">
            <a:avLst/>
          </a:prstGeom>
        </p:spPr>
        <p:txBody>
          <a:bodyPr lIns="121906" tIns="60953" rIns="121906" bIns="60953"/>
          <a:lstStyle/>
          <a:p>
            <a:pPr defTabSz="609523" fontAlgn="base">
              <a:spcBef>
                <a:spcPct val="0"/>
              </a:spcBef>
              <a:spcAft>
                <a:spcPct val="0"/>
              </a:spcAft>
            </a:pPr>
            <a:fld id="{C7938085-19D1-4680-9254-6A675DCF63A1}" type="datetimeFigureOut">
              <a:rPr lang="en-US" smtClean="0">
                <a:solidFill>
                  <a:srgbClr val="676767"/>
                </a:solidFill>
                <a:ea typeface="ＭＳ Ｐゴシック" charset="0"/>
              </a:rPr>
              <a:pPr defTabSz="609523" fontAlgn="base">
                <a:spcBef>
                  <a:spcPct val="0"/>
                </a:spcBef>
                <a:spcAft>
                  <a:spcPct val="0"/>
                </a:spcAft>
              </a:pPr>
              <a:t>10/15/19</a:t>
            </a:fld>
            <a:endParaRPr lang="en-US">
              <a:solidFill>
                <a:srgbClr val="676767"/>
              </a:solidFill>
              <a:ea typeface="ＭＳ Ｐゴシック" charset="0"/>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lIns="121906" tIns="60953" rIns="121906" bIns="60953"/>
          <a:lstStyle/>
          <a:p>
            <a:pPr defTabSz="609523" fontAlgn="base">
              <a:spcBef>
                <a:spcPct val="0"/>
              </a:spcBef>
              <a:spcAft>
                <a:spcPct val="0"/>
              </a:spcAft>
            </a:pPr>
            <a:endParaRPr lang="en-US">
              <a:solidFill>
                <a:srgbClr val="676767"/>
              </a:solidFill>
              <a:ea typeface="ＭＳ Ｐゴシック" charset="0"/>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lIns="121906" tIns="60953" rIns="121906" bIns="60953"/>
          <a:lstStyle/>
          <a:p>
            <a:pPr defTabSz="609523" fontAlgn="base">
              <a:spcBef>
                <a:spcPct val="0"/>
              </a:spcBef>
              <a:spcAft>
                <a:spcPct val="0"/>
              </a:spcAft>
            </a:pPr>
            <a:fld id="{8AE9F519-454F-48D7-8911-FEAC264EACDD}" type="slidenum">
              <a:rPr lang="en-US" smtClean="0">
                <a:solidFill>
                  <a:srgbClr val="676767"/>
                </a:solidFill>
                <a:ea typeface="ＭＳ Ｐゴシック" charset="0"/>
              </a:rPr>
              <a:pPr defTabSz="609523" fontAlgn="base">
                <a:spcBef>
                  <a:spcPct val="0"/>
                </a:spcBef>
                <a:spcAft>
                  <a:spcPct val="0"/>
                </a:spcAft>
              </a:pPr>
              <a:t>‹#›</a:t>
            </a:fld>
            <a:endParaRPr lang="en-US">
              <a:solidFill>
                <a:srgbClr val="676767"/>
              </a:solidFill>
              <a:ea typeface="ＭＳ Ｐゴシック" charset="0"/>
            </a:endParaRPr>
          </a:p>
        </p:txBody>
      </p:sp>
    </p:spTree>
    <p:extLst>
      <p:ext uri="{BB962C8B-B14F-4D97-AF65-F5344CB8AC3E}">
        <p14:creationId xmlns:p14="http://schemas.microsoft.com/office/powerpoint/2010/main" val="260983528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_Title Slide-animated gradient">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561600" y="432000"/>
            <a:ext cx="1266128" cy="780288"/>
          </a:xfrm>
          <a:prstGeom prst="rect">
            <a:avLst/>
          </a:prstGeom>
        </p:spPr>
      </p:pic>
      <p:sp>
        <p:nvSpPr>
          <p:cNvPr id="16" name="Subtitle 2"/>
          <p:cNvSpPr>
            <a:spLocks noGrp="1"/>
          </p:cNvSpPr>
          <p:nvPr>
            <p:ph type="subTitle" idx="1" hasCustomPrompt="1"/>
          </p:nvPr>
        </p:nvSpPr>
        <p:spPr>
          <a:xfrm>
            <a:off x="625995" y="5057598"/>
            <a:ext cx="11061895" cy="384175"/>
          </a:xfrm>
          <a:prstGeom prst="rect">
            <a:avLst/>
          </a:prstGeom>
        </p:spPr>
        <p:txBody>
          <a:bodyPr lIns="121890" tIns="60945" rIns="121890" bIns="60945" anchor="b" anchorCtr="0">
            <a:noAutofit/>
          </a:bodyPr>
          <a:lstStyle>
            <a:lvl1pPr marL="0" indent="0" algn="l">
              <a:buNone/>
              <a:defRPr sz="1900" b="0" i="0">
                <a:solidFill>
                  <a:srgbClr val="FFFFFE"/>
                </a:solidFill>
                <a:latin typeface="+mn-lt"/>
                <a:cs typeface="CiscoSans"/>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377594"/>
            <a:ext cx="11061895" cy="384175"/>
          </a:xfrm>
          <a:prstGeom prst="rect">
            <a:avLst/>
          </a:prstGeom>
        </p:spPr>
        <p:txBody>
          <a:bodyPr lIns="121890" tIns="60945" rIns="121890" bIns="60945"/>
          <a:lstStyle>
            <a:lvl1pPr marL="0" indent="0" algn="l">
              <a:buFontTx/>
              <a:buNone/>
              <a:defRPr lang="en-US" sz="1900"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697590"/>
            <a:ext cx="11061895" cy="384175"/>
          </a:xfrm>
          <a:prstGeom prst="rect">
            <a:avLst/>
          </a:prstGeom>
        </p:spPr>
        <p:txBody>
          <a:bodyPr lIns="121890" tIns="60945" rIns="121890" bIns="60945"/>
          <a:lstStyle>
            <a:lvl1pPr marL="0" indent="0" algn="l">
              <a:buFontTx/>
              <a:buNone/>
              <a:defRPr lang="en-US" sz="1900"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281951"/>
            <a:ext cx="11070167" cy="398668"/>
          </a:xfrm>
          <a:prstGeom prst="rect">
            <a:avLst/>
          </a:prstGeom>
        </p:spPr>
        <p:txBody>
          <a:bodyPr lIns="121890" tIns="60945" rIns="121890" bIns="60945"/>
          <a:lstStyle>
            <a:lvl1pPr marL="0" indent="0">
              <a:buFont typeface="Arial" panose="020B0604020202020204" pitchFamily="34" charset="0"/>
              <a:buNone/>
              <a:defRPr sz="2900" baseline="0">
                <a:solidFill>
                  <a:srgbClr val="FFFFFE"/>
                </a:solidFill>
                <a:latin typeface="+mj-l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519969"/>
            <a:ext cx="11120203" cy="859640"/>
          </a:xfrm>
          <a:prstGeom prst="rect">
            <a:avLst/>
          </a:prstGeom>
        </p:spPr>
        <p:txBody>
          <a:bodyPr anchor="b"/>
          <a:lstStyle>
            <a:lvl1pPr marL="0" indent="0" algn="l">
              <a:lnSpc>
                <a:spcPct val="90000"/>
              </a:lnSpc>
              <a:buFont typeface="Arial" panose="020B0604020202020204" pitchFamily="34" charset="0"/>
              <a:buNone/>
              <a:defRPr sz="69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1217056682"/>
      </p:ext>
    </p:extLst>
  </p:cSld>
  <p:clrMapOvr>
    <a:masterClrMapping/>
  </p:clrMapOvr>
  <p:transition spd="slow">
    <p:wip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30" tIns="45716" rIns="91430" bIns="45716" anchor="ctr"/>
          <a:lstStyle/>
          <a:p>
            <a:pPr defTabSz="609585" fontAlgn="base">
              <a:spcBef>
                <a:spcPct val="0"/>
              </a:spcBef>
              <a:spcAft>
                <a:spcPct val="0"/>
              </a:spcAft>
            </a:pPr>
            <a:endParaRPr lang="en-US" sz="1800">
              <a:solidFill>
                <a:srgbClr val="676767"/>
              </a:solidFill>
              <a:ea typeface="ＭＳ Ｐゴシック" charset="0"/>
            </a:endParaRPr>
          </a:p>
        </p:txBody>
      </p:sp>
      <p:sp>
        <p:nvSpPr>
          <p:cNvPr id="6" name="Rectangle 3"/>
          <p:cNvSpPr>
            <a:spLocks noChangeArrowheads="1"/>
          </p:cNvSpPr>
          <p:nvPr/>
        </p:nvSpPr>
        <p:spPr bwMode="hidden">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30" tIns="45716" rIns="91430" bIns="45716" anchor="ctr"/>
          <a:lstStyle/>
          <a:p>
            <a:pPr defTabSz="609585" fontAlgn="base">
              <a:spcBef>
                <a:spcPct val="0"/>
              </a:spcBef>
              <a:spcAft>
                <a:spcPct val="0"/>
              </a:spcAft>
            </a:pPr>
            <a:endParaRPr lang="en-US" sz="1800">
              <a:solidFill>
                <a:srgbClr val="676767"/>
              </a:solidFill>
              <a:ea typeface="ＭＳ Ｐゴシック" charset="0"/>
            </a:endParaRPr>
          </a:p>
        </p:txBody>
      </p:sp>
      <p:sp>
        <p:nvSpPr>
          <p:cNvPr id="3" name="Subtitle 2"/>
          <p:cNvSpPr>
            <a:spLocks noGrp="1"/>
          </p:cNvSpPr>
          <p:nvPr>
            <p:ph type="subTitle" idx="1" hasCustomPrompt="1"/>
          </p:nvPr>
        </p:nvSpPr>
        <p:spPr>
          <a:xfrm>
            <a:off x="666554" y="4279401"/>
            <a:ext cx="6246489" cy="384175"/>
          </a:xfrm>
          <a:prstGeom prst="rect">
            <a:avLst/>
          </a:prstGeom>
        </p:spPr>
        <p:txBody>
          <a:bodyPr vert="horz" lIns="91430" tIns="45716" rIns="91430" bIns="45716" rtlCol="0">
            <a:noAutofit/>
          </a:bodyPr>
          <a:lstStyle>
            <a:lvl1pPr marL="0" indent="0" algn="l" defTabSz="914308" rtl="0" eaLnBrk="1" latinLnBrk="0" hangingPunct="1">
              <a:lnSpc>
                <a:spcPct val="95000"/>
              </a:lnSpc>
              <a:spcBef>
                <a:spcPts val="1440"/>
              </a:spcBef>
              <a:buClr>
                <a:srgbClr val="92D050"/>
              </a:buClr>
              <a:buSzPct val="90000"/>
              <a:buFont typeface="Arial" pitchFamily="34" charset="0"/>
              <a:buNone/>
              <a:tabLst/>
              <a:defRPr lang="en-US" sz="2400" kern="1200" baseline="0" dirty="0">
                <a:solidFill>
                  <a:schemeClr val="accent3"/>
                </a:solidFill>
                <a:latin typeface="+mj-lt"/>
                <a:ea typeface="+mn-ea"/>
                <a:cs typeface="+mn-cs"/>
              </a:defRPr>
            </a:lvl1pPr>
            <a:lvl2pPr marL="457150" indent="0" algn="ctr">
              <a:buNone/>
              <a:defRPr>
                <a:solidFill>
                  <a:schemeClr val="tx1">
                    <a:tint val="75000"/>
                  </a:schemeClr>
                </a:solidFill>
              </a:defRPr>
            </a:lvl2pPr>
            <a:lvl3pPr marL="914308" indent="0" algn="ctr">
              <a:buNone/>
              <a:defRPr>
                <a:solidFill>
                  <a:schemeClr val="tx1">
                    <a:tint val="75000"/>
                  </a:schemeClr>
                </a:solidFill>
              </a:defRPr>
            </a:lvl3pPr>
            <a:lvl4pPr marL="1371462" indent="0" algn="ctr">
              <a:buNone/>
              <a:defRPr>
                <a:solidFill>
                  <a:schemeClr val="tx1">
                    <a:tint val="75000"/>
                  </a:schemeClr>
                </a:solidFill>
              </a:defRPr>
            </a:lvl4pPr>
            <a:lvl5pPr marL="1828618" indent="0" algn="ctr">
              <a:buNone/>
              <a:defRPr>
                <a:solidFill>
                  <a:schemeClr val="tx1">
                    <a:tint val="75000"/>
                  </a:schemeClr>
                </a:solidFill>
              </a:defRPr>
            </a:lvl5pPr>
            <a:lvl6pPr marL="2285768"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7" indent="0" algn="ctr">
              <a:buNone/>
              <a:defRPr>
                <a:solidFill>
                  <a:schemeClr val="tx1">
                    <a:tint val="75000"/>
                  </a:schemeClr>
                </a:solidFill>
              </a:defRPr>
            </a:lvl9pPr>
          </a:lstStyle>
          <a:p>
            <a:pPr lvl="0"/>
            <a:r>
              <a:rPr lang="en-GB" dirty="0"/>
              <a:t>Presenter Name and Title Go Here</a:t>
            </a:r>
            <a:endParaRPr lang="en-US" dirty="0"/>
          </a:p>
        </p:txBody>
      </p:sp>
      <p:sp>
        <p:nvSpPr>
          <p:cNvPr id="2" name="Title 1"/>
          <p:cNvSpPr>
            <a:spLocks noGrp="1"/>
          </p:cNvSpPr>
          <p:nvPr>
            <p:ph type="ctrTitle" hasCustomPrompt="1"/>
          </p:nvPr>
        </p:nvSpPr>
        <p:spPr>
          <a:xfrm>
            <a:off x="612701" y="3282703"/>
            <a:ext cx="6283409" cy="1022351"/>
          </a:xfrm>
        </p:spPr>
        <p:txBody>
          <a:bodyPr lIns="82285" tIns="45716" rIns="82285" bIns="45716" rtlCol="0" anchor="b">
            <a:noAutofit/>
          </a:bodyPr>
          <a:lstStyle>
            <a:lvl1pPr marL="0" indent="0" algn="l" defTabSz="914308" rtl="0" eaLnBrk="1" latinLnBrk="0" hangingPunct="1">
              <a:lnSpc>
                <a:spcPct val="80000"/>
              </a:lnSpc>
              <a:spcBef>
                <a:spcPct val="0"/>
              </a:spcBef>
              <a:buClr>
                <a:schemeClr val="tx1"/>
              </a:buClr>
              <a:buFont typeface="Ciscolight" pitchFamily="2" charset="0"/>
              <a:buNone/>
              <a:defRPr lang="en-US" sz="6900" b="0" kern="1200" spc="0" baseline="0" dirty="0">
                <a:solidFill>
                  <a:srgbClr val="3E6BB4"/>
                </a:solidFill>
                <a:latin typeface="+mj-lt"/>
                <a:ea typeface="+mj-ea"/>
                <a:cs typeface="+mj-cs"/>
              </a:defRPr>
            </a:lvl1pPr>
          </a:lstStyle>
          <a:p>
            <a:r>
              <a:rPr lang="en-GB" dirty="0"/>
              <a:t>Demo Title</a:t>
            </a:r>
            <a:endParaRPr lang="en-US" dirty="0"/>
          </a:p>
        </p:txBody>
      </p:sp>
      <p:sp>
        <p:nvSpPr>
          <p:cNvPr id="31" name="Picture Placeholder 30"/>
          <p:cNvSpPr>
            <a:spLocks noGrp="1"/>
          </p:cNvSpPr>
          <p:nvPr>
            <p:ph type="pic" sz="quarter" idx="10"/>
          </p:nvPr>
        </p:nvSpPr>
        <p:spPr>
          <a:xfrm>
            <a:off x="7387175" y="1917701"/>
            <a:ext cx="3568700" cy="2889251"/>
          </a:xfrm>
          <a:prstGeom prst="rect">
            <a:avLst/>
          </a:prstGeom>
        </p:spPr>
        <p:txBody>
          <a:bodyPr lIns="121890" tIns="60945" rIns="121890" bIns="60945" anchor="ctr" anchorCtr="1"/>
          <a:lstStyle>
            <a:lvl1pPr marL="0" indent="0" algn="ctr">
              <a:buNone/>
              <a:defRPr>
                <a:solidFill>
                  <a:schemeClr val="accent3"/>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588146217"/>
      </p:ext>
    </p:extLst>
  </p:cSld>
  <p:clrMapOvr>
    <a:masterClrMapping/>
  </p:clrMapOvr>
  <p:transition spd="slow">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_Photo">
    <p:spTree>
      <p:nvGrpSpPr>
        <p:cNvPr id="1" name=""/>
        <p:cNvGrpSpPr/>
        <p:nvPr/>
      </p:nvGrpSpPr>
      <p:grpSpPr>
        <a:xfrm>
          <a:off x="0" y="0"/>
          <a:ext cx="0" cy="0"/>
          <a:chOff x="0" y="0"/>
          <a:chExt cx="0" cy="0"/>
        </a:xfrm>
      </p:grpSpPr>
      <p:pic>
        <p:nvPicPr>
          <p:cNvPr id="2" name="Picture 1" descr="ducks.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096" y="-7996"/>
            <a:ext cx="12204192" cy="6873999"/>
          </a:xfrm>
          <a:prstGeom prst="rect">
            <a:avLst/>
          </a:prstGeom>
        </p:spPr>
      </p:pic>
      <p:pic>
        <p:nvPicPr>
          <p:cNvPr id="15"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568069" y="427569"/>
            <a:ext cx="1264175" cy="781051"/>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ubtitle 2"/>
          <p:cNvSpPr>
            <a:spLocks noGrp="1"/>
          </p:cNvSpPr>
          <p:nvPr>
            <p:ph type="subTitle" idx="1" hasCustomPrompt="1"/>
          </p:nvPr>
        </p:nvSpPr>
        <p:spPr>
          <a:xfrm>
            <a:off x="626001" y="5057603"/>
            <a:ext cx="11061895" cy="384175"/>
          </a:xfrm>
          <a:prstGeom prst="rect">
            <a:avLst/>
          </a:prstGeom>
        </p:spPr>
        <p:txBody>
          <a:bodyPr lIns="91412" tIns="45710" rIns="91412" bIns="45710" anchor="b" anchorCtr="0">
            <a:noAutofit/>
          </a:bodyPr>
          <a:lstStyle>
            <a:lvl1pPr marL="0" indent="0" algn="l">
              <a:buNone/>
              <a:defRPr sz="1900" b="0" i="0">
                <a:solidFill>
                  <a:srgbClr val="4D4D4D"/>
                </a:solidFill>
                <a:latin typeface="+mn-lt"/>
                <a:cs typeface="CiscoSans"/>
              </a:defRPr>
            </a:lvl1pPr>
            <a:lvl2pPr marL="457083" indent="0" algn="ctr">
              <a:buNone/>
              <a:defRPr>
                <a:solidFill>
                  <a:schemeClr val="tx1">
                    <a:tint val="75000"/>
                  </a:schemeClr>
                </a:solidFill>
              </a:defRPr>
            </a:lvl2pPr>
            <a:lvl3pPr marL="914180" indent="0" algn="ctr">
              <a:buNone/>
              <a:defRPr>
                <a:solidFill>
                  <a:schemeClr val="tx1">
                    <a:tint val="75000"/>
                  </a:schemeClr>
                </a:solidFill>
              </a:defRPr>
            </a:lvl3pPr>
            <a:lvl4pPr marL="1371268" indent="0" algn="ctr">
              <a:buNone/>
              <a:defRPr>
                <a:solidFill>
                  <a:schemeClr val="tx1">
                    <a:tint val="75000"/>
                  </a:schemeClr>
                </a:solidFill>
              </a:defRPr>
            </a:lvl4pPr>
            <a:lvl5pPr marL="1828361" indent="0" algn="ctr">
              <a:buNone/>
              <a:defRPr>
                <a:solidFill>
                  <a:schemeClr val="tx1">
                    <a:tint val="75000"/>
                  </a:schemeClr>
                </a:solidFill>
              </a:defRPr>
            </a:lvl5pPr>
            <a:lvl6pPr marL="2285446" indent="0" algn="ctr">
              <a:buNone/>
              <a:defRPr>
                <a:solidFill>
                  <a:schemeClr val="tx1">
                    <a:tint val="75000"/>
                  </a:schemeClr>
                </a:solidFill>
              </a:defRPr>
            </a:lvl6pPr>
            <a:lvl7pPr marL="2742541" indent="0" algn="ctr">
              <a:buNone/>
              <a:defRPr>
                <a:solidFill>
                  <a:schemeClr val="tx1">
                    <a:tint val="75000"/>
                  </a:schemeClr>
                </a:solidFill>
              </a:defRPr>
            </a:lvl7pPr>
            <a:lvl8pPr marL="3199627" indent="0" algn="ctr">
              <a:buNone/>
              <a:defRPr>
                <a:solidFill>
                  <a:schemeClr val="tx1">
                    <a:tint val="75000"/>
                  </a:schemeClr>
                </a:solidFill>
              </a:defRPr>
            </a:lvl8pPr>
            <a:lvl9pPr marL="3656719" indent="0" algn="ctr">
              <a:buNone/>
              <a:defRPr>
                <a:solidFill>
                  <a:schemeClr val="tx1">
                    <a:tint val="75000"/>
                  </a:schemeClr>
                </a:solidFill>
              </a:defRPr>
            </a:lvl9pPr>
          </a:lstStyle>
          <a:p>
            <a:r>
              <a:rPr lang="en-GB" dirty="0"/>
              <a:t>Speaker Name</a:t>
            </a:r>
            <a:endParaRPr lang="en-US" dirty="0"/>
          </a:p>
        </p:txBody>
      </p:sp>
      <p:sp>
        <p:nvSpPr>
          <p:cNvPr id="12" name="Text Placeholder 38"/>
          <p:cNvSpPr>
            <a:spLocks noGrp="1"/>
          </p:cNvSpPr>
          <p:nvPr>
            <p:ph type="body" sz="quarter" idx="11" hasCustomPrompt="1"/>
          </p:nvPr>
        </p:nvSpPr>
        <p:spPr>
          <a:xfrm>
            <a:off x="626001" y="5438074"/>
            <a:ext cx="11061895" cy="384175"/>
          </a:xfrm>
          <a:prstGeom prst="rect">
            <a:avLst/>
          </a:prstGeom>
        </p:spPr>
        <p:txBody>
          <a:bodyPr lIns="91412" tIns="45710" rIns="91412" bIns="45710"/>
          <a:lstStyle>
            <a:lvl1pPr marL="0" indent="0" algn="l">
              <a:buFontTx/>
              <a:buNone/>
              <a:defRPr lang="en-US" sz="1900"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3" name="Text Placeholder 40"/>
          <p:cNvSpPr>
            <a:spLocks noGrp="1"/>
          </p:cNvSpPr>
          <p:nvPr>
            <p:ph type="body" sz="quarter" idx="12" hasCustomPrompt="1"/>
          </p:nvPr>
        </p:nvSpPr>
        <p:spPr>
          <a:xfrm>
            <a:off x="626001" y="5818545"/>
            <a:ext cx="11061895" cy="384175"/>
          </a:xfrm>
          <a:prstGeom prst="rect">
            <a:avLst/>
          </a:prstGeom>
        </p:spPr>
        <p:txBody>
          <a:bodyPr lIns="91412" tIns="45710" rIns="91412" bIns="45710"/>
          <a:lstStyle>
            <a:lvl1pPr marL="0" indent="0" algn="l">
              <a:buFontTx/>
              <a:buNone/>
              <a:defRPr lang="en-US" sz="1900"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4" name="Text Placeholder 2"/>
          <p:cNvSpPr>
            <a:spLocks noGrp="1"/>
          </p:cNvSpPr>
          <p:nvPr>
            <p:ph type="body" sz="quarter" idx="13" hasCustomPrompt="1"/>
          </p:nvPr>
        </p:nvSpPr>
        <p:spPr>
          <a:xfrm>
            <a:off x="617729" y="4281951"/>
            <a:ext cx="11070167" cy="398668"/>
          </a:xfrm>
          <a:prstGeom prst="rect">
            <a:avLst/>
          </a:prstGeom>
        </p:spPr>
        <p:txBody>
          <a:bodyPr lIns="91412" tIns="45710" rIns="91412" bIns="45710"/>
          <a:lstStyle>
            <a:lvl1pPr marL="0" indent="0">
              <a:buFont typeface="Arial" panose="020B0604020202020204" pitchFamily="34" charset="0"/>
              <a:buNone/>
              <a:defRPr sz="2900" baseline="0">
                <a:solidFill>
                  <a:srgbClr val="4D4D4D"/>
                </a:solidFill>
                <a:latin typeface="+mj-lt"/>
              </a:defRPr>
            </a:lvl1pPr>
            <a:lvl2pPr marL="406325" indent="0">
              <a:buNone/>
              <a:defRPr/>
            </a:lvl2pPr>
            <a:lvl3pPr marL="569798" indent="0">
              <a:buNone/>
              <a:defRPr/>
            </a:lvl3pPr>
            <a:lvl4pPr marL="688839" indent="0">
              <a:buNone/>
              <a:defRPr/>
            </a:lvl4pPr>
            <a:lvl5pPr marL="801528" indent="0">
              <a:buNone/>
              <a:defRPr/>
            </a:lvl5pPr>
          </a:lstStyle>
          <a:p>
            <a:pPr lvl="0"/>
            <a:r>
              <a:rPr lang="en-GB" dirty="0"/>
              <a:t>Subtitle Goes Here</a:t>
            </a:r>
          </a:p>
        </p:txBody>
      </p:sp>
      <p:sp>
        <p:nvSpPr>
          <p:cNvPr id="10" name="Title 1"/>
          <p:cNvSpPr>
            <a:spLocks noGrp="1"/>
          </p:cNvSpPr>
          <p:nvPr>
            <p:ph type="ctrTitle" hasCustomPrompt="1"/>
          </p:nvPr>
        </p:nvSpPr>
        <p:spPr>
          <a:xfrm>
            <a:off x="567689" y="3519969"/>
            <a:ext cx="11120203" cy="859640"/>
          </a:xfrm>
          <a:prstGeom prst="rect">
            <a:avLst/>
          </a:prstGeom>
        </p:spPr>
        <p:txBody>
          <a:bodyPr anchor="b"/>
          <a:lstStyle>
            <a:lvl1pPr marL="0" indent="0" algn="l">
              <a:lnSpc>
                <a:spcPct val="90000"/>
              </a:lnSpc>
              <a:buFont typeface="Arial" panose="020B0604020202020204" pitchFamily="34" charset="0"/>
              <a:buNone/>
              <a:defRPr sz="6900" b="0" i="0" spc="0" baseline="0">
                <a:solidFill>
                  <a:srgbClr val="4D4D4D"/>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512613475"/>
      </p:ext>
    </p:extLst>
  </p:cSld>
  <p:clrMapOvr>
    <a:masterClrMapping/>
  </p:clrMapOvr>
  <p:transition spd="slow">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83688" y="1799168"/>
            <a:ext cx="11127317" cy="3547533"/>
          </a:xfrm>
          <a:prstGeom prst="rect">
            <a:avLst/>
          </a:prstGeom>
        </p:spPr>
        <p:txBody>
          <a:bodyPr vert="horz" lIns="91412" tIns="45710" rIns="91412" bIns="45710">
            <a:noAutofit/>
          </a:bodyPr>
          <a:lstStyle>
            <a:lvl1pPr marL="0" indent="0" algn="ctr">
              <a:buNone/>
              <a:defRPr sz="27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hasCustomPrompt="1"/>
          </p:nvPr>
        </p:nvSpPr>
        <p:spPr>
          <a:xfrm>
            <a:off x="583692" y="5530966"/>
            <a:ext cx="9573749" cy="434977"/>
          </a:xfrm>
          <a:prstGeom prst="rect">
            <a:avLst/>
          </a:prstGeom>
        </p:spPr>
        <p:txBody>
          <a:bodyPr wrap="square" lIns="91412" tIns="45710" rIns="91412" bIns="45710" anchor="b" anchorCtr="0">
            <a:noAutofit/>
          </a:bodyPr>
          <a:lstStyle>
            <a:lvl1pPr algn="l" defTabSz="804667">
              <a:lnSpc>
                <a:spcPct val="100000"/>
              </a:lnSpc>
              <a:spcBef>
                <a:spcPct val="50000"/>
              </a:spcBef>
              <a:buNone/>
              <a:defRPr sz="21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Source</a:t>
            </a:r>
          </a:p>
        </p:txBody>
      </p:sp>
      <p:sp>
        <p:nvSpPr>
          <p:cNvPr id="5"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530669476"/>
      </p:ext>
    </p:extLst>
  </p:cSld>
  <p:clrMapOvr>
    <a:masterClrMapping/>
  </p:clrMapOvr>
  <p:transition spd="med">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3_Segu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userDrawn="1"/>
        </p:nvSpPr>
        <p:spPr bwMode="ltGray">
          <a:xfrm>
            <a:off x="11354276" y="6323876"/>
            <a:ext cx="291219" cy="206024"/>
          </a:xfrm>
          <a:prstGeom prst="rect">
            <a:avLst/>
          </a:prstGeom>
          <a:noFill/>
          <a:ln w="9525" algn="ctr">
            <a:noFill/>
            <a:miter lim="800000"/>
            <a:headEnd/>
            <a:tailEnd/>
          </a:ln>
          <a:effectLst/>
        </p:spPr>
        <p:txBody>
          <a:bodyPr wrap="none" lIns="82113" tIns="41055" rIns="82113" bIns="41055" anchor="b">
            <a:spAutoFit/>
          </a:bodyPr>
          <a:lstStyle/>
          <a:p>
            <a:pPr algn="r" defTabSz="814305">
              <a:defRPr/>
            </a:pPr>
            <a:fld id="{4ABDCABE-3F10-B64C-92F1-862014417034}" type="slidenum">
              <a:rPr lang="en-US" sz="800">
                <a:solidFill>
                  <a:srgbClr val="FFFFFF">
                    <a:alpha val="60000"/>
                  </a:srgbClr>
                </a:solidFill>
                <a:ea typeface="ＭＳ Ｐゴシック" charset="0"/>
                <a:cs typeface="CiscoSans Thin"/>
              </a:rPr>
              <a:pPr algn="r" defTabSz="814305">
                <a:defRPr/>
              </a:pPr>
              <a:t>‹#›</a:t>
            </a:fld>
            <a:endParaRPr lang="en-US" sz="800" dirty="0">
              <a:solidFill>
                <a:srgbClr val="FFFFFF">
                  <a:alpha val="60000"/>
                </a:srgbClr>
              </a:solidFill>
              <a:ea typeface="ＭＳ Ｐゴシック" charset="0"/>
              <a:cs typeface="CiscoSans Thin"/>
            </a:endParaRPr>
          </a:p>
        </p:txBody>
      </p:sp>
      <p:sp>
        <p:nvSpPr>
          <p:cNvPr id="8" name="Rectangle 4"/>
          <p:cNvSpPr>
            <a:spLocks noChangeArrowheads="1"/>
          </p:cNvSpPr>
          <p:nvPr userDrawn="1"/>
        </p:nvSpPr>
        <p:spPr bwMode="ltGray">
          <a:xfrm>
            <a:off x="7823344" y="6322204"/>
            <a:ext cx="3544024" cy="206024"/>
          </a:xfrm>
          <a:prstGeom prst="rect">
            <a:avLst/>
          </a:prstGeom>
          <a:noFill/>
          <a:ln w="9525">
            <a:noFill/>
            <a:miter lim="800000"/>
            <a:headEnd/>
            <a:tailEnd/>
          </a:ln>
          <a:effectLst/>
        </p:spPr>
        <p:txBody>
          <a:bodyPr lIns="82113" tIns="41055" rIns="82113" bIns="41055" anchor="b">
            <a:spAutoFit/>
          </a:bodyPr>
          <a:lstStyle/>
          <a:p>
            <a:pPr defTabSz="814305">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632233" y="6167697"/>
            <a:ext cx="575083" cy="35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6957376"/>
      </p:ext>
    </p:extLst>
  </p:cSld>
  <p:clrMapOvr>
    <a:masterClrMapping/>
  </p:clrMapOvr>
  <p:transition spd="med">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26" tIns="45714" rIns="91426" bIns="45714" anchor="ctr"/>
          <a:lstStyle/>
          <a:p>
            <a:pPr defTabSz="609585" fontAlgn="base">
              <a:spcBef>
                <a:spcPct val="0"/>
              </a:spcBef>
              <a:spcAft>
                <a:spcPct val="0"/>
              </a:spcAft>
            </a:pPr>
            <a:endParaRPr lang="en-US" sz="1800">
              <a:solidFill>
                <a:srgbClr val="676767"/>
              </a:solidFill>
              <a:ea typeface="ＭＳ Ｐゴシック" charset="0"/>
            </a:endParaRPr>
          </a:p>
        </p:txBody>
      </p:sp>
      <p:sp>
        <p:nvSpPr>
          <p:cNvPr id="4" name="Rectangle 6"/>
          <p:cNvSpPr>
            <a:spLocks noChangeArrowheads="1"/>
          </p:cNvSpPr>
          <p:nvPr/>
        </p:nvSpPr>
        <p:spPr bwMode="hidden">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26" tIns="45714" rIns="91426" bIns="45714" anchor="ctr"/>
          <a:lstStyle/>
          <a:p>
            <a:pPr defTabSz="609585" fontAlgn="base">
              <a:spcBef>
                <a:spcPct val="0"/>
              </a:spcBef>
              <a:spcAft>
                <a:spcPct val="0"/>
              </a:spcAft>
            </a:pPr>
            <a:endParaRPr lang="en-US" sz="1800">
              <a:solidFill>
                <a:srgbClr val="676767"/>
              </a:solidFill>
              <a:ea typeface="ＭＳ Ｐゴシック" charset="0"/>
            </a:endParaRPr>
          </a:p>
        </p:txBody>
      </p:sp>
      <p:sp>
        <p:nvSpPr>
          <p:cNvPr id="7" name="Title 1"/>
          <p:cNvSpPr>
            <a:spLocks noGrp="1"/>
          </p:cNvSpPr>
          <p:nvPr>
            <p:ph type="ctrTitle" hasCustomPrompt="1"/>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00" b="0" i="0" spc="0" baseline="0">
                <a:solidFill>
                  <a:srgbClr val="3E6BB4"/>
                </a:solidFill>
                <a:latin typeface="+mj-lt"/>
                <a:cs typeface="CiscoSans Thin"/>
              </a:defRPr>
            </a:lvl1pPr>
          </a:lstStyle>
          <a:p>
            <a:r>
              <a:rPr lang="en-GB" dirty="0"/>
              <a:t>Section Title Goes Here</a:t>
            </a:r>
            <a:endParaRPr lang="en-US" dirty="0"/>
          </a:p>
        </p:txBody>
      </p:sp>
    </p:spTree>
    <p:extLst>
      <p:ext uri="{BB962C8B-B14F-4D97-AF65-F5344CB8AC3E}">
        <p14:creationId xmlns:p14="http://schemas.microsoft.com/office/powerpoint/2010/main" val="1877107165"/>
      </p:ext>
    </p:extLst>
  </p:cSld>
  <p:clrMapOvr>
    <a:masterClrMapping/>
  </p:clrMapOvr>
  <p:transition spd="med">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632883" y="1797051"/>
            <a:ext cx="11040076" cy="4098595"/>
          </a:xfrm>
          <a:prstGeom prst="rect">
            <a:avLst/>
          </a:prstGeom>
        </p:spPr>
        <p:txBody>
          <a:bodyPr lIns="121890" tIns="60945" rIns="121890" bIns="60945">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700"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6" tIns="60948" rIns="121896" bIns="60948"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469743670"/>
      </p:ext>
    </p:extLst>
  </p:cSld>
  <p:clrMapOvr>
    <a:masterClrMapping/>
  </p:clrMapOvr>
  <p:transition spd="med">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121890" tIns="60945" rIns="121890" bIns="60945">
            <a:noAutofit/>
          </a:bodyPr>
          <a:lstStyle>
            <a:lvl1pPr marL="374561" indent="-298382">
              <a:lnSpc>
                <a:spcPct val="95000"/>
              </a:lnSpc>
              <a:spcBef>
                <a:spcPts val="1480"/>
              </a:spcBef>
              <a:buClr>
                <a:schemeClr val="tx1"/>
              </a:buClr>
              <a:buSzPct val="80000"/>
              <a:buFont typeface="Arial"/>
              <a:buChar char="•"/>
              <a:defRPr sz="4900" b="0" i="0">
                <a:solidFill>
                  <a:srgbClr val="676767"/>
                </a:solidFill>
                <a:latin typeface="+mn-lt"/>
                <a:cs typeface="CiscoSans ExtraLight"/>
              </a:defRPr>
            </a:lvl1pPr>
            <a:lvl2pPr marL="677176" indent="-287799">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719" indent="-228548">
              <a:buClr>
                <a:schemeClr val="tx1"/>
              </a:buClr>
              <a:buSzPct val="80000"/>
              <a:buFont typeface="Arial"/>
              <a:buChar char="•"/>
              <a:defRPr sz="2100" b="0" i="0">
                <a:solidFill>
                  <a:srgbClr val="676767"/>
                </a:solidFill>
                <a:latin typeface="+mn-lt"/>
                <a:cs typeface="CiscoSans ExtraLight"/>
              </a:defRPr>
            </a:lvl3pPr>
            <a:lvl4pPr marL="1214683" indent="-228548">
              <a:buClr>
                <a:schemeClr val="tx1"/>
              </a:buClr>
              <a:buSzPct val="80000"/>
              <a:buFont typeface="Arial"/>
              <a:buChar char="•"/>
              <a:defRPr sz="1900"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6" tIns="60948" rIns="121896" bIns="60948"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447643515"/>
      </p:ext>
    </p:extLst>
  </p:cSld>
  <p:clrMapOvr>
    <a:masterClrMapping/>
  </p:clrMapOvr>
  <p:transition spd="med">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121890" tIns="60945" rIns="121890" bIns="60945">
            <a:noAutofit/>
          </a:bodyPr>
          <a:lstStyle>
            <a:lvl1pPr marL="76179" indent="0">
              <a:lnSpc>
                <a:spcPct val="95000"/>
              </a:lnSpc>
              <a:spcBef>
                <a:spcPts val="1480"/>
              </a:spcBef>
              <a:buClr>
                <a:schemeClr val="tx1"/>
              </a:buClr>
              <a:buSzPct val="80000"/>
              <a:buFont typeface="Arial"/>
              <a:buNone/>
              <a:defRPr sz="4900" b="0" i="0">
                <a:solidFill>
                  <a:srgbClr val="676767"/>
                </a:solidFill>
                <a:latin typeface="+mn-lt"/>
                <a:cs typeface="CiscoSans ExtraLight"/>
              </a:defRPr>
            </a:lvl1pPr>
            <a:lvl2pPr marL="389377"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171" indent="0">
              <a:buClr>
                <a:schemeClr val="tx1"/>
              </a:buClr>
              <a:buSzPct val="80000"/>
              <a:buFont typeface="Arial"/>
              <a:buNone/>
              <a:defRPr sz="2100" b="0" i="0">
                <a:solidFill>
                  <a:srgbClr val="676767"/>
                </a:solidFill>
                <a:latin typeface="+mn-lt"/>
                <a:cs typeface="CiscoSans ExtraLight"/>
              </a:defRPr>
            </a:lvl3pPr>
            <a:lvl4pPr marL="986135" indent="0">
              <a:buClr>
                <a:schemeClr val="tx1"/>
              </a:buClr>
              <a:buSzPct val="80000"/>
              <a:buFont typeface="Arial"/>
              <a:buNone/>
              <a:defRPr sz="1900" b="0" i="0">
                <a:solidFill>
                  <a:srgbClr val="676767"/>
                </a:solidFill>
                <a:latin typeface="+mn-lt"/>
                <a:cs typeface="CiscoSans ExtraLight"/>
              </a:defRPr>
            </a:lvl4pPr>
            <a:lvl5pPr marL="1218916"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6" tIns="60948" rIns="121896" bIns="60948"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40674756"/>
      </p:ext>
    </p:extLst>
  </p:cSld>
  <p:clrMapOvr>
    <a:masterClrMapping/>
  </p:clrMapOvr>
  <p:transition spd="med">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19547" y="1194135"/>
            <a:ext cx="11198319" cy="4224280"/>
          </a:xfrm>
          <a:prstGeom prst="rect">
            <a:avLst/>
          </a:prstGeom>
        </p:spPr>
        <p:txBody>
          <a:bodyPr lIns="121890" tIns="60945" rIns="121890" bIns="60945">
            <a:noAutofit/>
          </a:bodyPr>
          <a:lstStyle>
            <a:lvl1pPr marL="76179" indent="0">
              <a:lnSpc>
                <a:spcPct val="95000"/>
              </a:lnSpc>
              <a:spcBef>
                <a:spcPts val="1480"/>
              </a:spcBef>
              <a:buClr>
                <a:schemeClr val="tx1"/>
              </a:buClr>
              <a:buSzPct val="80000"/>
              <a:buFont typeface="Arial"/>
              <a:buNone/>
              <a:defRPr sz="4900" b="0" i="0">
                <a:solidFill>
                  <a:srgbClr val="676767"/>
                </a:solidFill>
                <a:latin typeface="+mn-lt"/>
                <a:cs typeface="CiscoSans ExtraLight"/>
              </a:defRPr>
            </a:lvl1pPr>
            <a:lvl2pPr marL="389377"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171" indent="0">
              <a:buClr>
                <a:schemeClr val="tx1"/>
              </a:buClr>
              <a:buSzPct val="80000"/>
              <a:buFont typeface="Arial"/>
              <a:buNone/>
              <a:defRPr sz="2100" b="0" i="0">
                <a:solidFill>
                  <a:srgbClr val="676767"/>
                </a:solidFill>
                <a:latin typeface="+mn-lt"/>
                <a:cs typeface="CiscoSans ExtraLight"/>
              </a:defRPr>
            </a:lvl3pPr>
            <a:lvl4pPr marL="986135" indent="0">
              <a:buClr>
                <a:schemeClr val="tx1"/>
              </a:buClr>
              <a:buSzPct val="80000"/>
              <a:buFont typeface="Arial"/>
              <a:buNone/>
              <a:defRPr sz="1900" b="0" i="0">
                <a:solidFill>
                  <a:srgbClr val="676767"/>
                </a:solidFill>
                <a:latin typeface="+mn-lt"/>
                <a:cs typeface="CiscoSans ExtraLight"/>
              </a:defRPr>
            </a:lvl4pPr>
            <a:lvl5pPr marL="1218916"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141906499"/>
      </p:ext>
    </p:extLst>
  </p:cSld>
  <p:clrMapOvr>
    <a:masterClrMapping/>
  </p:clrMapOvr>
  <p:transition spd="med">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04852" y="1168479"/>
            <a:ext cx="11013016" cy="4224280"/>
          </a:xfrm>
          <a:prstGeom prst="rect">
            <a:avLst/>
          </a:prstGeom>
        </p:spPr>
        <p:txBody>
          <a:bodyPr lIns="121890" tIns="60945" rIns="121890" bIns="60945">
            <a:noAutofit/>
          </a:bodyPr>
          <a:lstStyle>
            <a:lvl1pPr marL="283193" indent="-523187">
              <a:lnSpc>
                <a:spcPts val="5920"/>
              </a:lnSpc>
              <a:spcBef>
                <a:spcPts val="0"/>
              </a:spcBef>
              <a:buClr>
                <a:schemeClr val="tx1"/>
              </a:buClr>
              <a:buSzPct val="80000"/>
              <a:buFont typeface="Arial"/>
              <a:buChar char="•"/>
              <a:defRPr sz="4900" b="0" i="0">
                <a:solidFill>
                  <a:srgbClr val="676767"/>
                </a:solidFill>
                <a:latin typeface="+mn-lt"/>
                <a:cs typeface="CiscoSans ExtraLight"/>
              </a:defRPr>
            </a:lvl1pPr>
            <a:lvl2pPr marL="677176" indent="-287799">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719" indent="-228548">
              <a:buClr>
                <a:schemeClr val="tx1"/>
              </a:buClr>
              <a:buSzPct val="80000"/>
              <a:buFont typeface="Arial"/>
              <a:buChar char="•"/>
              <a:defRPr sz="2100" b="0" i="0">
                <a:solidFill>
                  <a:srgbClr val="676767"/>
                </a:solidFill>
                <a:latin typeface="+mn-lt"/>
                <a:cs typeface="CiscoSans ExtraLight"/>
              </a:defRPr>
            </a:lvl3pPr>
            <a:lvl4pPr marL="1214683" indent="-228548">
              <a:buClr>
                <a:schemeClr val="tx1"/>
              </a:buClr>
              <a:buSzPct val="80000"/>
              <a:buFont typeface="Arial"/>
              <a:buChar char="•"/>
              <a:defRPr sz="1900"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2157857373"/>
      </p:ext>
    </p:extLst>
  </p:cSld>
  <p:clrMapOvr>
    <a:masterClrMapping/>
  </p:clrMapOvr>
  <p:transition spd="med">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797051"/>
            <a:ext cx="11036459" cy="4224280"/>
          </a:xfrm>
          <a:prstGeom prst="rect">
            <a:avLst/>
          </a:prstGeom>
        </p:spPr>
        <p:txBody>
          <a:bodyPr lIns="121890" tIns="60945" rIns="121890" bIns="60945">
            <a:noAutofit/>
          </a:bodyPr>
          <a:lstStyle>
            <a:lvl1pPr marL="374561" indent="-298382">
              <a:lnSpc>
                <a:spcPct val="95000"/>
              </a:lnSpc>
              <a:spcBef>
                <a:spcPts val="1480"/>
              </a:spcBef>
              <a:buClr>
                <a:schemeClr val="tx1"/>
              </a:buClr>
              <a:buSzPct val="80000"/>
              <a:buFont typeface="Arial"/>
              <a:buChar char="•"/>
              <a:defRPr sz="2700" b="0" i="0">
                <a:solidFill>
                  <a:srgbClr val="676767"/>
                </a:solidFill>
                <a:latin typeface="+mn-lt"/>
                <a:cs typeface="CiscoSans ExtraLight"/>
              </a:defRPr>
            </a:lvl1pPr>
            <a:lvl2pPr marL="677176" indent="-287799">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719" indent="-228548">
              <a:buClr>
                <a:schemeClr val="tx1"/>
              </a:buClr>
              <a:buSzPct val="80000"/>
              <a:buFont typeface="Arial"/>
              <a:buChar char="•"/>
              <a:defRPr sz="2100" b="0" i="0">
                <a:solidFill>
                  <a:srgbClr val="676767"/>
                </a:solidFill>
                <a:latin typeface="+mn-lt"/>
                <a:cs typeface="CiscoSans ExtraLight"/>
              </a:defRPr>
            </a:lvl3pPr>
            <a:lvl4pPr marL="1214683" indent="-228548">
              <a:buClr>
                <a:schemeClr val="tx1"/>
              </a:buClr>
              <a:buSzPct val="80000"/>
              <a:buFont typeface="Arial"/>
              <a:buChar char="•"/>
              <a:defRPr sz="1900"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6" tIns="60948" rIns="121896" bIns="60948"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072735044"/>
      </p:ext>
    </p:extLst>
  </p:cSld>
  <p:clrMapOvr>
    <a:masterClrMapping/>
  </p:clrMapOvr>
  <p:transition spd="med">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583689" y="1797051"/>
            <a:ext cx="5201497" cy="4110792"/>
          </a:xfrm>
          <a:prstGeom prst="rect">
            <a:avLst/>
          </a:prstGeom>
        </p:spPr>
        <p:txBody>
          <a:bodyPr lIns="121890" tIns="60945" rIns="121890" bIns="60945">
            <a:noAutofit/>
          </a:bodyPr>
          <a:lstStyle>
            <a:lvl1pPr marL="304732" indent="-228548">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458" indent="-287799">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8006" indent="-228548">
              <a:buClr>
                <a:schemeClr val="tx1"/>
              </a:buClr>
              <a:buSzPct val="80000"/>
              <a:buFont typeface="Arial"/>
              <a:buChar char="•"/>
              <a:defRPr sz="2100" b="0" i="0">
                <a:solidFill>
                  <a:schemeClr val="tx1"/>
                </a:solidFill>
                <a:latin typeface="+mn-lt"/>
                <a:cs typeface="CiscoSans ExtraLight"/>
              </a:defRPr>
            </a:lvl3pPr>
            <a:lvl4pPr marL="1066552" indent="-228548">
              <a:buClr>
                <a:schemeClr val="tx1"/>
              </a:buClr>
              <a:buSzPct val="80000"/>
              <a:buFont typeface="Arial"/>
              <a:buChar char="•"/>
              <a:defRPr sz="1900" b="0" i="0">
                <a:solidFill>
                  <a:schemeClr val="tx1"/>
                </a:solidFill>
                <a:latin typeface="+mn-lt"/>
                <a:cs typeface="CiscoSans ExtraLight"/>
              </a:defRPr>
            </a:lvl4pPr>
            <a:lvl5pPr marL="1295097" indent="-228548">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6086392" y="1797051"/>
            <a:ext cx="5624613" cy="4110792"/>
          </a:xfrm>
          <a:prstGeom prst="rect">
            <a:avLst/>
          </a:prstGeom>
        </p:spPr>
        <p:txBody>
          <a:bodyPr lIns="121890" tIns="60945" rIns="121890" bIns="60945">
            <a:noAutofit/>
          </a:bodyPr>
          <a:lstStyle>
            <a:lvl1pPr marL="304732" indent="-228548">
              <a:lnSpc>
                <a:spcPct val="95000"/>
              </a:lnSpc>
              <a:spcBef>
                <a:spcPts val="1480"/>
              </a:spcBef>
              <a:buClr>
                <a:schemeClr val="tx1"/>
              </a:buClr>
              <a:buSzPct val="80000"/>
              <a:buFont typeface="Arial"/>
              <a:buChar char="•"/>
              <a:defRPr sz="2700" b="0" i="0" baseline="0">
                <a:solidFill>
                  <a:schemeClr val="tx1"/>
                </a:solidFill>
                <a:latin typeface="+mn-lt"/>
                <a:cs typeface="CiscoSans ExtraLight"/>
              </a:defRPr>
            </a:lvl1pPr>
            <a:lvl2pPr marL="609458" indent="-287799">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8006" indent="-228548">
              <a:buClr>
                <a:schemeClr val="tx1"/>
              </a:buClr>
              <a:buSzPct val="80000"/>
              <a:buFont typeface="Arial"/>
              <a:buChar char="•"/>
              <a:defRPr sz="2100" b="0" i="0">
                <a:solidFill>
                  <a:schemeClr val="tx1"/>
                </a:solidFill>
                <a:latin typeface="+mn-lt"/>
                <a:cs typeface="CiscoSans ExtraLight"/>
              </a:defRPr>
            </a:lvl3pPr>
            <a:lvl4pPr marL="1066552" indent="-228548">
              <a:buClr>
                <a:schemeClr val="tx1"/>
              </a:buClr>
              <a:buSzPct val="80000"/>
              <a:buFont typeface="Arial"/>
              <a:buChar char="•"/>
              <a:defRPr sz="1900" b="0" i="0">
                <a:solidFill>
                  <a:schemeClr val="tx1"/>
                </a:solidFill>
                <a:latin typeface="+mn-lt"/>
                <a:cs typeface="CiscoSans ExtraLight"/>
              </a:defRPr>
            </a:lvl4pPr>
            <a:lvl5pPr marL="1295097" indent="-228548">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6" tIns="60948" rIns="121896" bIns="60948"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445463204"/>
      </p:ext>
    </p:extLst>
  </p:cSld>
  <p:clrMapOvr>
    <a:masterClrMapping/>
  </p:clrMapOvr>
  <p:transition spd="med">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6087960" y="812801"/>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905" y="403341"/>
            <a:ext cx="4954660" cy="1101929"/>
          </a:xfrm>
          <a:prstGeom prst="rect">
            <a:avLst/>
          </a:prstGeom>
        </p:spPr>
        <p:txBody>
          <a:bodyPr lIns="82281" tIns="45714" rIns="82281" bIns="45714" rtlCol="0">
            <a:noAutofit/>
          </a:bodyPr>
          <a:lstStyle>
            <a:lvl1pPr algn="l" defTabSz="914270" rtl="0" eaLnBrk="1" latinLnBrk="0" hangingPunct="1">
              <a:lnSpc>
                <a:spcPct val="80000"/>
              </a:lnSpc>
              <a:spcBef>
                <a:spcPct val="0"/>
              </a:spcBef>
              <a:buNone/>
              <a:defRPr lang="en-US" sz="4300" b="0" i="0" kern="1200" spc="-100"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6541286" y="403341"/>
            <a:ext cx="4954660" cy="1101928"/>
          </a:xfrm>
          <a:prstGeom prst="rect">
            <a:avLst/>
          </a:prstGeom>
        </p:spPr>
        <p:txBody>
          <a:bodyPr lIns="121890" tIns="60945" rIns="121890" bIns="60945" anchor="ctr" anchorCtr="0">
            <a:noAutofit/>
          </a:bodyPr>
          <a:lstStyle>
            <a:lvl1pPr marL="0" marR="0" indent="0" algn="l" defTabSz="914270" rtl="0" eaLnBrk="1" fontAlgn="auto" latinLnBrk="0" hangingPunct="1">
              <a:lnSpc>
                <a:spcPct val="80000"/>
              </a:lnSpc>
              <a:spcBef>
                <a:spcPct val="0"/>
              </a:spcBef>
              <a:spcAft>
                <a:spcPts val="0"/>
              </a:spcAft>
              <a:buClrTx/>
              <a:buSzTx/>
              <a:buFontTx/>
              <a:buNone/>
              <a:tabLst/>
              <a:defRPr lang="en-US" sz="4300" b="0" i="0" kern="1200" spc="-100"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623905" y="1797051"/>
            <a:ext cx="4954660" cy="4110792"/>
          </a:xfrm>
          <a:prstGeom prst="rect">
            <a:avLst/>
          </a:prstGeom>
        </p:spPr>
        <p:txBody>
          <a:bodyPr lIns="121890" tIns="60945" rIns="121890" bIns="60945">
            <a:noAutofit/>
          </a:bodyPr>
          <a:lstStyle>
            <a:lvl1pPr marL="304732" indent="-228548">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458" indent="-287799">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8006" indent="-228548">
              <a:buClr>
                <a:schemeClr val="tx1"/>
              </a:buClr>
              <a:buSzPct val="80000"/>
              <a:buFont typeface="Arial"/>
              <a:buChar char="•"/>
              <a:defRPr sz="2100" b="0" i="0">
                <a:solidFill>
                  <a:schemeClr val="tx1"/>
                </a:solidFill>
                <a:latin typeface="+mn-lt"/>
                <a:cs typeface="CiscoSans ExtraLight"/>
              </a:defRPr>
            </a:lvl3pPr>
            <a:lvl4pPr marL="1066552" indent="-228548">
              <a:buClr>
                <a:schemeClr val="tx1"/>
              </a:buClr>
              <a:buSzPct val="80000"/>
              <a:buFont typeface="Arial"/>
              <a:buChar char="•"/>
              <a:defRPr sz="1900" b="0" i="0">
                <a:solidFill>
                  <a:schemeClr val="tx1"/>
                </a:solidFill>
                <a:latin typeface="+mn-lt"/>
                <a:cs typeface="CiscoSans ExtraLight"/>
              </a:defRPr>
            </a:lvl4pPr>
            <a:lvl5pPr marL="1295097" indent="-228548">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6541286" y="1797051"/>
            <a:ext cx="4954660" cy="4110792"/>
          </a:xfrm>
          <a:prstGeom prst="rect">
            <a:avLst/>
          </a:prstGeom>
        </p:spPr>
        <p:txBody>
          <a:bodyPr lIns="121890" tIns="60945" rIns="121890" bIns="60945">
            <a:noAutofit/>
          </a:bodyPr>
          <a:lstStyle>
            <a:lvl1pPr marL="304732" indent="-228548">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458" indent="-287799">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8006" indent="-228548">
              <a:buClr>
                <a:schemeClr val="tx1"/>
              </a:buClr>
              <a:buSzPct val="80000"/>
              <a:buFont typeface="Arial"/>
              <a:buChar char="•"/>
              <a:defRPr sz="2100" b="0" i="0">
                <a:solidFill>
                  <a:schemeClr val="tx1"/>
                </a:solidFill>
                <a:latin typeface="+mn-lt"/>
                <a:cs typeface="CiscoSans ExtraLight"/>
              </a:defRPr>
            </a:lvl3pPr>
            <a:lvl4pPr marL="1066552" indent="-228548">
              <a:buClr>
                <a:schemeClr val="tx1"/>
              </a:buClr>
              <a:buSzPct val="80000"/>
              <a:buFont typeface="Arial"/>
              <a:buChar char="•"/>
              <a:defRPr sz="1900" b="0" i="0">
                <a:solidFill>
                  <a:schemeClr val="tx1"/>
                </a:solidFill>
                <a:latin typeface="+mn-lt"/>
                <a:cs typeface="CiscoSans ExtraLight"/>
              </a:defRPr>
            </a:lvl4pPr>
            <a:lvl5pPr marL="1295097" indent="-228548">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841303574"/>
      </p:ext>
    </p:extLst>
  </p:cSld>
  <p:clrMapOvr>
    <a:masterClrMapping/>
  </p:clrMapOvr>
  <p:transition spd="med">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691" y="1799275"/>
            <a:ext cx="5342668" cy="4054364"/>
          </a:xfrm>
          <a:prstGeom prst="rect">
            <a:avLst/>
          </a:prstGeom>
        </p:spPr>
        <p:txBody>
          <a:bodyPr lIns="91412" tIns="45710" rIns="91412" bIns="45710" anchor="ctr" anchorCtr="0">
            <a:noAutofit/>
          </a:bodyPr>
          <a:lstStyle>
            <a:lvl1pPr marL="0" indent="0">
              <a:buNone/>
              <a:defRPr sz="32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6279877" y="1799172"/>
            <a:ext cx="5431128" cy="4052529"/>
          </a:xfrm>
          <a:prstGeom prst="rect">
            <a:avLst/>
          </a:prstGeom>
        </p:spPr>
        <p:txBody>
          <a:bodyPr vert="horz" lIns="91412" tIns="45710" rIns="91412" bIns="45710">
            <a:noAutofit/>
          </a:bodyPr>
          <a:lstStyle>
            <a:lvl1pPr marL="0" indent="0" algn="ctr">
              <a:buNone/>
              <a:defRPr sz="2700">
                <a:solidFill>
                  <a:schemeClr val="tx1"/>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8846830"/>
      </p:ext>
    </p:extLst>
  </p:cSld>
  <p:clrMapOvr>
    <a:masterClrMapping/>
  </p:clrMapOvr>
  <p:transition spd="med">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4093633" y="812801"/>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49684" y="812801"/>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615952" y="304425"/>
            <a:ext cx="3116145" cy="1027281"/>
          </a:xfrm>
          <a:prstGeom prst="rect">
            <a:avLst/>
          </a:prstGeom>
        </p:spPr>
        <p:txBody>
          <a:bodyPr lIns="121890" tIns="60945" rIns="121890" bIns="60945" anchor="b" anchorCtr="0">
            <a:noAutofit/>
          </a:bodyPr>
          <a:lstStyle>
            <a:lvl1pPr marL="0" marR="0" indent="0" algn="l" defTabSz="914270"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4503638" y="303785"/>
            <a:ext cx="3116145" cy="1027281"/>
          </a:xfrm>
          <a:prstGeom prst="rect">
            <a:avLst/>
          </a:prstGeom>
        </p:spPr>
        <p:txBody>
          <a:bodyPr lIns="121890" tIns="60945" rIns="121890" bIns="60945" anchor="b" anchorCtr="0">
            <a:noAutofit/>
          </a:bodyPr>
          <a:lstStyle>
            <a:lvl1pPr marL="0" marR="0" indent="0" algn="l" defTabSz="914270"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8473085" y="293972"/>
            <a:ext cx="3116145" cy="1027281"/>
          </a:xfrm>
          <a:prstGeom prst="rect">
            <a:avLst/>
          </a:prstGeom>
        </p:spPr>
        <p:txBody>
          <a:bodyPr lIns="121890" tIns="60945" rIns="121890" bIns="60945" anchor="b" anchorCtr="0">
            <a:noAutofit/>
          </a:bodyPr>
          <a:lstStyle>
            <a:lvl1pPr marL="0" marR="0" indent="0" algn="l" defTabSz="914270"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615951" y="1601459"/>
            <a:ext cx="3116147" cy="4419872"/>
          </a:xfrm>
          <a:prstGeom prst="rect">
            <a:avLst/>
          </a:prstGeom>
        </p:spPr>
        <p:txBody>
          <a:bodyPr lIns="121890" tIns="60945" rIns="121890" bIns="60945">
            <a:noAutofit/>
          </a:bodyPr>
          <a:lstStyle>
            <a:lvl1pPr marL="311080" indent="-228548">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866" indent="-228548">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4503637" y="1600428"/>
            <a:ext cx="3116147" cy="4419872"/>
          </a:xfrm>
          <a:prstGeom prst="rect">
            <a:avLst/>
          </a:prstGeom>
        </p:spPr>
        <p:txBody>
          <a:bodyPr lIns="121890" tIns="60945" rIns="121890" bIns="60945">
            <a:noAutofit/>
          </a:bodyPr>
          <a:lstStyle>
            <a:lvl1pPr marL="311080" indent="-228548">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866" indent="-228548">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8473083" y="1600428"/>
            <a:ext cx="3116147" cy="4419872"/>
          </a:xfrm>
          <a:prstGeom prst="rect">
            <a:avLst/>
          </a:prstGeom>
        </p:spPr>
        <p:txBody>
          <a:bodyPr lIns="121890" tIns="60945" rIns="121890" bIns="60945">
            <a:noAutofit/>
          </a:bodyPr>
          <a:lstStyle>
            <a:lvl1pPr marL="311080" indent="-228548">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866" indent="-228548">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52006256"/>
      </p:ext>
    </p:extLst>
  </p:cSld>
  <p:clrMapOvr>
    <a:masterClrMapping/>
  </p:clrMapOvr>
  <p:transition spd="med">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6760634" y="1773768"/>
            <a:ext cx="4950372" cy="413596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90" tIns="60945" rIns="121890" bIns="60945" anchor="ctr"/>
          <a:lstStyle/>
          <a:p>
            <a:pPr algn="ctr" defTabSz="609585">
              <a:defRPr/>
            </a:pPr>
            <a:endParaRPr lang="en-US" sz="1800">
              <a:solidFill>
                <a:srgbClr val="FFFFFF"/>
              </a:solidFill>
            </a:endParaRPr>
          </a:p>
        </p:txBody>
      </p:sp>
      <p:sp>
        <p:nvSpPr>
          <p:cNvPr id="12" name="Text Placeholder 11"/>
          <p:cNvSpPr>
            <a:spLocks noGrp="1"/>
          </p:cNvSpPr>
          <p:nvPr>
            <p:ph type="body" sz="quarter" idx="11" hasCustomPrompt="1"/>
          </p:nvPr>
        </p:nvSpPr>
        <p:spPr>
          <a:xfrm>
            <a:off x="6864941" y="1975668"/>
            <a:ext cx="4501216" cy="2212024"/>
          </a:xfrm>
          <a:prstGeom prst="rect">
            <a:avLst/>
          </a:prstGeom>
        </p:spPr>
        <p:txBody>
          <a:bodyPr lIns="121890" tIns="60945" rIns="121890" bIns="60945">
            <a:noAutofit/>
          </a:bodyPr>
          <a:lstStyle>
            <a:lvl1pPr marL="114288" indent="-114288" algn="l" defTabSz="914270" rtl="0" eaLnBrk="1" latinLnBrk="0" hangingPunct="1">
              <a:lnSpc>
                <a:spcPct val="90000"/>
              </a:lnSpc>
              <a:spcBef>
                <a:spcPts val="0"/>
              </a:spcBef>
              <a:buNone/>
              <a:defRPr lang="en-US" sz="2000" kern="1200" baseline="0" dirty="0" smtClean="0">
                <a:solidFill>
                  <a:schemeClr val="tx2"/>
                </a:solidFill>
                <a:latin typeface="+mn-lt"/>
                <a:ea typeface="+mn-ea"/>
                <a:cs typeface="CiscoSans ExtraLight"/>
              </a:defRPr>
            </a:lvl1pPr>
            <a:lvl2pPr marL="114288" indent="-114288" algn="l" defTabSz="914270" rtl="0" eaLnBrk="1" latinLnBrk="0" hangingPunct="1">
              <a:defRPr lang="en-US" sz="2000" kern="1200" dirty="0" smtClean="0">
                <a:solidFill>
                  <a:schemeClr val="accent2"/>
                </a:solidFill>
                <a:latin typeface="Ciscolight" pitchFamily="2" charset="0"/>
                <a:ea typeface="+mn-ea"/>
                <a:cs typeface="+mn-cs"/>
              </a:defRPr>
            </a:lvl2pPr>
            <a:lvl3pPr marL="114288" indent="-114288" algn="l" defTabSz="914270" rtl="0" eaLnBrk="1" latinLnBrk="0" hangingPunct="1">
              <a:defRPr lang="en-US" sz="2000" kern="1200" dirty="0" smtClean="0">
                <a:solidFill>
                  <a:schemeClr val="accent2"/>
                </a:solidFill>
                <a:latin typeface="Ciscolight" pitchFamily="2" charset="0"/>
                <a:ea typeface="+mn-ea"/>
                <a:cs typeface="+mn-cs"/>
              </a:defRPr>
            </a:lvl3pPr>
            <a:lvl4pPr marL="114288" indent="-114288" algn="l" defTabSz="914270" rtl="0" eaLnBrk="1" latinLnBrk="0" hangingPunct="1">
              <a:defRPr lang="en-US" sz="2000" kern="1200" dirty="0" smtClean="0">
                <a:solidFill>
                  <a:schemeClr val="accent2"/>
                </a:solidFill>
                <a:latin typeface="Ciscolight" pitchFamily="2" charset="0"/>
                <a:ea typeface="+mn-ea"/>
                <a:cs typeface="+mn-cs"/>
              </a:defRPr>
            </a:lvl4pPr>
            <a:lvl5pPr marL="114288" indent="-114288" algn="l" defTabSz="914270" rtl="0" eaLnBrk="1" latinLnBrk="0" hangingPunct="1">
              <a:defRPr lang="en-US" sz="20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6864942" y="4736592"/>
            <a:ext cx="4674993" cy="338328"/>
          </a:xfrm>
          <a:prstGeom prst="rect">
            <a:avLst/>
          </a:prstGeom>
        </p:spPr>
        <p:txBody>
          <a:bodyPr lIns="121890" tIns="60945" rIns="121890" bIns="60945">
            <a:noAutofit/>
          </a:bodyPr>
          <a:lstStyle>
            <a:lvl1pPr marL="0" indent="0">
              <a:buClr>
                <a:schemeClr val="tx2"/>
              </a:buClr>
              <a:buFontTx/>
              <a:buNone/>
              <a:defRPr sz="16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583689" y="1797051"/>
            <a:ext cx="5201497" cy="4110792"/>
          </a:xfrm>
          <a:prstGeom prst="rect">
            <a:avLst/>
          </a:prstGeom>
        </p:spPr>
        <p:txBody>
          <a:bodyPr lIns="121890" tIns="60945" rIns="121890" bIns="60945">
            <a:noAutofit/>
          </a:bodyPr>
          <a:lstStyle>
            <a:lvl1pPr marL="304732" indent="-228548">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458" indent="-287799">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8006" indent="-228548">
              <a:buClr>
                <a:schemeClr val="tx1"/>
              </a:buClr>
              <a:buSzPct val="80000"/>
              <a:buFont typeface="Arial"/>
              <a:buChar char="•"/>
              <a:defRPr sz="2100" b="0" i="0">
                <a:solidFill>
                  <a:schemeClr val="tx1"/>
                </a:solidFill>
                <a:latin typeface="+mn-lt"/>
                <a:cs typeface="CiscoSans ExtraLight"/>
              </a:defRPr>
            </a:lvl3pPr>
            <a:lvl4pPr marL="1066552" indent="-228548">
              <a:buClr>
                <a:schemeClr val="tx1"/>
              </a:buClr>
              <a:buSzPct val="80000"/>
              <a:buFont typeface="Arial"/>
              <a:buChar char="•"/>
              <a:defRPr sz="1900" b="0" i="0">
                <a:solidFill>
                  <a:schemeClr val="tx1"/>
                </a:solidFill>
                <a:latin typeface="+mn-lt"/>
                <a:cs typeface="CiscoSans ExtraLight"/>
              </a:defRPr>
            </a:lvl4pPr>
            <a:lvl5pPr marL="1295097" indent="-228548">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6" tIns="60948" rIns="121896" bIns="60948"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804884845"/>
      </p:ext>
    </p:extLst>
  </p:cSld>
  <p:clrMapOvr>
    <a:masterClrMapping/>
  </p:clrMapOvr>
  <p:transition spd="med">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6" tIns="60948" rIns="121896" bIns="60948"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021928924"/>
      </p:ext>
    </p:extLst>
  </p:cSld>
  <p:clrMapOvr>
    <a:masterClrMapping/>
  </p:clrMapOvr>
  <p:transition spd="med">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624417" y="5221411"/>
            <a:ext cx="10389144" cy="465808"/>
          </a:xfrm>
          <a:prstGeom prst="rect">
            <a:avLst/>
          </a:prstGeom>
        </p:spPr>
        <p:txBody>
          <a:bodyPr wrap="square" lIns="121890" tIns="60945" rIns="121890" bIns="60945" anchor="b" anchorCtr="0">
            <a:noAutofit/>
          </a:bodyPr>
          <a:lstStyle>
            <a:lvl1pPr marL="0" indent="0" algn="l" defTabSz="804747">
              <a:lnSpc>
                <a:spcPct val="100000"/>
              </a:lnSpc>
              <a:spcBef>
                <a:spcPct val="50000"/>
              </a:spcBef>
              <a:buNone/>
              <a:defRPr sz="29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Click to edit text </a:t>
            </a:r>
          </a:p>
        </p:txBody>
      </p:sp>
      <p:sp>
        <p:nvSpPr>
          <p:cNvPr id="4" name="Title 1"/>
          <p:cNvSpPr>
            <a:spLocks noGrp="1"/>
          </p:cNvSpPr>
          <p:nvPr>
            <p:ph type="ctrTitle" hasCustomPrompt="1"/>
          </p:nvPr>
        </p:nvSpPr>
        <p:spPr>
          <a:xfrm>
            <a:off x="383897" y="2054069"/>
            <a:ext cx="10629664" cy="3038449"/>
          </a:xfrm>
          <a:prstGeom prst="rect">
            <a:avLst/>
          </a:prstGeom>
        </p:spPr>
        <p:txBody>
          <a:bodyPr anchor="ctr">
            <a:noAutofit/>
          </a:bodyPr>
          <a:lstStyle>
            <a:lvl1pPr marL="244794" indent="-533277" algn="l">
              <a:lnSpc>
                <a:spcPct val="90000"/>
              </a:lnSpc>
              <a:defRPr sz="6100"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2428736809"/>
      </p:ext>
    </p:extLst>
  </p:cSld>
  <p:clrMapOvr>
    <a:masterClrMapping/>
  </p:clrMapOvr>
  <p:transition spd="med">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6146928" y="812801"/>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618351" y="1918747"/>
            <a:ext cx="5093797" cy="3020519"/>
          </a:xfrm>
        </p:spPr>
        <p:txBody>
          <a:bodyPr lIns="82285" tIns="45716" rIns="82285" bIns="45716" rtlCol="0" anchor="ctr">
            <a:noAutofit/>
          </a:bodyPr>
          <a:lstStyle>
            <a:lvl1pPr marL="0" indent="0" algn="l" defTabSz="914308" rtl="0" eaLnBrk="1" latinLnBrk="0" hangingPunct="1">
              <a:lnSpc>
                <a:spcPct val="80000"/>
              </a:lnSpc>
              <a:spcBef>
                <a:spcPct val="0"/>
              </a:spcBef>
              <a:buClr>
                <a:schemeClr val="tx1"/>
              </a:buClr>
              <a:buFont typeface="Ciscolight" pitchFamily="2" charset="0"/>
              <a:buNone/>
              <a:defRPr lang="en-US" sz="6000"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6563360" y="872691"/>
            <a:ext cx="5154507" cy="5120640"/>
          </a:xfrm>
          <a:prstGeom prst="rect">
            <a:avLst/>
          </a:prstGeom>
        </p:spPr>
        <p:txBody>
          <a:bodyPr lIns="121890" tIns="60945" rIns="121890" bIns="60945" anchor="ctr" anchorCtr="0">
            <a:noAutofit/>
          </a:bodyPr>
          <a:lstStyle>
            <a:lvl1pPr marL="0" indent="0">
              <a:buFontTx/>
              <a:buNone/>
              <a:defRPr sz="2100" baseline="0">
                <a:solidFill>
                  <a:schemeClr val="tx1"/>
                </a:solidFill>
                <a:latin typeface="+mn-lt"/>
              </a:defRPr>
            </a:lvl1pPr>
            <a:lvl2pPr>
              <a:defRPr sz="2000"/>
            </a:lvl2pPr>
            <a:lvl3pPr>
              <a:defRPr sz="2000"/>
            </a:lvl3pPr>
            <a:lvl4pPr>
              <a:defRPr sz="2000"/>
            </a:lvl4pPr>
            <a:lvl5pPr>
              <a:defRPr sz="2000"/>
            </a:lvl5pPr>
          </a:lstStyle>
          <a:p>
            <a:pPr lvl="0"/>
            <a:r>
              <a:rPr lang="en-GB" dirty="0"/>
              <a:t>Click to edit text</a:t>
            </a:r>
          </a:p>
        </p:txBody>
      </p:sp>
    </p:spTree>
    <p:extLst>
      <p:ext uri="{BB962C8B-B14F-4D97-AF65-F5344CB8AC3E}">
        <p14:creationId xmlns:p14="http://schemas.microsoft.com/office/powerpoint/2010/main" val="187091669"/>
      </p:ext>
    </p:extLst>
  </p:cSld>
  <p:clrMapOvr>
    <a:masterClrMapping/>
  </p:clrMapOvr>
  <p:transition spd="slow">
    <p:wip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83688" y="1797051"/>
            <a:ext cx="11127317" cy="3544971"/>
          </a:xfrm>
          <a:prstGeom prst="rect">
            <a:avLst/>
          </a:prstGeom>
        </p:spPr>
        <p:txBody>
          <a:bodyPr lIns="121890" tIns="60945" rIns="121890" bIns="60945">
            <a:noAutofit/>
          </a:bodyPr>
          <a:lstStyle>
            <a:lvl1pPr marL="0" indent="0" algn="ctr">
              <a:buNone/>
              <a:defRPr sz="27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hasCustomPrompt="1"/>
          </p:nvPr>
        </p:nvSpPr>
        <p:spPr>
          <a:xfrm>
            <a:off x="583690" y="5530961"/>
            <a:ext cx="9573749" cy="434977"/>
          </a:xfrm>
          <a:prstGeom prst="rect">
            <a:avLst/>
          </a:prstGeom>
        </p:spPr>
        <p:txBody>
          <a:bodyPr wrap="square" lIns="121890" tIns="60945" rIns="121890" bIns="60945" anchor="b" anchorCtr="0">
            <a:noAutofit/>
          </a:bodyPr>
          <a:lstStyle>
            <a:lvl1pPr algn="l" defTabSz="804747">
              <a:lnSpc>
                <a:spcPct val="100000"/>
              </a:lnSpc>
              <a:spcBef>
                <a:spcPct val="50000"/>
              </a:spcBef>
              <a:buNone/>
              <a:defRPr sz="21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Source</a:t>
            </a:r>
          </a:p>
        </p:txBody>
      </p:sp>
      <p:sp>
        <p:nvSpPr>
          <p:cNvPr id="5" name="Title Placeholder 5"/>
          <p:cNvSpPr>
            <a:spLocks noGrp="1"/>
          </p:cNvSpPr>
          <p:nvPr>
            <p:ph type="title" hasCustomPrompt="1"/>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6" tIns="60948" rIns="121896" bIns="60948"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2820495404"/>
      </p:ext>
    </p:extLst>
  </p:cSld>
  <p:clrMapOvr>
    <a:masterClrMapping/>
  </p:clrMapOvr>
  <p:transition spd="med">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83688" y="1799167"/>
            <a:ext cx="11127317" cy="3547533"/>
          </a:xfrm>
          <a:prstGeom prst="rect">
            <a:avLst/>
          </a:prstGeom>
        </p:spPr>
        <p:txBody>
          <a:bodyPr vert="horz" lIns="121890" tIns="60945" rIns="121890" bIns="60945">
            <a:noAutofit/>
          </a:bodyPr>
          <a:lstStyle>
            <a:lvl1pPr marL="0" indent="0" algn="ctr">
              <a:buNone/>
              <a:defRPr sz="27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hasCustomPrompt="1"/>
          </p:nvPr>
        </p:nvSpPr>
        <p:spPr>
          <a:xfrm>
            <a:off x="583690" y="5530961"/>
            <a:ext cx="9573749" cy="434977"/>
          </a:xfrm>
          <a:prstGeom prst="rect">
            <a:avLst/>
          </a:prstGeom>
        </p:spPr>
        <p:txBody>
          <a:bodyPr wrap="square" lIns="121890" tIns="60945" rIns="121890" bIns="60945" anchor="b" anchorCtr="0">
            <a:noAutofit/>
          </a:bodyPr>
          <a:lstStyle>
            <a:lvl1pPr algn="l" defTabSz="804747">
              <a:lnSpc>
                <a:spcPct val="100000"/>
              </a:lnSpc>
              <a:spcBef>
                <a:spcPct val="50000"/>
              </a:spcBef>
              <a:buNone/>
              <a:defRPr sz="21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Source</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6" tIns="60948" rIns="121896" bIns="60948"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895280909"/>
      </p:ext>
    </p:extLst>
  </p:cSld>
  <p:clrMapOvr>
    <a:masterClrMapping/>
  </p:clrMapOvr>
  <p:transition spd="med">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689" y="1799275"/>
            <a:ext cx="5342668" cy="4054364"/>
          </a:xfrm>
          <a:prstGeom prst="rect">
            <a:avLst/>
          </a:prstGeom>
        </p:spPr>
        <p:txBody>
          <a:bodyPr lIns="121890" tIns="60945" rIns="121890" bIns="60945" anchor="ctr" anchorCtr="0">
            <a:noAutofit/>
          </a:bodyPr>
          <a:lstStyle>
            <a:lvl1pPr marL="0" indent="0">
              <a:buNone/>
              <a:defRPr sz="32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6279877" y="1799166"/>
            <a:ext cx="5431128" cy="4052529"/>
          </a:xfrm>
          <a:prstGeom prst="rect">
            <a:avLst/>
          </a:prstGeom>
        </p:spPr>
        <p:txBody>
          <a:bodyPr vert="horz" lIns="121890" tIns="60945" rIns="121890" bIns="60945">
            <a:noAutofit/>
          </a:bodyPr>
          <a:lstStyle>
            <a:lvl1pPr marL="0" indent="0" algn="ctr">
              <a:buNone/>
              <a:defRPr sz="2700">
                <a:solidFill>
                  <a:schemeClr val="tx1"/>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6" tIns="60948" rIns="121896" bIns="60948"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689058280"/>
      </p:ext>
    </p:extLst>
  </p:cSld>
  <p:clrMapOvr>
    <a:masterClrMapping/>
  </p:clrMapOvr>
  <p:transition spd="med">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689" y="1799139"/>
            <a:ext cx="5338660" cy="4054500"/>
          </a:xfrm>
          <a:prstGeom prst="rect">
            <a:avLst/>
          </a:prstGeom>
        </p:spPr>
        <p:txBody>
          <a:bodyPr lIns="121890" tIns="60945" rIns="121890" bIns="60945" anchor="ctr" anchorCtr="0">
            <a:noAutofit/>
          </a:bodyPr>
          <a:lstStyle>
            <a:lvl1pPr marL="0" indent="0">
              <a:buNone/>
              <a:defRPr sz="32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6277480" y="1799167"/>
            <a:ext cx="5433525" cy="4054944"/>
          </a:xfrm>
          <a:prstGeom prst="rect">
            <a:avLst/>
          </a:prstGeom>
        </p:spPr>
        <p:txBody>
          <a:bodyPr vert="horz" lIns="121890" tIns="60945" rIns="121890" bIns="60945">
            <a:noAutofit/>
          </a:bodyPr>
          <a:lstStyle>
            <a:lvl1pPr marL="0" indent="0" algn="ctr">
              <a:buNone/>
              <a:defRPr sz="2700" b="0" i="0">
                <a:solidFill>
                  <a:schemeClr val="tx1"/>
                </a:solidFill>
                <a:latin typeface="+mn-lt"/>
                <a:cs typeface="CiscoSans ExtraLight"/>
              </a:defRPr>
            </a:lvl1pPr>
          </a:lstStyle>
          <a:p>
            <a:pPr lvl="0"/>
            <a:r>
              <a:rPr lang="en-US" noProof="0"/>
              <a:t>Click icon to add picture</a:t>
            </a:r>
            <a:endParaRPr lang="en-US" noProof="0"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6" tIns="60948" rIns="121896" bIns="60948"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473454000"/>
      </p:ext>
    </p:extLst>
  </p:cSld>
  <p:clrMapOvr>
    <a:masterClrMapping/>
  </p:clrMapOvr>
  <p:transition spd="med">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p:cNvSpPr/>
          <p:nvPr userDrawn="1"/>
        </p:nvSpPr>
        <p:spPr>
          <a:xfrm>
            <a:off x="8113488" y="2163193"/>
            <a:ext cx="3091419" cy="3091419"/>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609585" fontAlgn="base">
              <a:spcBef>
                <a:spcPct val="0"/>
              </a:spcBef>
              <a:spcAft>
                <a:spcPct val="0"/>
              </a:spcAft>
            </a:pPr>
            <a:endParaRPr lang="en-US" sz="1800" dirty="0">
              <a:solidFill>
                <a:srgbClr val="FFFFFF"/>
              </a:solidFill>
              <a:cs typeface="Arial"/>
            </a:endParaRPr>
          </a:p>
        </p:txBody>
      </p:sp>
      <p:sp>
        <p:nvSpPr>
          <p:cNvPr id="4" name="Oval 3"/>
          <p:cNvSpPr/>
          <p:nvPr userDrawn="1"/>
        </p:nvSpPr>
        <p:spPr>
          <a:xfrm>
            <a:off x="4564307" y="2163193"/>
            <a:ext cx="3091419" cy="3091419"/>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609585" fontAlgn="base">
              <a:spcBef>
                <a:spcPct val="0"/>
              </a:spcBef>
              <a:spcAft>
                <a:spcPct val="0"/>
              </a:spcAft>
            </a:pPr>
            <a:endParaRPr lang="en-US" sz="1800" dirty="0">
              <a:solidFill>
                <a:srgbClr val="FFFFFF"/>
              </a:solidFill>
              <a:cs typeface="Arial"/>
            </a:endParaRPr>
          </a:p>
        </p:txBody>
      </p:sp>
      <p:sp>
        <p:nvSpPr>
          <p:cNvPr id="7" name="Oval 6"/>
          <p:cNvSpPr/>
          <p:nvPr userDrawn="1"/>
        </p:nvSpPr>
        <p:spPr>
          <a:xfrm>
            <a:off x="1019028" y="2163193"/>
            <a:ext cx="3091419" cy="3091419"/>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609585" fontAlgn="base">
              <a:spcBef>
                <a:spcPct val="0"/>
              </a:spcBef>
              <a:spcAft>
                <a:spcPct val="0"/>
              </a:spcAft>
            </a:pPr>
            <a:endParaRPr lang="en-US" sz="1800" dirty="0">
              <a:solidFill>
                <a:srgbClr val="FFFFFF"/>
              </a:solidFill>
              <a:cs typeface="Arial"/>
            </a:endParaRPr>
          </a:p>
        </p:txBody>
      </p:sp>
      <p:sp>
        <p:nvSpPr>
          <p:cNvPr id="17" name="Text Placeholder 17"/>
          <p:cNvSpPr>
            <a:spLocks noGrp="1"/>
          </p:cNvSpPr>
          <p:nvPr>
            <p:ph type="body" sz="quarter" idx="11" hasCustomPrompt="1"/>
          </p:nvPr>
        </p:nvSpPr>
        <p:spPr>
          <a:xfrm>
            <a:off x="1036647" y="3733524"/>
            <a:ext cx="3056181" cy="804881"/>
          </a:xfrm>
          <a:prstGeom prst="rect">
            <a:avLst/>
          </a:prstGeom>
        </p:spPr>
        <p:txBody>
          <a:bodyPr lIns="121890" tIns="60945" rIns="121890" bIns="60945"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4581926" y="3730928"/>
            <a:ext cx="3056181" cy="804881"/>
          </a:xfrm>
          <a:prstGeom prst="rect">
            <a:avLst/>
          </a:prstGeom>
        </p:spPr>
        <p:txBody>
          <a:bodyPr lIns="121890" tIns="60945" rIns="121890" bIns="60945"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8131107" y="3730928"/>
            <a:ext cx="3056181" cy="804881"/>
          </a:xfrm>
          <a:prstGeom prst="rect">
            <a:avLst/>
          </a:prstGeom>
        </p:spPr>
        <p:txBody>
          <a:bodyPr lIns="121890" tIns="60945" rIns="121890" bIns="60945"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2027767" y="2857372"/>
            <a:ext cx="1051984" cy="1051984"/>
          </a:xfrm>
          <a:prstGeom prst="rect">
            <a:avLst/>
          </a:prstGeom>
        </p:spPr>
        <p:txBody>
          <a:bodyPr vert="horz" lIns="121917" tIns="60958" rIns="121917" bIns="60958"/>
          <a:lstStyle>
            <a:lvl1pPr marL="0" indent="0" algn="ctr">
              <a:buNone/>
              <a:defRPr sz="16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5603827" y="2870412"/>
            <a:ext cx="1051984" cy="1051984"/>
          </a:xfrm>
          <a:prstGeom prst="rect">
            <a:avLst/>
          </a:prstGeom>
        </p:spPr>
        <p:txBody>
          <a:bodyPr vert="horz" lIns="121917" tIns="60958" rIns="121917" bIns="60958"/>
          <a:lstStyle>
            <a:lvl1pPr marL="0" indent="0" algn="ctr">
              <a:buNone/>
              <a:defRPr sz="16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9122480" y="2857372"/>
            <a:ext cx="1051984" cy="1051984"/>
          </a:xfrm>
          <a:prstGeom prst="rect">
            <a:avLst/>
          </a:prstGeom>
        </p:spPr>
        <p:txBody>
          <a:bodyPr vert="horz" lIns="121917" tIns="60958" rIns="121917" bIns="60958"/>
          <a:lstStyle>
            <a:lvl1pPr marL="0" indent="0" algn="ctr">
              <a:buNone/>
              <a:defRPr sz="1600">
                <a:solidFill>
                  <a:schemeClr val="bg1"/>
                </a:solidFill>
              </a:defRPr>
            </a:lvl1pPr>
          </a:lstStyle>
          <a:p>
            <a:r>
              <a:rPr lang="en-US" dirty="0"/>
              <a:t>Icon</a:t>
            </a:r>
          </a:p>
        </p:txBody>
      </p:sp>
    </p:spTree>
    <p:extLst>
      <p:ext uri="{BB962C8B-B14F-4D97-AF65-F5344CB8AC3E}">
        <p14:creationId xmlns:p14="http://schemas.microsoft.com/office/powerpoint/2010/main" val="3189418923"/>
      </p:ext>
    </p:extLst>
  </p:cSld>
  <p:clrMapOvr>
    <a:masterClrMapping/>
  </p:clrMapOvr>
  <p:transition spd="slow">
    <p:wip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691" y="1799139"/>
            <a:ext cx="5338660" cy="4054500"/>
          </a:xfrm>
          <a:prstGeom prst="rect">
            <a:avLst/>
          </a:prstGeom>
        </p:spPr>
        <p:txBody>
          <a:bodyPr lIns="91412" tIns="45710" rIns="91412" bIns="45710" anchor="ctr" anchorCtr="0">
            <a:noAutofit/>
          </a:bodyPr>
          <a:lstStyle>
            <a:lvl1pPr marL="0" indent="0">
              <a:buNone/>
              <a:defRPr sz="32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6277480" y="1799167"/>
            <a:ext cx="5433525" cy="4054944"/>
          </a:xfrm>
          <a:prstGeom prst="rect">
            <a:avLst/>
          </a:prstGeom>
        </p:spPr>
        <p:txBody>
          <a:bodyPr vert="horz" lIns="91412" tIns="45710" rIns="91412" bIns="45710">
            <a:noAutofit/>
          </a:bodyPr>
          <a:lstStyle>
            <a:lvl1pPr marL="0" indent="0" algn="ctr">
              <a:buNone/>
              <a:defRPr sz="2700" b="0" i="0">
                <a:solidFill>
                  <a:schemeClr val="tx1"/>
                </a:solidFill>
                <a:latin typeface="+mn-lt"/>
                <a:cs typeface="CiscoSans ExtraLight"/>
              </a:defRPr>
            </a:lvl1pPr>
          </a:lstStyle>
          <a:p>
            <a:pPr lvl="0"/>
            <a:r>
              <a:rPr lang="en-US" noProof="0"/>
              <a:t>Click icon to add picture</a:t>
            </a:r>
            <a:endParaRPr lang="en-US" noProof="0" dirty="0"/>
          </a:p>
        </p:txBody>
      </p:sp>
      <p:sp>
        <p:nvSpPr>
          <p:cNvPr id="5"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723968243"/>
      </p:ext>
    </p:extLst>
  </p:cSld>
  <p:clrMapOvr>
    <a:masterClrMapping/>
  </p:clrMapOvr>
  <p:transition spd="med">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1033096" y="2163193"/>
            <a:ext cx="3075001" cy="3074624"/>
          </a:xfrm>
          <a:prstGeom prst="ellipse">
            <a:avLst/>
          </a:prstGeom>
          <a:solidFill>
            <a:sysClr val="windowText" lastClr="000000">
              <a:alpha val="30000"/>
            </a:sysClr>
          </a:solidFill>
          <a:ln w="25400" cap="flat" cmpd="sng" algn="ctr">
            <a:noFill/>
            <a:prstDash val="solid"/>
          </a:ln>
          <a:effectLst/>
        </p:spPr>
        <p:txBody>
          <a:bodyPr lIns="91434" tIns="45718" rIns="91434" bIns="45718" anchor="ctr"/>
          <a:lstStyle/>
          <a:p>
            <a:pPr algn="ctr" defTabSz="1219170">
              <a:defRPr/>
            </a:pPr>
            <a:endParaRPr lang="en-US" sz="2400" kern="0">
              <a:solidFill>
                <a:prstClr val="white"/>
              </a:solidFill>
              <a:ea typeface="ＭＳ Ｐゴシック" charset="0"/>
            </a:endParaRPr>
          </a:p>
        </p:txBody>
      </p:sp>
      <p:sp>
        <p:nvSpPr>
          <p:cNvPr id="44" name="Oval 43"/>
          <p:cNvSpPr/>
          <p:nvPr userDrawn="1"/>
        </p:nvSpPr>
        <p:spPr>
          <a:xfrm>
            <a:off x="4563790" y="2163193"/>
            <a:ext cx="3075001" cy="3074624"/>
          </a:xfrm>
          <a:prstGeom prst="ellipse">
            <a:avLst/>
          </a:prstGeom>
          <a:solidFill>
            <a:sysClr val="windowText" lastClr="000000">
              <a:alpha val="30000"/>
            </a:sysClr>
          </a:solidFill>
          <a:ln w="25400" cap="flat" cmpd="sng" algn="ctr">
            <a:noFill/>
            <a:prstDash val="solid"/>
          </a:ln>
          <a:effectLst/>
        </p:spPr>
        <p:txBody>
          <a:bodyPr lIns="91434" tIns="45718" rIns="91434" bIns="45718" anchor="ctr"/>
          <a:lstStyle/>
          <a:p>
            <a:pPr algn="ctr" defTabSz="1219170">
              <a:defRPr/>
            </a:pPr>
            <a:endParaRPr lang="en-US" sz="2400" kern="0">
              <a:solidFill>
                <a:prstClr val="white"/>
              </a:solidFill>
              <a:ea typeface="ＭＳ Ｐゴシック" charset="0"/>
            </a:endParaRPr>
          </a:p>
        </p:txBody>
      </p:sp>
      <p:sp>
        <p:nvSpPr>
          <p:cNvPr id="45" name="Oval 44"/>
          <p:cNvSpPr/>
          <p:nvPr userDrawn="1"/>
        </p:nvSpPr>
        <p:spPr>
          <a:xfrm>
            <a:off x="8116480" y="2163193"/>
            <a:ext cx="3075001" cy="3074624"/>
          </a:xfrm>
          <a:prstGeom prst="ellipse">
            <a:avLst/>
          </a:prstGeom>
          <a:solidFill>
            <a:sysClr val="windowText" lastClr="000000">
              <a:alpha val="30000"/>
            </a:sysClr>
          </a:solidFill>
          <a:ln w="25400" cap="flat" cmpd="sng" algn="ctr">
            <a:noFill/>
            <a:prstDash val="solid"/>
          </a:ln>
          <a:effectLst/>
        </p:spPr>
        <p:txBody>
          <a:bodyPr lIns="91434" tIns="45718" rIns="91434" bIns="45718" anchor="ctr"/>
          <a:lstStyle/>
          <a:p>
            <a:pPr algn="ctr" defTabSz="1219170">
              <a:defRPr/>
            </a:pPr>
            <a:endParaRPr lang="en-US" sz="2400" kern="0">
              <a:solidFill>
                <a:prstClr val="white"/>
              </a:solidFill>
              <a:ea typeface="ＭＳ Ｐゴシック" charset="0"/>
            </a:endParaRPr>
          </a:p>
        </p:txBody>
      </p:sp>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6" tIns="60948" rIns="121896" bIns="60948" numCol="1" anchor="ctr" anchorCtr="0" compatLnSpc="1">
            <a:prstTxWarp prst="textNoShape">
              <a:avLst/>
            </a:prstTxWarp>
          </a:bodyPr>
          <a:lstStyle/>
          <a:p>
            <a:pPr lvl="0"/>
            <a:r>
              <a:rPr lang="en-US"/>
              <a:t>Click to edit Master title style</a:t>
            </a:r>
            <a:endParaRPr lang="en-GB" dirty="0"/>
          </a:p>
        </p:txBody>
      </p:sp>
      <p:sp>
        <p:nvSpPr>
          <p:cNvPr id="35" name="Picture Placeholder 25"/>
          <p:cNvSpPr>
            <a:spLocks noGrp="1"/>
          </p:cNvSpPr>
          <p:nvPr>
            <p:ph type="pic" sz="quarter" idx="10" hasCustomPrompt="1"/>
          </p:nvPr>
        </p:nvSpPr>
        <p:spPr>
          <a:xfrm>
            <a:off x="1033287" y="2163193"/>
            <a:ext cx="3074624" cy="3074624"/>
          </a:xfrm>
          <a:prstGeom prst="ellipse">
            <a:avLst/>
          </a:prstGeom>
          <a:solidFill>
            <a:schemeClr val="bg1">
              <a:alpha val="30000"/>
            </a:schemeClr>
          </a:solidFill>
          <a:ln>
            <a:noFill/>
          </a:ln>
          <a:effectLst/>
        </p:spPr>
        <p:txBody>
          <a:bodyPr lIns="121896" tIns="60948" rIns="121896" bIns="60948" anchor="ctr" anchorCtr="0"/>
          <a:lstStyle>
            <a:lvl1pPr algn="l">
              <a:buFontTx/>
              <a:buNone/>
              <a:defRPr sz="1700"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4563981" y="2163193"/>
            <a:ext cx="3074624" cy="3074624"/>
          </a:xfrm>
          <a:prstGeom prst="ellipse">
            <a:avLst/>
          </a:prstGeom>
          <a:solidFill>
            <a:schemeClr val="bg1">
              <a:alpha val="30000"/>
            </a:schemeClr>
          </a:solidFill>
          <a:ln>
            <a:noFill/>
          </a:ln>
          <a:effectLst/>
        </p:spPr>
        <p:txBody>
          <a:bodyPr lIns="121896" tIns="60948" rIns="121896" bIns="60948" anchor="ctr" anchorCtr="0"/>
          <a:lstStyle>
            <a:lvl1pPr algn="l">
              <a:buFontTx/>
              <a:buNone/>
              <a:defRPr sz="17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8116671" y="2163193"/>
            <a:ext cx="3074624" cy="3074624"/>
          </a:xfrm>
          <a:prstGeom prst="ellipse">
            <a:avLst/>
          </a:prstGeom>
          <a:solidFill>
            <a:schemeClr val="bg1">
              <a:alpha val="30000"/>
            </a:schemeClr>
          </a:solidFill>
          <a:ln>
            <a:noFill/>
          </a:ln>
          <a:effectLst/>
        </p:spPr>
        <p:txBody>
          <a:bodyPr lIns="121896" tIns="60948" rIns="121896" bIns="60948" anchor="ctr" anchorCtr="0"/>
          <a:lstStyle>
            <a:lvl1pPr algn="l">
              <a:buFontTx/>
              <a:buNone/>
              <a:defRPr sz="17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1051730" y="5164185"/>
            <a:ext cx="3056181" cy="804881"/>
          </a:xfrm>
          <a:prstGeom prst="rect">
            <a:avLst/>
          </a:prstGeom>
        </p:spPr>
        <p:txBody>
          <a:bodyPr lIns="121890" tIns="60945" rIns="121890" bIns="60945"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4582424" y="5161589"/>
            <a:ext cx="3056181" cy="804881"/>
          </a:xfrm>
          <a:prstGeom prst="rect">
            <a:avLst/>
          </a:prstGeom>
        </p:spPr>
        <p:txBody>
          <a:bodyPr lIns="121890" tIns="60945" rIns="121890" bIns="60945"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8135114" y="5161589"/>
            <a:ext cx="3056181" cy="804881"/>
          </a:xfrm>
          <a:prstGeom prst="rect">
            <a:avLst/>
          </a:prstGeom>
        </p:spPr>
        <p:txBody>
          <a:bodyPr lIns="121890" tIns="60945" rIns="121890" bIns="60945"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Tree>
    <p:extLst>
      <p:ext uri="{BB962C8B-B14F-4D97-AF65-F5344CB8AC3E}">
        <p14:creationId xmlns:p14="http://schemas.microsoft.com/office/powerpoint/2010/main" val="1606441587"/>
      </p:ext>
    </p:extLst>
  </p:cSld>
  <p:clrMapOvr>
    <a:masterClrMapping/>
  </p:clrMapOvr>
  <p:transition spd="slow">
    <p:wip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85" y="6172201"/>
            <a:ext cx="977900"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2000" cy="6858000"/>
          </a:xfrm>
          <a:prstGeom prst="rect">
            <a:avLst/>
          </a:prstGeom>
        </p:spPr>
        <p:txBody>
          <a:bodyPr vert="horz" lIns="121890" tIns="60945" rIns="121890" bIns="60945"/>
          <a:lstStyle>
            <a:lvl1pPr marL="0" indent="0" algn="ctr">
              <a:buNone/>
              <a:defRPr sz="2900" baseline="0">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hasCustomPrompt="1"/>
          </p:nvPr>
        </p:nvSpPr>
        <p:spPr bwMode="auto">
          <a:xfrm>
            <a:off x="666751" y="4637668"/>
            <a:ext cx="10852149" cy="689930"/>
          </a:xfrm>
          <a:prstGeom prst="rect">
            <a:avLst/>
          </a:prstGeom>
          <a:solidFill>
            <a:schemeClr val="bg1">
              <a:alpha val="70000"/>
            </a:schemeClr>
          </a:solidFill>
        </p:spPr>
        <p:txBody>
          <a:bodyPr wrap="square" lIns="143996" tIns="0" rIns="121917" bIns="60958" numCol="1" anchor="ctr" anchorCtr="0" compatLnSpc="1">
            <a:prstTxWarp prst="textNoShape">
              <a:avLst/>
            </a:prstTxWarp>
            <a:spAutoFit/>
          </a:bodyPr>
          <a:lstStyle>
            <a:lvl1pPr marL="230394" indent="0">
              <a:lnSpc>
                <a:spcPts val="4907"/>
              </a:lnSpc>
              <a:spcBef>
                <a:spcPts val="0"/>
              </a:spcBef>
              <a:buNone/>
              <a:defRPr sz="3200" i="1"/>
            </a:lvl1pPr>
          </a:lstStyle>
          <a:p>
            <a:pPr lvl="0"/>
            <a:r>
              <a:rPr lang="en-GB" dirty="0"/>
              <a:t>Text Goes Here</a:t>
            </a:r>
          </a:p>
        </p:txBody>
      </p:sp>
    </p:spTree>
    <p:extLst>
      <p:ext uri="{BB962C8B-B14F-4D97-AF65-F5344CB8AC3E}">
        <p14:creationId xmlns:p14="http://schemas.microsoft.com/office/powerpoint/2010/main" val="2210215467"/>
      </p:ext>
    </p:extLst>
  </p:cSld>
  <p:clrMapOvr>
    <a:masterClrMapping/>
  </p:clrMapOvr>
  <p:transition spd="slow">
    <p:wip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4" y="401383"/>
            <a:ext cx="11417563" cy="3389567"/>
          </a:xfrm>
          <a:prstGeom prst="rect">
            <a:avLst/>
          </a:prstGeom>
        </p:spPr>
        <p:txBody>
          <a:bodyPr vert="horz" lIns="121890" tIns="60945" rIns="121890" bIns="60945"/>
          <a:lstStyle>
            <a:lvl1pPr marL="0" indent="0" algn="ctr">
              <a:buNone/>
              <a:defRPr sz="2900" baseline="0">
                <a:solidFill>
                  <a:srgbClr val="676767"/>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hasCustomPrompt="1"/>
          </p:nvPr>
        </p:nvSpPr>
        <p:spPr>
          <a:xfrm>
            <a:off x="598380" y="4072691"/>
            <a:ext cx="11152315" cy="752343"/>
          </a:xfrm>
          <a:prstGeom prst="rect">
            <a:avLst/>
          </a:prstGeom>
        </p:spPr>
        <p:txBody>
          <a:bodyPr vert="horz" wrap="square" lIns="121917" tIns="60958" rIns="121917" bIns="60958">
            <a:spAutoFit/>
          </a:bodyPr>
          <a:lstStyle>
            <a:lvl1pPr marL="0" indent="0">
              <a:buNone/>
              <a:defRPr sz="4300"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2699713306"/>
      </p:ext>
    </p:extLst>
  </p:cSld>
  <p:clrMapOvr>
    <a:masterClrMapping/>
  </p:clrMapOvr>
  <p:transition spd="slow">
    <p:wip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85" y="6172201"/>
            <a:ext cx="977900"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6464" cy="6858000"/>
          </a:xfrm>
          <a:prstGeom prst="rect">
            <a:avLst/>
          </a:prstGeom>
        </p:spPr>
        <p:txBody>
          <a:bodyPr vert="horz" lIns="121890" tIns="60945" rIns="121890" bIns="60945"/>
          <a:lstStyle>
            <a:lvl1pPr marL="0" indent="0" algn="ctr">
              <a:buNone/>
              <a:defRPr sz="29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435868756"/>
      </p:ext>
    </p:extLst>
  </p:cSld>
  <p:clrMapOvr>
    <a:masterClrMapping/>
  </p:clrMapOvr>
  <p:transition spd="slow">
    <p:wip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3" y="320842"/>
            <a:ext cx="11307184" cy="5688861"/>
          </a:xfrm>
          <a:prstGeom prst="rect">
            <a:avLst/>
          </a:prstGeom>
        </p:spPr>
        <p:txBody>
          <a:bodyPr vert="horz" lIns="121896" tIns="60948" rIns="121896" bIns="60948"/>
          <a:lstStyle>
            <a:lvl1pPr marL="0" indent="0" algn="ctr">
              <a:buNone/>
              <a:defRPr sz="20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194051773"/>
      </p:ext>
    </p:extLst>
  </p:cSld>
  <p:clrMapOvr>
    <a:masterClrMapping/>
  </p:clrMapOvr>
  <p:transition spd="slow">
    <p:wip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4" name="Rectangle 3"/>
          <p:cNvSpPr/>
          <p:nvPr/>
        </p:nvSpPr>
        <p:spPr>
          <a:xfrm>
            <a:off x="2523067" y="795867"/>
            <a:ext cx="7131051" cy="40047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anchor="ctr"/>
          <a:lstStyle/>
          <a:p>
            <a:pPr algn="ctr" defTabSz="609585">
              <a:defRPr/>
            </a:pPr>
            <a:endParaRPr lang="en-US" sz="1800">
              <a:solidFill>
                <a:srgbClr val="FFFFFF"/>
              </a:solidFill>
            </a:endParaRPr>
          </a:p>
        </p:txBody>
      </p:sp>
      <p:sp>
        <p:nvSpPr>
          <p:cNvPr id="5" name="Rectangle 4"/>
          <p:cNvSpPr/>
          <p:nvPr/>
        </p:nvSpPr>
        <p:spPr>
          <a:xfrm>
            <a:off x="2523067" y="4794251"/>
            <a:ext cx="7128933" cy="99694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anchor="ctr"/>
          <a:lstStyle/>
          <a:p>
            <a:pPr algn="ctr" defTabSz="609585">
              <a:defRPr/>
            </a:pPr>
            <a:endParaRPr lang="en-US" sz="1800">
              <a:solidFill>
                <a:srgbClr val="FFFFFF"/>
              </a:solidFill>
            </a:endParaRPr>
          </a:p>
        </p:txBody>
      </p:sp>
      <p:sp>
        <p:nvSpPr>
          <p:cNvPr id="26" name="Picture Placeholder 25"/>
          <p:cNvSpPr>
            <a:spLocks noGrp="1"/>
          </p:cNvSpPr>
          <p:nvPr>
            <p:ph type="pic" sz="quarter" idx="10"/>
          </p:nvPr>
        </p:nvSpPr>
        <p:spPr>
          <a:xfrm>
            <a:off x="2533651" y="795528"/>
            <a:ext cx="7105651" cy="4005072"/>
          </a:xfrm>
          <a:prstGeom prst="rect">
            <a:avLst/>
          </a:prstGeom>
          <a:solidFill>
            <a:schemeClr val="bg1">
              <a:alpha val="30000"/>
            </a:schemeClr>
          </a:solidFill>
          <a:ln>
            <a:solidFill>
              <a:srgbClr val="676767"/>
            </a:solidFill>
          </a:ln>
          <a:effectLst/>
        </p:spPr>
        <p:txBody>
          <a:bodyPr lIns="121896" tIns="60948" rIns="121896" bIns="60948"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hasCustomPrompt="1"/>
          </p:nvPr>
        </p:nvSpPr>
        <p:spPr>
          <a:xfrm>
            <a:off x="2754495" y="4873439"/>
            <a:ext cx="6765427" cy="838200"/>
          </a:xfrm>
        </p:spPr>
        <p:txBody>
          <a:bodyPr anchor="ctr"/>
          <a:lstStyle>
            <a:lvl1pPr>
              <a:defRPr sz="27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3686063986"/>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4" name="Rectangle 3"/>
          <p:cNvSpPr/>
          <p:nvPr/>
        </p:nvSpPr>
        <p:spPr>
          <a:xfrm>
            <a:off x="733067" y="311151"/>
            <a:ext cx="4364567" cy="24595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anchor="ctr"/>
          <a:lstStyle/>
          <a:p>
            <a:pPr algn="ctr" defTabSz="609585">
              <a:defRPr/>
            </a:pPr>
            <a:endParaRPr lang="en-US" sz="1800">
              <a:solidFill>
                <a:srgbClr val="FFFFFF"/>
              </a:solidFill>
            </a:endParaRPr>
          </a:p>
        </p:txBody>
      </p:sp>
      <p:sp>
        <p:nvSpPr>
          <p:cNvPr id="26" name="Picture Placeholder 25"/>
          <p:cNvSpPr>
            <a:spLocks noGrp="1"/>
          </p:cNvSpPr>
          <p:nvPr>
            <p:ph type="pic" sz="quarter" idx="10"/>
          </p:nvPr>
        </p:nvSpPr>
        <p:spPr>
          <a:xfrm>
            <a:off x="733321" y="310896"/>
            <a:ext cx="4364736" cy="2459736"/>
          </a:xfrm>
          <a:prstGeom prst="rect">
            <a:avLst/>
          </a:prstGeom>
          <a:solidFill>
            <a:schemeClr val="bg1">
              <a:alpha val="30000"/>
            </a:schemeClr>
          </a:solidFill>
          <a:ln>
            <a:solidFill>
              <a:srgbClr val="676767"/>
            </a:solidFill>
          </a:ln>
          <a:effectLst/>
        </p:spPr>
        <p:txBody>
          <a:bodyPr vert="horz" lIns="91434" tIns="45718" rIns="91434" bIns="45718" rtlCol="0" anchor="ctr" anchorCtr="0">
            <a:normAutofit/>
          </a:bodyPr>
          <a:lstStyle>
            <a:lvl1pPr marL="0" indent="0" algn="ctr" defTabSz="914346"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574581" y="3307591"/>
            <a:ext cx="8973153" cy="2152559"/>
          </a:xfrm>
        </p:spPr>
        <p:txBody>
          <a:bodyPr>
            <a:noAutofit/>
          </a:bodyPr>
          <a:lstStyle>
            <a:lvl1pPr marL="0" marR="0" indent="0" algn="l" defTabSz="914346" rtl="0" eaLnBrk="1" fontAlgn="auto" latinLnBrk="0" hangingPunct="1">
              <a:lnSpc>
                <a:spcPct val="80000"/>
              </a:lnSpc>
              <a:spcBef>
                <a:spcPct val="0"/>
              </a:spcBef>
              <a:spcAft>
                <a:spcPts val="0"/>
              </a:spcAft>
              <a:buClrTx/>
              <a:buSzTx/>
              <a:buFontTx/>
              <a:buNone/>
              <a:tabLst/>
              <a:defRPr sz="60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3295503867"/>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 name="Rectangle 3"/>
          <p:cNvSpPr/>
          <p:nvPr/>
        </p:nvSpPr>
        <p:spPr>
          <a:xfrm>
            <a:off x="6656917" y="728810"/>
            <a:ext cx="4840816" cy="515975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anchor="ctr"/>
          <a:lstStyle/>
          <a:p>
            <a:pPr algn="ctr" defTabSz="609585">
              <a:defRPr/>
            </a:pPr>
            <a:endParaRPr lang="en-US" sz="1800">
              <a:solidFill>
                <a:srgbClr val="FFFFFF"/>
              </a:solidFill>
            </a:endParaRPr>
          </a:p>
        </p:txBody>
      </p:sp>
      <p:sp>
        <p:nvSpPr>
          <p:cNvPr id="26" name="Picture Placeholder 25"/>
          <p:cNvSpPr>
            <a:spLocks noGrp="1"/>
          </p:cNvSpPr>
          <p:nvPr>
            <p:ph type="pic" sz="quarter" idx="10"/>
          </p:nvPr>
        </p:nvSpPr>
        <p:spPr>
          <a:xfrm>
            <a:off x="6656832" y="728979"/>
            <a:ext cx="4840224" cy="5159757"/>
          </a:xfrm>
          <a:prstGeom prst="rect">
            <a:avLst/>
          </a:prstGeom>
          <a:solidFill>
            <a:schemeClr val="bg1">
              <a:alpha val="30000"/>
            </a:schemeClr>
          </a:solidFill>
          <a:ln>
            <a:solidFill>
              <a:srgbClr val="2968AF"/>
            </a:solidFill>
          </a:ln>
          <a:effectLst/>
        </p:spPr>
        <p:txBody>
          <a:bodyPr lIns="121896" tIns="60948" rIns="121896" bIns="60948"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583559" y="728980"/>
            <a:ext cx="5799891" cy="1085313"/>
          </a:xfrm>
        </p:spPr>
        <p:txBody>
          <a:bodyPr wrap="none" anchor="t" anchorCtr="0">
            <a:noAutofit/>
          </a:bodyPr>
          <a:lstStyle>
            <a:lvl1pPr>
              <a:lnSpc>
                <a:spcPct val="90000"/>
              </a:lnSpc>
              <a:defRPr sz="3300">
                <a:solidFill>
                  <a:schemeClr val="bg1"/>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2813699245"/>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9" name="Rectangle 8"/>
          <p:cNvSpPr/>
          <p:nvPr/>
        </p:nvSpPr>
        <p:spPr>
          <a:xfrm>
            <a:off x="4891617" y="311152"/>
            <a:ext cx="43582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lgn="ctr" defTabSz="609585">
              <a:defRPr/>
            </a:pPr>
            <a:endParaRPr lang="en-US" sz="1800">
              <a:solidFill>
                <a:srgbClr val="FFFFFF"/>
              </a:solidFill>
              <a:latin typeface="CiscoSans"/>
              <a:cs typeface="CiscoSans"/>
            </a:endParaRPr>
          </a:p>
        </p:txBody>
      </p:sp>
      <p:sp>
        <p:nvSpPr>
          <p:cNvPr id="10" name="Rectangle 9"/>
          <p:cNvSpPr/>
          <p:nvPr/>
        </p:nvSpPr>
        <p:spPr>
          <a:xfrm>
            <a:off x="446617" y="311152"/>
            <a:ext cx="43836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lgn="ctr" defTabSz="609585">
              <a:defRPr/>
            </a:pPr>
            <a:endParaRPr lang="en-US" sz="1800">
              <a:solidFill>
                <a:srgbClr val="FFFFFF"/>
              </a:solidFill>
              <a:latin typeface="CiscoSans"/>
              <a:cs typeface="CiscoSans"/>
            </a:endParaRPr>
          </a:p>
        </p:txBody>
      </p:sp>
      <p:sp>
        <p:nvSpPr>
          <p:cNvPr id="11" name="Rectangle 10"/>
          <p:cNvSpPr/>
          <p:nvPr/>
        </p:nvSpPr>
        <p:spPr>
          <a:xfrm>
            <a:off x="9306985" y="311151"/>
            <a:ext cx="2451100"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lgn="ctr" defTabSz="609585">
              <a:defRPr/>
            </a:pPr>
            <a:endParaRPr lang="en-US" sz="1800">
              <a:solidFill>
                <a:srgbClr val="FFFFFF"/>
              </a:solidFill>
              <a:latin typeface="CiscoSans"/>
              <a:cs typeface="CiscoSans"/>
            </a:endParaRPr>
          </a:p>
        </p:txBody>
      </p:sp>
      <p:sp>
        <p:nvSpPr>
          <p:cNvPr id="12" name="Rectangle 11"/>
          <p:cNvSpPr/>
          <p:nvPr/>
        </p:nvSpPr>
        <p:spPr>
          <a:xfrm>
            <a:off x="446618" y="3028952"/>
            <a:ext cx="3363383"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lgn="ctr" defTabSz="609585">
              <a:defRPr/>
            </a:pPr>
            <a:endParaRPr lang="en-US" sz="1800">
              <a:solidFill>
                <a:srgbClr val="FFFFFF"/>
              </a:solidFill>
              <a:latin typeface="CiscoSans"/>
              <a:cs typeface="CiscoSans"/>
            </a:endParaRPr>
          </a:p>
        </p:txBody>
      </p:sp>
      <p:sp>
        <p:nvSpPr>
          <p:cNvPr id="13" name="Rectangle 12"/>
          <p:cNvSpPr/>
          <p:nvPr/>
        </p:nvSpPr>
        <p:spPr>
          <a:xfrm>
            <a:off x="3881967" y="3028952"/>
            <a:ext cx="5367867"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lgn="ctr" defTabSz="609585">
              <a:defRPr/>
            </a:pPr>
            <a:endParaRPr lang="en-US" sz="1800">
              <a:solidFill>
                <a:srgbClr val="FFFFFF"/>
              </a:solidFill>
              <a:latin typeface="CiscoSans"/>
              <a:cs typeface="CiscoSans"/>
            </a:endParaRPr>
          </a:p>
        </p:txBody>
      </p:sp>
      <p:sp>
        <p:nvSpPr>
          <p:cNvPr id="14" name="Rectangle 13"/>
          <p:cNvSpPr/>
          <p:nvPr/>
        </p:nvSpPr>
        <p:spPr>
          <a:xfrm>
            <a:off x="9306985" y="1682751"/>
            <a:ext cx="2451100" cy="34438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lgn="ctr" defTabSz="609585">
              <a:defRPr/>
            </a:pPr>
            <a:endParaRPr lang="en-US" sz="1800">
              <a:solidFill>
                <a:srgbClr val="FFFFFF"/>
              </a:solidFill>
              <a:latin typeface="CiscoSans"/>
              <a:cs typeface="CiscoSans"/>
            </a:endParaRPr>
          </a:p>
        </p:txBody>
      </p:sp>
      <p:sp>
        <p:nvSpPr>
          <p:cNvPr id="15" name="Rectangle 14"/>
          <p:cNvSpPr/>
          <p:nvPr/>
        </p:nvSpPr>
        <p:spPr>
          <a:xfrm>
            <a:off x="9306985" y="5183717"/>
            <a:ext cx="2451100" cy="13038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lgn="ctr" defTabSz="609585">
              <a:defRPr/>
            </a:pPr>
            <a:endParaRPr lang="en-US" sz="1800">
              <a:solidFill>
                <a:srgbClr val="FFFFFF"/>
              </a:solidFill>
              <a:latin typeface="CiscoSans"/>
              <a:cs typeface="CiscoSans"/>
            </a:endParaRPr>
          </a:p>
        </p:txBody>
      </p:sp>
      <p:sp>
        <p:nvSpPr>
          <p:cNvPr id="49" name="Picture Placeholder 25"/>
          <p:cNvSpPr>
            <a:spLocks noGrp="1"/>
          </p:cNvSpPr>
          <p:nvPr>
            <p:ph type="pic" sz="quarter" idx="11"/>
          </p:nvPr>
        </p:nvSpPr>
        <p:spPr>
          <a:xfrm>
            <a:off x="4891994" y="311151"/>
            <a:ext cx="4357148" cy="2660652"/>
          </a:xfrm>
          <a:prstGeom prst="rect">
            <a:avLst/>
          </a:prstGeom>
          <a:solidFill>
            <a:schemeClr val="bg1">
              <a:alpha val="30000"/>
            </a:schemeClr>
          </a:solidFill>
          <a:ln>
            <a:solidFill>
              <a:schemeClr val="bg2"/>
            </a:solidFill>
          </a:ln>
          <a:effectLst/>
        </p:spPr>
        <p:txBody>
          <a:bodyPr vert="horz" lIns="91430" tIns="45716" rIns="91430" bIns="45716"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427771" y="311151"/>
            <a:ext cx="4402668" cy="2660652"/>
          </a:xfrm>
          <a:prstGeom prst="rect">
            <a:avLst/>
          </a:prstGeom>
          <a:solidFill>
            <a:schemeClr val="bg1">
              <a:alpha val="30000"/>
            </a:schemeClr>
          </a:solidFill>
          <a:ln>
            <a:solidFill>
              <a:schemeClr val="bg2"/>
            </a:solidFill>
          </a:ln>
          <a:effectLst/>
        </p:spPr>
        <p:txBody>
          <a:bodyPr vert="horz" lIns="91430" tIns="45716" rIns="91430" bIns="45716"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9306444" y="311151"/>
            <a:ext cx="2451640" cy="1308101"/>
          </a:xfrm>
          <a:prstGeom prst="rect">
            <a:avLst/>
          </a:prstGeom>
          <a:solidFill>
            <a:schemeClr val="bg1">
              <a:alpha val="30000"/>
            </a:schemeClr>
          </a:solidFill>
          <a:ln>
            <a:solidFill>
              <a:schemeClr val="bg2"/>
            </a:solidFill>
          </a:ln>
          <a:effectLst/>
        </p:spPr>
        <p:txBody>
          <a:bodyPr vert="horz" lIns="91430" tIns="45716" rIns="91430" bIns="45716"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427765" y="3028958"/>
            <a:ext cx="3383227" cy="3458935"/>
          </a:xfrm>
          <a:prstGeom prst="rect">
            <a:avLst/>
          </a:prstGeom>
          <a:solidFill>
            <a:schemeClr val="bg1">
              <a:alpha val="30000"/>
            </a:schemeClr>
          </a:solidFill>
          <a:ln>
            <a:solidFill>
              <a:schemeClr val="bg2"/>
            </a:solidFill>
          </a:ln>
          <a:effectLst/>
        </p:spPr>
        <p:txBody>
          <a:bodyPr vert="horz" lIns="91430" tIns="45716" rIns="91430" bIns="45716"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3877779" y="3028958"/>
            <a:ext cx="5371355" cy="3458935"/>
          </a:xfrm>
          <a:prstGeom prst="rect">
            <a:avLst/>
          </a:prstGeom>
          <a:solidFill>
            <a:schemeClr val="bg1">
              <a:alpha val="30000"/>
            </a:schemeClr>
          </a:solidFill>
          <a:ln>
            <a:solidFill>
              <a:schemeClr val="bg2"/>
            </a:solidFill>
          </a:ln>
          <a:effectLst/>
        </p:spPr>
        <p:txBody>
          <a:bodyPr vert="horz" lIns="91430" tIns="45716" rIns="91430" bIns="45716"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9306444" y="1676401"/>
            <a:ext cx="2451640" cy="3449411"/>
          </a:xfrm>
          <a:prstGeom prst="rect">
            <a:avLst/>
          </a:prstGeom>
          <a:solidFill>
            <a:schemeClr val="bg1">
              <a:alpha val="30000"/>
            </a:schemeClr>
          </a:solidFill>
          <a:ln>
            <a:solidFill>
              <a:schemeClr val="bg2"/>
            </a:solidFill>
          </a:ln>
          <a:effectLst/>
        </p:spPr>
        <p:txBody>
          <a:bodyPr vert="horz" lIns="91430" tIns="45716" rIns="91430" bIns="45716"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9306444" y="5182964"/>
            <a:ext cx="2451640" cy="1304925"/>
          </a:xfrm>
          <a:prstGeom prst="rect">
            <a:avLst/>
          </a:prstGeom>
          <a:solidFill>
            <a:schemeClr val="bg1">
              <a:alpha val="30000"/>
            </a:schemeClr>
          </a:solidFill>
          <a:ln>
            <a:solidFill>
              <a:schemeClr val="bg2"/>
            </a:solidFill>
          </a:ln>
          <a:effectLst/>
        </p:spPr>
        <p:txBody>
          <a:bodyPr vert="horz" lIns="91430" tIns="45716" rIns="91430" bIns="45716"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1055510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772022"/>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p:cNvSpPr/>
          <p:nvPr/>
        </p:nvSpPr>
        <p:spPr>
          <a:xfrm>
            <a:off x="8113489" y="2163193"/>
            <a:ext cx="3091419" cy="3091419"/>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rtlCol="0" anchor="ctr"/>
          <a:lstStyle/>
          <a:p>
            <a:pPr algn="ctr"/>
            <a:endParaRPr lang="en-US" sz="2400" dirty="0">
              <a:latin typeface="Arial"/>
              <a:cs typeface="Arial"/>
            </a:endParaRPr>
          </a:p>
        </p:txBody>
      </p:sp>
      <p:sp>
        <p:nvSpPr>
          <p:cNvPr id="4" name="Oval 3"/>
          <p:cNvSpPr/>
          <p:nvPr/>
        </p:nvSpPr>
        <p:spPr>
          <a:xfrm>
            <a:off x="4564309" y="2163193"/>
            <a:ext cx="3091419" cy="3091419"/>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rtlCol="0" anchor="ctr"/>
          <a:lstStyle/>
          <a:p>
            <a:pPr algn="ctr"/>
            <a:endParaRPr lang="en-US" sz="2400" dirty="0">
              <a:latin typeface="Arial"/>
              <a:cs typeface="Arial"/>
            </a:endParaRPr>
          </a:p>
        </p:txBody>
      </p:sp>
      <p:sp>
        <p:nvSpPr>
          <p:cNvPr id="7" name="Oval 6"/>
          <p:cNvSpPr/>
          <p:nvPr/>
        </p:nvSpPr>
        <p:spPr>
          <a:xfrm>
            <a:off x="1019029" y="2163193"/>
            <a:ext cx="3091419" cy="3091419"/>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rtlCol="0" anchor="ctr"/>
          <a:lstStyle/>
          <a:p>
            <a:pPr algn="ctr"/>
            <a:endParaRPr lang="en-US" sz="2400" dirty="0">
              <a:latin typeface="Arial"/>
              <a:cs typeface="Arial"/>
            </a:endParaRPr>
          </a:p>
        </p:txBody>
      </p:sp>
      <p:sp>
        <p:nvSpPr>
          <p:cNvPr id="17" name="Text Placeholder 17"/>
          <p:cNvSpPr>
            <a:spLocks noGrp="1"/>
          </p:cNvSpPr>
          <p:nvPr>
            <p:ph type="body" sz="quarter" idx="11" hasCustomPrompt="1"/>
          </p:nvPr>
        </p:nvSpPr>
        <p:spPr>
          <a:xfrm>
            <a:off x="1036648" y="3733529"/>
            <a:ext cx="3056181" cy="804881"/>
          </a:xfrm>
          <a:prstGeom prst="rect">
            <a:avLst/>
          </a:prstGeom>
        </p:spPr>
        <p:txBody>
          <a:bodyPr lIns="91412" tIns="45710" rIns="91412" bIns="45710"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4581928" y="3730933"/>
            <a:ext cx="3056181" cy="804881"/>
          </a:xfrm>
          <a:prstGeom prst="rect">
            <a:avLst/>
          </a:prstGeom>
        </p:spPr>
        <p:txBody>
          <a:bodyPr lIns="91412" tIns="45710" rIns="91412" bIns="45710"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8131108" y="3730933"/>
            <a:ext cx="3056181" cy="804881"/>
          </a:xfrm>
          <a:prstGeom prst="rect">
            <a:avLst/>
          </a:prstGeom>
        </p:spPr>
        <p:txBody>
          <a:bodyPr lIns="91412" tIns="45710" rIns="91412" bIns="45710"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2027767" y="2857372"/>
            <a:ext cx="1051984" cy="1051984"/>
          </a:xfrm>
          <a:prstGeom prst="rect">
            <a:avLst/>
          </a:prstGeom>
        </p:spPr>
        <p:txBody>
          <a:bodyPr vert="horz" lIns="91432" tIns="45718" rIns="91432" bIns="45718"/>
          <a:lstStyle>
            <a:lvl1pPr marL="0" indent="0" algn="ctr">
              <a:buNone/>
              <a:defRPr sz="16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5603827" y="2870412"/>
            <a:ext cx="1051984" cy="1051984"/>
          </a:xfrm>
          <a:prstGeom prst="rect">
            <a:avLst/>
          </a:prstGeom>
        </p:spPr>
        <p:txBody>
          <a:bodyPr vert="horz" lIns="91432" tIns="45718" rIns="91432" bIns="45718"/>
          <a:lstStyle>
            <a:lvl1pPr marL="0" indent="0" algn="ctr">
              <a:buNone/>
              <a:defRPr sz="16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9122480" y="2857372"/>
            <a:ext cx="1051984" cy="1051984"/>
          </a:xfrm>
          <a:prstGeom prst="rect">
            <a:avLst/>
          </a:prstGeom>
        </p:spPr>
        <p:txBody>
          <a:bodyPr vert="horz" lIns="91432" tIns="45718" rIns="91432" bIns="45718"/>
          <a:lstStyle>
            <a:lvl1pPr marL="0" indent="0" algn="ctr">
              <a:buNone/>
              <a:defRPr sz="1600">
                <a:solidFill>
                  <a:schemeClr val="bg1"/>
                </a:solidFill>
              </a:defRPr>
            </a:lvl1pPr>
          </a:lstStyle>
          <a:p>
            <a:r>
              <a:rPr lang="en-US" dirty="0"/>
              <a:t>Icon</a:t>
            </a:r>
          </a:p>
        </p:txBody>
      </p:sp>
    </p:spTree>
    <p:extLst>
      <p:ext uri="{BB962C8B-B14F-4D97-AF65-F5344CB8AC3E}">
        <p14:creationId xmlns:p14="http://schemas.microsoft.com/office/powerpoint/2010/main" val="2154731627"/>
      </p:ext>
    </p:extLst>
  </p:cSld>
  <p:clrMapOvr>
    <a:masterClrMapping/>
  </p:clrMapOvr>
  <p:transition spd="slow">
    <p:wip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ide screen video">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704851" y="777240"/>
            <a:ext cx="10886575"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91430" tIns="45716" rIns="91430" bIns="45716" rtlCol="0" anchor="ctr">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19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18588872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tandard video">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905785" y="778669"/>
            <a:ext cx="5899416"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91430" tIns="45716" rIns="91430" bIns="45716" rtlCol="0" anchor="ctr">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1900"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5113042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0"/>
            <a:ext cx="12192000" cy="6866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56118" y="2190751"/>
            <a:ext cx="11679767"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7898380"/>
      </p:ext>
    </p:extLst>
  </p:cSld>
  <p:clrMapOvr>
    <a:masterClrMapping/>
  </p:clrMapOvr>
  <p:transition spd="slow">
    <p:wip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3_Title Slide-animated gradient">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567267" y="431800"/>
            <a:ext cx="1255184" cy="7810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Subtitle 2"/>
          <p:cNvSpPr>
            <a:spLocks noGrp="1"/>
          </p:cNvSpPr>
          <p:nvPr>
            <p:ph type="subTitle" idx="1"/>
          </p:nvPr>
        </p:nvSpPr>
        <p:spPr>
          <a:xfrm>
            <a:off x="625995" y="5057598"/>
            <a:ext cx="11061895" cy="384175"/>
          </a:xfrm>
          <a:prstGeom prst="rect">
            <a:avLst/>
          </a:prstGeom>
        </p:spPr>
        <p:txBody>
          <a:bodyPr lIns="91420" tIns="45710" rIns="91420" bIns="45710" anchor="b" anchorCtr="0">
            <a:noAutofit/>
          </a:bodyPr>
          <a:lstStyle>
            <a:lvl1pPr marL="0" indent="0" algn="l">
              <a:buNone/>
              <a:defRPr sz="1867" b="0" i="0">
                <a:solidFill>
                  <a:srgbClr val="FFFFFE"/>
                </a:solidFill>
                <a:latin typeface="+mn-lt"/>
                <a:cs typeface="CiscoSans"/>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US"/>
              <a:t>Click to edit Master subtitle style</a:t>
            </a:r>
            <a:endParaRPr lang="en-US" dirty="0"/>
          </a:p>
        </p:txBody>
      </p:sp>
      <p:sp>
        <p:nvSpPr>
          <p:cNvPr id="17" name="Text Placeholder 38"/>
          <p:cNvSpPr>
            <a:spLocks noGrp="1"/>
          </p:cNvSpPr>
          <p:nvPr>
            <p:ph type="body" sz="quarter" idx="11"/>
          </p:nvPr>
        </p:nvSpPr>
        <p:spPr>
          <a:xfrm>
            <a:off x="625995" y="5377594"/>
            <a:ext cx="11061895" cy="384175"/>
          </a:xfrm>
          <a:prstGeom prst="rect">
            <a:avLst/>
          </a:prstGeom>
        </p:spPr>
        <p:txBody>
          <a:bodyPr lIns="91420" tIns="45710" rIns="91420" bIns="45710"/>
          <a:lstStyle>
            <a:lvl1pPr marL="0" indent="0" algn="l">
              <a:buFontTx/>
              <a:buNone/>
              <a:defRPr lang="en-US" sz="1867"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a:t>Click to edit Master text styles</a:t>
            </a:r>
          </a:p>
        </p:txBody>
      </p:sp>
      <p:sp>
        <p:nvSpPr>
          <p:cNvPr id="18" name="Text Placeholder 40"/>
          <p:cNvSpPr>
            <a:spLocks noGrp="1"/>
          </p:cNvSpPr>
          <p:nvPr>
            <p:ph type="body" sz="quarter" idx="12"/>
          </p:nvPr>
        </p:nvSpPr>
        <p:spPr>
          <a:xfrm>
            <a:off x="625995" y="5697590"/>
            <a:ext cx="11061895" cy="384175"/>
          </a:xfrm>
          <a:prstGeom prst="rect">
            <a:avLst/>
          </a:prstGeom>
        </p:spPr>
        <p:txBody>
          <a:bodyPr lIns="91420" tIns="45710" rIns="91420" bIns="45710"/>
          <a:lstStyle>
            <a:lvl1pPr marL="0" indent="0" algn="l">
              <a:buFontTx/>
              <a:buNone/>
              <a:defRPr lang="en-US" sz="1867"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a:t>Click to edit Master text styles</a:t>
            </a:r>
          </a:p>
        </p:txBody>
      </p:sp>
      <p:sp>
        <p:nvSpPr>
          <p:cNvPr id="19" name="Text Placeholder 2"/>
          <p:cNvSpPr>
            <a:spLocks noGrp="1"/>
          </p:cNvSpPr>
          <p:nvPr>
            <p:ph type="body" sz="quarter" idx="13"/>
          </p:nvPr>
        </p:nvSpPr>
        <p:spPr>
          <a:xfrm>
            <a:off x="617723" y="4281951"/>
            <a:ext cx="11070167" cy="398668"/>
          </a:xfrm>
          <a:prstGeom prst="rect">
            <a:avLst/>
          </a:prstGeom>
        </p:spPr>
        <p:txBody>
          <a:bodyPr lIns="91420" tIns="45710" rIns="91420" bIns="45710"/>
          <a:lstStyle>
            <a:lvl1pPr marL="0" indent="0">
              <a:buFont typeface="Arial" panose="020B0604020202020204" pitchFamily="34" charset="0"/>
              <a:buNone/>
              <a:defRPr sz="2933" baseline="0">
                <a:solidFill>
                  <a:srgbClr val="FFFFFE"/>
                </a:solidFill>
                <a:latin typeface="+mj-lt"/>
              </a:defRPr>
            </a:lvl1pPr>
            <a:lvl2pPr marL="406365" indent="0">
              <a:buNone/>
              <a:defRPr/>
            </a:lvl2pPr>
            <a:lvl3pPr marL="569854" indent="0">
              <a:buNone/>
              <a:defRPr/>
            </a:lvl3pPr>
            <a:lvl4pPr marL="688908" indent="0">
              <a:buNone/>
              <a:defRPr/>
            </a:lvl4pPr>
            <a:lvl5pPr marL="801608" indent="0">
              <a:buNone/>
              <a:defRPr/>
            </a:lvl5pPr>
          </a:lstStyle>
          <a:p>
            <a:pPr lvl="0"/>
            <a:r>
              <a:rPr lang="en-US"/>
              <a:t>Click to edit Master text styles</a:t>
            </a:r>
          </a:p>
        </p:txBody>
      </p:sp>
      <p:sp>
        <p:nvSpPr>
          <p:cNvPr id="20" name="Title 1"/>
          <p:cNvSpPr>
            <a:spLocks noGrp="1"/>
          </p:cNvSpPr>
          <p:nvPr>
            <p:ph type="ctrTitle"/>
          </p:nvPr>
        </p:nvSpPr>
        <p:spPr>
          <a:xfrm>
            <a:off x="567687" y="3519969"/>
            <a:ext cx="11120203" cy="859640"/>
          </a:xfrm>
          <a:prstGeom prst="rect">
            <a:avLst/>
          </a:prstGeom>
        </p:spPr>
        <p:txBody>
          <a:bodyPr anchor="b"/>
          <a:lstStyle>
            <a:lvl1pPr marL="0" indent="0" algn="l">
              <a:lnSpc>
                <a:spcPct val="90000"/>
              </a:lnSpc>
              <a:buFont typeface="Arial" panose="020B0604020202020204" pitchFamily="34" charset="0"/>
              <a:buNone/>
              <a:defRPr sz="6933" b="0" i="0" spc="0" baseline="0">
                <a:solidFill>
                  <a:srgbClr val="FFFFFE"/>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2024932721"/>
      </p:ext>
    </p:extLst>
  </p:cSld>
  <p:clrMapOvr>
    <a:masterClrMapping/>
  </p:clrMapOvr>
  <p:transition spd="slow">
    <p:wip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66554" y="4279401"/>
            <a:ext cx="6246489" cy="384175"/>
          </a:xfrm>
          <a:prstGeom prst="rect">
            <a:avLst/>
          </a:prstGeom>
        </p:spPr>
        <p:txBody>
          <a:bodyPr vert="horz" lIns="68574" tIns="34288" rIns="68574" bIns="34288" rtlCol="0">
            <a:noAutofit/>
          </a:bodyPr>
          <a:lstStyle>
            <a:lvl1pPr marL="0" indent="0" algn="l" defTabSz="914308" rtl="0" eaLnBrk="1" latinLnBrk="0" hangingPunct="1">
              <a:lnSpc>
                <a:spcPct val="95000"/>
              </a:lnSpc>
              <a:spcBef>
                <a:spcPts val="1440"/>
              </a:spcBef>
              <a:buClr>
                <a:srgbClr val="92D050"/>
              </a:buClr>
              <a:buSzPct val="90000"/>
              <a:buFont typeface="Arial" pitchFamily="34" charset="0"/>
              <a:buNone/>
              <a:tabLst/>
              <a:defRPr lang="en-US" sz="2400" kern="1200" baseline="0" dirty="0">
                <a:solidFill>
                  <a:schemeClr val="tx1"/>
                </a:solidFill>
                <a:latin typeface="+mj-lt"/>
                <a:ea typeface="+mn-ea"/>
                <a:cs typeface="+mn-cs"/>
              </a:defRPr>
            </a:lvl1pPr>
            <a:lvl2pPr marL="457150" indent="0" algn="ctr">
              <a:buNone/>
              <a:defRPr>
                <a:solidFill>
                  <a:schemeClr val="tx1">
                    <a:tint val="75000"/>
                  </a:schemeClr>
                </a:solidFill>
              </a:defRPr>
            </a:lvl2pPr>
            <a:lvl3pPr marL="914308" indent="0" algn="ctr">
              <a:buNone/>
              <a:defRPr>
                <a:solidFill>
                  <a:schemeClr val="tx1">
                    <a:tint val="75000"/>
                  </a:schemeClr>
                </a:solidFill>
              </a:defRPr>
            </a:lvl3pPr>
            <a:lvl4pPr marL="1371462" indent="0" algn="ctr">
              <a:buNone/>
              <a:defRPr>
                <a:solidFill>
                  <a:schemeClr val="tx1">
                    <a:tint val="75000"/>
                  </a:schemeClr>
                </a:solidFill>
              </a:defRPr>
            </a:lvl4pPr>
            <a:lvl5pPr marL="1828618" indent="0" algn="ctr">
              <a:buNone/>
              <a:defRPr>
                <a:solidFill>
                  <a:schemeClr val="tx1">
                    <a:tint val="75000"/>
                  </a:schemeClr>
                </a:solidFill>
              </a:defRPr>
            </a:lvl5pPr>
            <a:lvl6pPr marL="2285768"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7" indent="0" algn="ctr">
              <a:buNone/>
              <a:defRPr>
                <a:solidFill>
                  <a:schemeClr val="tx1">
                    <a:tint val="75000"/>
                  </a:schemeClr>
                </a:solidFill>
              </a:defRPr>
            </a:lvl9pPr>
          </a:lstStyle>
          <a:p>
            <a:pPr lvl="0"/>
            <a:r>
              <a:rPr lang="en-US"/>
              <a:t>Click to edit Master subtitle style</a:t>
            </a:r>
            <a:endParaRPr lang="en-US" dirty="0"/>
          </a:p>
        </p:txBody>
      </p:sp>
      <p:sp>
        <p:nvSpPr>
          <p:cNvPr id="2" name="Title 1"/>
          <p:cNvSpPr>
            <a:spLocks noGrp="1"/>
          </p:cNvSpPr>
          <p:nvPr>
            <p:ph type="ctrTitle"/>
          </p:nvPr>
        </p:nvSpPr>
        <p:spPr>
          <a:xfrm>
            <a:off x="612701" y="3282703"/>
            <a:ext cx="6283409" cy="1022351"/>
          </a:xfrm>
        </p:spPr>
        <p:txBody>
          <a:bodyPr lIns="61715" tIns="34288" rIns="61715" bIns="34288" rtlCol="0" anchor="b">
            <a:noAutofit/>
          </a:bodyPr>
          <a:lstStyle>
            <a:lvl1pPr marL="0" indent="0" algn="l" defTabSz="914308" rtl="0" eaLnBrk="1" latinLnBrk="0" hangingPunct="1">
              <a:lnSpc>
                <a:spcPct val="80000"/>
              </a:lnSpc>
              <a:spcBef>
                <a:spcPct val="0"/>
              </a:spcBef>
              <a:buClr>
                <a:schemeClr val="tx1"/>
              </a:buClr>
              <a:buFont typeface="Ciscolight" pitchFamily="2" charset="0"/>
              <a:buNone/>
              <a:defRPr lang="en-US" sz="6933"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31" name="Picture Placeholder 30"/>
          <p:cNvSpPr>
            <a:spLocks noGrp="1"/>
          </p:cNvSpPr>
          <p:nvPr>
            <p:ph type="pic" sz="quarter" idx="10"/>
          </p:nvPr>
        </p:nvSpPr>
        <p:spPr>
          <a:xfrm>
            <a:off x="7387175" y="1917701"/>
            <a:ext cx="3568700" cy="2889251"/>
          </a:xfrm>
          <a:prstGeom prst="rect">
            <a:avLst/>
          </a:prstGeom>
        </p:spPr>
        <p:txBody>
          <a:bodyPr lIns="91420" tIns="45710" rIns="91420" bIns="45710" anchor="ctr" anchorCtr="1"/>
          <a:lstStyle>
            <a:lvl1pPr marL="0" indent="0" algn="ctr">
              <a:buNone/>
              <a:defRPr>
                <a:solidFill>
                  <a:schemeClr val="tx1"/>
                </a:solidFill>
                <a:latin typeface="+mj-lt"/>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556333892"/>
      </p:ext>
    </p:extLst>
  </p:cSld>
  <p:clrMapOvr>
    <a:masterClrMapping/>
  </p:clrMapOvr>
  <p:transition spd="slow">
    <p:wip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_Segue">
    <p:spTree>
      <p:nvGrpSpPr>
        <p:cNvPr id="1" name=""/>
        <p:cNvGrpSpPr/>
        <p:nvPr/>
      </p:nvGrpSpPr>
      <p:grpSpPr>
        <a:xfrm>
          <a:off x="0" y="0"/>
          <a:ext cx="0" cy="0"/>
          <a:chOff x="0" y="0"/>
          <a:chExt cx="0" cy="0"/>
        </a:xfrm>
      </p:grpSpPr>
      <p:sp>
        <p:nvSpPr>
          <p:cNvPr id="3" name="Rectangle 7"/>
          <p:cNvSpPr>
            <a:spLocks noChangeArrowheads="1"/>
          </p:cNvSpPr>
          <p:nvPr/>
        </p:nvSpPr>
        <p:spPr bwMode="ltGray">
          <a:xfrm>
            <a:off x="11354627" y="6323876"/>
            <a:ext cx="290868" cy="206025"/>
          </a:xfrm>
          <a:prstGeom prst="rect">
            <a:avLst/>
          </a:prstGeom>
          <a:noFill/>
          <a:ln w="9525" algn="ctr">
            <a:noFill/>
            <a:miter lim="800000"/>
            <a:headEnd/>
            <a:tailEnd/>
          </a:ln>
          <a:effectLst/>
        </p:spPr>
        <p:txBody>
          <a:bodyPr wrap="none" lIns="82115" tIns="41056" rIns="82115" bIns="41056" anchor="b">
            <a:spAutoFit/>
          </a:bodyPr>
          <a:lstStyle/>
          <a:p>
            <a:pPr algn="r" defTabSz="814305">
              <a:defRPr/>
            </a:pPr>
            <a:fld id="{509F5890-BE05-4D5D-AADF-DD6FDB4C472B}" type="slidenum">
              <a:rPr lang="en-US" sz="800">
                <a:solidFill>
                  <a:srgbClr val="FFFFFF">
                    <a:alpha val="60000"/>
                  </a:srgbClr>
                </a:solidFill>
                <a:cs typeface="CiscoSans Thin"/>
              </a:rPr>
              <a:pPr algn="r" defTabSz="814305">
                <a:defRPr/>
              </a:pPr>
              <a:t>‹#›</a:t>
            </a:fld>
            <a:endParaRPr lang="en-US" sz="800" dirty="0">
              <a:solidFill>
                <a:srgbClr val="FFFFFF">
                  <a:alpha val="60000"/>
                </a:srgbClr>
              </a:solidFill>
              <a:cs typeface="CiscoSans Thin"/>
            </a:endParaRPr>
          </a:p>
        </p:txBody>
      </p:sp>
      <p:sp>
        <p:nvSpPr>
          <p:cNvPr id="4" name="Rectangle 4"/>
          <p:cNvSpPr>
            <a:spLocks noChangeArrowheads="1"/>
          </p:cNvSpPr>
          <p:nvPr/>
        </p:nvSpPr>
        <p:spPr bwMode="ltGray">
          <a:xfrm>
            <a:off x="7823344" y="6322205"/>
            <a:ext cx="3544024" cy="206025"/>
          </a:xfrm>
          <a:prstGeom prst="rect">
            <a:avLst/>
          </a:prstGeom>
          <a:noFill/>
          <a:ln w="9525">
            <a:noFill/>
            <a:miter lim="800000"/>
            <a:headEnd/>
            <a:tailEnd/>
          </a:ln>
          <a:effectLst/>
        </p:spPr>
        <p:txBody>
          <a:bodyPr lIns="82115" tIns="41056" rIns="82115" bIns="41056" anchor="b">
            <a:spAutoFit/>
          </a:bodyPr>
          <a:lstStyle/>
          <a:p>
            <a:pPr defTabSz="814305">
              <a:defRPr/>
            </a:pPr>
            <a:r>
              <a:rPr lang="en-US" sz="800" dirty="0">
                <a:solidFill>
                  <a:srgbClr val="FFFFFF">
                    <a:alpha val="60000"/>
                  </a:srgbClr>
                </a:solidFill>
                <a:cs typeface="CiscoSans Thin"/>
              </a:rPr>
              <a:t>© 2016  Cisco and/or its affiliates. All rights reserved.   Cisco Confidential</a:t>
            </a:r>
          </a:p>
        </p:txBody>
      </p:sp>
      <p:sp>
        <p:nvSpPr>
          <p:cNvPr id="6" name="Title 1"/>
          <p:cNvSpPr>
            <a:spLocks noGrp="1"/>
          </p:cNvSpPr>
          <p:nvPr>
            <p:ph type="ctrTitle"/>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cs typeface="CiscoSans Thin"/>
              </a:defRPr>
            </a:lvl1pPr>
          </a:lstStyle>
          <a:p>
            <a:r>
              <a:rPr lang="en-US"/>
              <a:t>Click to edit Master title style</a:t>
            </a:r>
            <a:endParaRPr lang="en-US" dirty="0"/>
          </a:p>
        </p:txBody>
      </p:sp>
      <p:pic>
        <p:nvPicPr>
          <p:cNvPr id="10" name="Picture 2"/>
          <p:cNvPicPr>
            <a:picLocks noChangeAspect="1" noChangeArrowheads="1"/>
          </p:cNvPicPr>
          <p:nvPr userDrawn="1"/>
        </p:nvPicPr>
        <p:blipFill>
          <a:blip r:embed="rId2">
            <a:alphaModFix amt="60000"/>
            <a:biLevel thresh="25000"/>
            <a:extLst>
              <a:ext uri="{28A0092B-C50C-407E-A947-70E740481C1C}">
                <a14:useLocalDpi xmlns:a14="http://schemas.microsoft.com/office/drawing/2010/main"/>
              </a:ext>
            </a:extLst>
          </a:blip>
          <a:stretch>
            <a:fillRect/>
          </a:stretch>
        </p:blipFill>
        <p:spPr bwMode="auto">
          <a:xfrm>
            <a:off x="636905" y="6167967"/>
            <a:ext cx="565573" cy="35348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337365045"/>
      </p:ext>
    </p:extLst>
  </p:cSld>
  <p:clrMapOvr>
    <a:masterClrMapping/>
  </p:clrMapOvr>
  <p:transition spd="slow">
    <p:wip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5_Segu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userDrawn="1"/>
        </p:nvSpPr>
        <p:spPr bwMode="ltGray">
          <a:xfrm>
            <a:off x="11354627" y="6323876"/>
            <a:ext cx="290868" cy="206025"/>
          </a:xfrm>
          <a:prstGeom prst="rect">
            <a:avLst/>
          </a:prstGeom>
          <a:noFill/>
          <a:ln w="9525" algn="ctr">
            <a:noFill/>
            <a:miter lim="800000"/>
            <a:headEnd/>
            <a:tailEnd/>
          </a:ln>
          <a:effectLst/>
        </p:spPr>
        <p:txBody>
          <a:bodyPr wrap="none" lIns="82115" tIns="41056" rIns="82115" bIns="41056" anchor="b">
            <a:spAutoFit/>
          </a:bodyPr>
          <a:lstStyle/>
          <a:p>
            <a:pPr algn="r" defTabSz="814305">
              <a:defRPr/>
            </a:pPr>
            <a:fld id="{4ABDCABE-3F10-B64C-92F1-862014417034}" type="slidenum">
              <a:rPr lang="en-US" sz="800">
                <a:solidFill>
                  <a:srgbClr val="FFFFFF">
                    <a:alpha val="60000"/>
                  </a:srgbClr>
                </a:solidFill>
                <a:cs typeface="CiscoSans Thin"/>
              </a:rPr>
              <a:pPr algn="r" defTabSz="814305">
                <a:defRPr/>
              </a:pPr>
              <a:t>‹#›</a:t>
            </a:fld>
            <a:endParaRPr lang="en-US" sz="800" dirty="0">
              <a:solidFill>
                <a:srgbClr val="FFFFFF">
                  <a:alpha val="60000"/>
                </a:srgbClr>
              </a:solidFill>
              <a:cs typeface="CiscoSans Thin"/>
            </a:endParaRPr>
          </a:p>
        </p:txBody>
      </p:sp>
      <p:sp>
        <p:nvSpPr>
          <p:cNvPr id="8" name="Rectangle 4"/>
          <p:cNvSpPr>
            <a:spLocks noChangeArrowheads="1"/>
          </p:cNvSpPr>
          <p:nvPr userDrawn="1"/>
        </p:nvSpPr>
        <p:spPr bwMode="ltGray">
          <a:xfrm>
            <a:off x="7823344" y="6322205"/>
            <a:ext cx="3544024" cy="206025"/>
          </a:xfrm>
          <a:prstGeom prst="rect">
            <a:avLst/>
          </a:prstGeom>
          <a:noFill/>
          <a:ln w="9525">
            <a:noFill/>
            <a:miter lim="800000"/>
            <a:headEnd/>
            <a:tailEnd/>
          </a:ln>
          <a:effectLst/>
        </p:spPr>
        <p:txBody>
          <a:bodyPr lIns="82115" tIns="41056" rIns="82115" bIns="41056" anchor="b">
            <a:spAutoFit/>
          </a:bodyPr>
          <a:lstStyle/>
          <a:p>
            <a:pPr defTabSz="814305">
              <a:defRPr/>
            </a:pPr>
            <a:r>
              <a:rPr lang="en-US" sz="800" dirty="0">
                <a:solidFill>
                  <a:srgbClr val="FFFFFF">
                    <a:alpha val="60000"/>
                  </a:srgbClr>
                </a:solidFill>
                <a:cs typeface="CiscoSans Thin"/>
              </a:rPr>
              <a:t>© 2016  Cisco and/or its affiliates. All rights reserved.   Cisco Confidential</a:t>
            </a:r>
          </a:p>
        </p:txBody>
      </p:sp>
      <p:pic>
        <p:nvPicPr>
          <p:cNvPr id="9" name="Picture 2"/>
          <p:cNvPicPr>
            <a:picLocks noChangeAspect="1" noChangeArrowheads="1"/>
          </p:cNvPicPr>
          <p:nvPr userDrawn="1"/>
        </p:nvPicPr>
        <p:blipFill>
          <a:blip r:embed="rId2">
            <a:alphaModFix amt="60000"/>
            <a:biLevel thresh="25000"/>
            <a:extLst>
              <a:ext uri="{28A0092B-C50C-407E-A947-70E740481C1C}">
                <a14:useLocalDpi xmlns:a14="http://schemas.microsoft.com/office/drawing/2010/main"/>
              </a:ext>
            </a:extLst>
          </a:blip>
          <a:stretch>
            <a:fillRect/>
          </a:stretch>
        </p:blipFill>
        <p:spPr bwMode="auto">
          <a:xfrm>
            <a:off x="636905" y="6167967"/>
            <a:ext cx="565573" cy="35348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060050972"/>
      </p:ext>
    </p:extLst>
  </p:cSld>
  <p:clrMapOvr>
    <a:masterClrMapping/>
  </p:clrMapOvr>
  <p:transition spd="slow">
    <p:wip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7" name="Title 1"/>
          <p:cNvSpPr>
            <a:spLocks noGrp="1"/>
          </p:cNvSpPr>
          <p:nvPr>
            <p:ph type="ctrTitle"/>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33" b="0" i="0"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685175472"/>
      </p:ext>
    </p:extLst>
  </p:cSld>
  <p:clrMapOvr>
    <a:masterClrMapping/>
  </p:clrMapOvr>
  <p:transition spd="slow">
    <p:wip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2"/>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64991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3688" y="1797051"/>
            <a:ext cx="11127317" cy="4224280"/>
          </a:xfrm>
          <a:prstGeom prst="rect">
            <a:avLst/>
          </a:prstGeom>
        </p:spPr>
        <p:txBody>
          <a:bodyPr lIns="91420" tIns="45710" rIns="91420" bIns="45710">
            <a:noAutofit/>
          </a:bodyPr>
          <a:lstStyle>
            <a:lvl1pPr marL="374561" indent="-298382">
              <a:lnSpc>
                <a:spcPct val="95000"/>
              </a:lnSpc>
              <a:spcBef>
                <a:spcPts val="1480"/>
              </a:spcBef>
              <a:buClr>
                <a:schemeClr val="tx2"/>
              </a:buClr>
              <a:buSzPct val="80000"/>
              <a:buFont typeface="Arial"/>
              <a:buChar char="•"/>
              <a:defRPr sz="4933" b="0" i="0">
                <a:solidFill>
                  <a:schemeClr val="tx2"/>
                </a:solidFill>
                <a:latin typeface="+mn-lt"/>
                <a:cs typeface="CiscoSans ExtraLight"/>
              </a:defRPr>
            </a:lvl1pPr>
            <a:lvl2pPr marL="677176" indent="-287799">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719" indent="-228548">
              <a:buClr>
                <a:schemeClr val="tx1"/>
              </a:buClr>
              <a:buSzPct val="80000"/>
              <a:buFont typeface="Arial"/>
              <a:buChar char="•"/>
              <a:defRPr sz="2133" b="0" i="0">
                <a:solidFill>
                  <a:srgbClr val="676767"/>
                </a:solidFill>
                <a:latin typeface="+mn-lt"/>
                <a:cs typeface="CiscoSans ExtraLight"/>
              </a:defRPr>
            </a:lvl3pPr>
            <a:lvl4pPr marL="1214683" indent="-228548">
              <a:buClr>
                <a:schemeClr val="tx1"/>
              </a:buClr>
              <a:buSzPct val="80000"/>
              <a:buFont typeface="Arial"/>
              <a:buChar char="•"/>
              <a:defRPr sz="1867"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338981036"/>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43" name="Oval 42"/>
          <p:cNvSpPr/>
          <p:nvPr/>
        </p:nvSpPr>
        <p:spPr>
          <a:xfrm>
            <a:off x="1033101" y="2163193"/>
            <a:ext cx="3075001" cy="3074624"/>
          </a:xfrm>
          <a:prstGeom prst="ellipse">
            <a:avLst/>
          </a:prstGeom>
          <a:solidFill>
            <a:sysClr val="windowText" lastClr="000000">
              <a:alpha val="30000"/>
            </a:sysClr>
          </a:solidFill>
          <a:ln w="25400" cap="flat" cmpd="sng" algn="ctr">
            <a:noFill/>
            <a:prstDash val="solid"/>
          </a:ln>
          <a:effectLst/>
        </p:spPr>
        <p:txBody>
          <a:bodyPr lIns="91428" tIns="45718" rIns="91428" bIns="45718" anchor="ctr"/>
          <a:lstStyle/>
          <a:p>
            <a:pPr marL="0" marR="0" lvl="0" indent="0" algn="ctr" defTabSz="121905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a:ea typeface="+mn-ea"/>
              <a:cs typeface="+mn-cs"/>
            </a:endParaRPr>
          </a:p>
        </p:txBody>
      </p:sp>
      <p:sp>
        <p:nvSpPr>
          <p:cNvPr id="44" name="Oval 43"/>
          <p:cNvSpPr/>
          <p:nvPr/>
        </p:nvSpPr>
        <p:spPr>
          <a:xfrm>
            <a:off x="4563796" y="2163193"/>
            <a:ext cx="3075001" cy="3074624"/>
          </a:xfrm>
          <a:prstGeom prst="ellipse">
            <a:avLst/>
          </a:prstGeom>
          <a:solidFill>
            <a:sysClr val="windowText" lastClr="000000">
              <a:alpha val="30000"/>
            </a:sysClr>
          </a:solidFill>
          <a:ln w="25400" cap="flat" cmpd="sng" algn="ctr">
            <a:noFill/>
            <a:prstDash val="solid"/>
          </a:ln>
          <a:effectLst/>
        </p:spPr>
        <p:txBody>
          <a:bodyPr lIns="91428" tIns="45718" rIns="91428" bIns="45718" anchor="ctr"/>
          <a:lstStyle/>
          <a:p>
            <a:pPr marL="0" marR="0" lvl="0" indent="0" algn="ctr" defTabSz="121905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a:ea typeface="+mn-ea"/>
              <a:cs typeface="+mn-cs"/>
            </a:endParaRPr>
          </a:p>
        </p:txBody>
      </p:sp>
      <p:sp>
        <p:nvSpPr>
          <p:cNvPr id="45" name="Oval 44"/>
          <p:cNvSpPr/>
          <p:nvPr/>
        </p:nvSpPr>
        <p:spPr>
          <a:xfrm>
            <a:off x="8116485" y="2163193"/>
            <a:ext cx="3075001" cy="3074624"/>
          </a:xfrm>
          <a:prstGeom prst="ellipse">
            <a:avLst/>
          </a:prstGeom>
          <a:solidFill>
            <a:sysClr val="windowText" lastClr="000000">
              <a:alpha val="30000"/>
            </a:sysClr>
          </a:solidFill>
          <a:ln w="25400" cap="flat" cmpd="sng" algn="ctr">
            <a:noFill/>
            <a:prstDash val="solid"/>
          </a:ln>
          <a:effectLst/>
        </p:spPr>
        <p:txBody>
          <a:bodyPr lIns="91428" tIns="45718" rIns="91428" bIns="45718" anchor="ctr"/>
          <a:lstStyle/>
          <a:p>
            <a:pPr marL="0" marR="0" lvl="0" indent="0" algn="ctr" defTabSz="121905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a:ea typeface="+mn-ea"/>
              <a:cs typeface="+mn-cs"/>
            </a:endParaRPr>
          </a:p>
        </p:txBody>
      </p:sp>
      <p:sp>
        <p:nvSpPr>
          <p:cNvPr id="3"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
        <p:nvSpPr>
          <p:cNvPr id="35" name="Picture Placeholder 25"/>
          <p:cNvSpPr>
            <a:spLocks noGrp="1"/>
          </p:cNvSpPr>
          <p:nvPr>
            <p:ph type="pic" sz="quarter" idx="10" hasCustomPrompt="1"/>
          </p:nvPr>
        </p:nvSpPr>
        <p:spPr>
          <a:xfrm>
            <a:off x="1033287" y="2163193"/>
            <a:ext cx="3074624" cy="3074624"/>
          </a:xfrm>
          <a:prstGeom prst="ellipse">
            <a:avLst/>
          </a:prstGeom>
          <a:solidFill>
            <a:schemeClr val="bg1">
              <a:alpha val="30000"/>
            </a:schemeClr>
          </a:solidFill>
          <a:ln>
            <a:noFill/>
          </a:ln>
          <a:effectLst/>
        </p:spPr>
        <p:txBody>
          <a:bodyPr lIns="91416" tIns="45710" rIns="91416" bIns="45710" anchor="ctr" anchorCtr="0"/>
          <a:lstStyle>
            <a:lvl1pPr algn="l">
              <a:buFontTx/>
              <a:buNone/>
              <a:defRPr sz="1700"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4563981" y="2163193"/>
            <a:ext cx="3074624" cy="3074624"/>
          </a:xfrm>
          <a:prstGeom prst="ellipse">
            <a:avLst/>
          </a:prstGeom>
          <a:solidFill>
            <a:schemeClr val="bg1">
              <a:alpha val="30000"/>
            </a:schemeClr>
          </a:solidFill>
          <a:ln>
            <a:noFill/>
          </a:ln>
          <a:effectLst/>
        </p:spPr>
        <p:txBody>
          <a:bodyPr lIns="91416" tIns="45710" rIns="91416" bIns="45710" anchor="ctr" anchorCtr="0"/>
          <a:lstStyle>
            <a:lvl1pPr algn="l">
              <a:buFontTx/>
              <a:buNone/>
              <a:defRPr sz="17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8116671" y="2163193"/>
            <a:ext cx="3074624" cy="3074624"/>
          </a:xfrm>
          <a:prstGeom prst="ellipse">
            <a:avLst/>
          </a:prstGeom>
          <a:solidFill>
            <a:schemeClr val="bg1">
              <a:alpha val="30000"/>
            </a:schemeClr>
          </a:solidFill>
          <a:ln>
            <a:noFill/>
          </a:ln>
          <a:effectLst/>
        </p:spPr>
        <p:txBody>
          <a:bodyPr lIns="91416" tIns="45710" rIns="91416" bIns="45710" anchor="ctr" anchorCtr="0"/>
          <a:lstStyle>
            <a:lvl1pPr algn="l">
              <a:buFontTx/>
              <a:buNone/>
              <a:defRPr sz="17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1051732" y="5164190"/>
            <a:ext cx="3056181" cy="804881"/>
          </a:xfrm>
          <a:prstGeom prst="rect">
            <a:avLst/>
          </a:prstGeom>
        </p:spPr>
        <p:txBody>
          <a:bodyPr lIns="91412" tIns="45710" rIns="91412" bIns="45710"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4582424" y="5161594"/>
            <a:ext cx="3056181" cy="804881"/>
          </a:xfrm>
          <a:prstGeom prst="rect">
            <a:avLst/>
          </a:prstGeom>
        </p:spPr>
        <p:txBody>
          <a:bodyPr lIns="91412" tIns="45710" rIns="91412" bIns="45710"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8135116" y="5161594"/>
            <a:ext cx="3056181" cy="804881"/>
          </a:xfrm>
          <a:prstGeom prst="rect">
            <a:avLst/>
          </a:prstGeom>
        </p:spPr>
        <p:txBody>
          <a:bodyPr lIns="91412" tIns="45710" rIns="91412" bIns="45710"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Tree>
    <p:extLst>
      <p:ext uri="{BB962C8B-B14F-4D97-AF65-F5344CB8AC3E}">
        <p14:creationId xmlns:p14="http://schemas.microsoft.com/office/powerpoint/2010/main" val="2584353915"/>
      </p:ext>
    </p:extLst>
  </p:cSld>
  <p:clrMapOvr>
    <a:masterClrMapping/>
  </p:clrMapOvr>
  <p:transition spd="slow">
    <p:wip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3688" y="1797051"/>
            <a:ext cx="11127317" cy="4224280"/>
          </a:xfrm>
          <a:prstGeom prst="rect">
            <a:avLst/>
          </a:prstGeom>
        </p:spPr>
        <p:txBody>
          <a:bodyPr lIns="91420" tIns="45710" rIns="91420" bIns="45710">
            <a:noAutofit/>
          </a:bodyPr>
          <a:lstStyle>
            <a:lvl1pPr marL="76179" indent="0">
              <a:lnSpc>
                <a:spcPct val="95000"/>
              </a:lnSpc>
              <a:spcBef>
                <a:spcPts val="1480"/>
              </a:spcBef>
              <a:buClr>
                <a:schemeClr val="tx1"/>
              </a:buClr>
              <a:buSzPct val="80000"/>
              <a:buFont typeface="Arial"/>
              <a:buNone/>
              <a:defRPr sz="4933" b="0" i="0">
                <a:solidFill>
                  <a:schemeClr val="tx2"/>
                </a:solidFill>
                <a:latin typeface="+mn-lt"/>
                <a:cs typeface="CiscoSans ExtraLight"/>
              </a:defRPr>
            </a:lvl1pPr>
            <a:lvl2pPr marL="389377"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171" indent="0">
              <a:buClr>
                <a:schemeClr val="tx1"/>
              </a:buClr>
              <a:buSzPct val="80000"/>
              <a:buFont typeface="Arial"/>
              <a:buNone/>
              <a:defRPr sz="2133" b="0" i="0">
                <a:solidFill>
                  <a:srgbClr val="676767"/>
                </a:solidFill>
                <a:latin typeface="+mn-lt"/>
                <a:cs typeface="CiscoSans ExtraLight"/>
              </a:defRPr>
            </a:lvl3pPr>
            <a:lvl4pPr marL="986135" indent="0">
              <a:buClr>
                <a:schemeClr val="tx1"/>
              </a:buClr>
              <a:buSzPct val="80000"/>
              <a:buFont typeface="Arial"/>
              <a:buNone/>
              <a:defRPr sz="1867" b="0" i="0">
                <a:solidFill>
                  <a:srgbClr val="676767"/>
                </a:solidFill>
                <a:latin typeface="+mn-lt"/>
                <a:cs typeface="CiscoSans ExtraLight"/>
              </a:defRPr>
            </a:lvl4pPr>
            <a:lvl5pPr marL="1218916" indent="0">
              <a:buClr>
                <a:schemeClr val="tx1"/>
              </a:buClr>
              <a:buSzPct val="80000"/>
              <a:buFont typeface="Arial"/>
              <a:buNone/>
              <a:defRPr sz="16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806216823"/>
      </p:ext>
    </p:extLst>
  </p:cSld>
  <p:clrMapOvr>
    <a:masterClrMapping/>
  </p:clrMapOvr>
  <p:transition spd="med">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9547" y="1194135"/>
            <a:ext cx="11198319" cy="4224280"/>
          </a:xfrm>
          <a:prstGeom prst="rect">
            <a:avLst/>
          </a:prstGeom>
        </p:spPr>
        <p:txBody>
          <a:bodyPr lIns="91420" tIns="45710" rIns="91420" bIns="45710">
            <a:noAutofit/>
          </a:bodyPr>
          <a:lstStyle>
            <a:lvl1pPr marL="76179" indent="0">
              <a:lnSpc>
                <a:spcPct val="95000"/>
              </a:lnSpc>
              <a:spcBef>
                <a:spcPts val="1480"/>
              </a:spcBef>
              <a:buClr>
                <a:schemeClr val="tx1"/>
              </a:buClr>
              <a:buSzPct val="80000"/>
              <a:buFont typeface="Arial"/>
              <a:buNone/>
              <a:defRPr sz="4933" b="0" i="0">
                <a:solidFill>
                  <a:schemeClr val="tx2"/>
                </a:solidFill>
                <a:latin typeface="+mn-lt"/>
                <a:cs typeface="CiscoSans ExtraLight"/>
              </a:defRPr>
            </a:lvl1pPr>
            <a:lvl2pPr marL="389377"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171" indent="0">
              <a:buClr>
                <a:schemeClr val="tx1"/>
              </a:buClr>
              <a:buSzPct val="80000"/>
              <a:buFont typeface="Arial"/>
              <a:buNone/>
              <a:defRPr sz="2133" b="0" i="0">
                <a:solidFill>
                  <a:srgbClr val="676767"/>
                </a:solidFill>
                <a:latin typeface="+mn-lt"/>
                <a:cs typeface="CiscoSans ExtraLight"/>
              </a:defRPr>
            </a:lvl3pPr>
            <a:lvl4pPr marL="986135" indent="0">
              <a:buClr>
                <a:schemeClr val="tx1"/>
              </a:buClr>
              <a:buSzPct val="80000"/>
              <a:buFont typeface="Arial"/>
              <a:buNone/>
              <a:defRPr sz="1867" b="0" i="0">
                <a:solidFill>
                  <a:srgbClr val="676767"/>
                </a:solidFill>
                <a:latin typeface="+mn-lt"/>
                <a:cs typeface="CiscoSans ExtraLight"/>
              </a:defRPr>
            </a:lvl4pPr>
            <a:lvl5pPr marL="1218916" indent="0">
              <a:buClr>
                <a:schemeClr val="tx1"/>
              </a:buClr>
              <a:buSzPct val="80000"/>
              <a:buFont typeface="Arial"/>
              <a:buNone/>
              <a:defRPr sz="16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1727428972"/>
      </p:ext>
    </p:extLst>
  </p:cSld>
  <p:clrMapOvr>
    <a:masterClrMapping/>
  </p:clrMapOvr>
  <p:transition spd="med">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04852" y="1168479"/>
            <a:ext cx="11013016" cy="4224280"/>
          </a:xfrm>
          <a:prstGeom prst="rect">
            <a:avLst/>
          </a:prstGeom>
        </p:spPr>
        <p:txBody>
          <a:bodyPr lIns="91420" tIns="45710" rIns="91420" bIns="45710">
            <a:noAutofit/>
          </a:bodyPr>
          <a:lstStyle>
            <a:lvl1pPr marL="283193" indent="-523187">
              <a:lnSpc>
                <a:spcPts val="5920"/>
              </a:lnSpc>
              <a:spcBef>
                <a:spcPts val="0"/>
              </a:spcBef>
              <a:buClr>
                <a:schemeClr val="tx2"/>
              </a:buClr>
              <a:buSzPct val="80000"/>
              <a:buFont typeface="Arial"/>
              <a:buChar char="•"/>
              <a:defRPr sz="4933" b="0" i="0">
                <a:solidFill>
                  <a:schemeClr val="tx2"/>
                </a:solidFill>
                <a:latin typeface="+mn-lt"/>
                <a:cs typeface="CiscoSans ExtraLight"/>
              </a:defRPr>
            </a:lvl1pPr>
            <a:lvl2pPr marL="677176" indent="-287799">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719" indent="-228548">
              <a:buClr>
                <a:schemeClr val="tx1"/>
              </a:buClr>
              <a:buSzPct val="80000"/>
              <a:buFont typeface="Arial"/>
              <a:buChar char="•"/>
              <a:defRPr sz="2133" b="0" i="0">
                <a:solidFill>
                  <a:srgbClr val="676767"/>
                </a:solidFill>
                <a:latin typeface="+mn-lt"/>
                <a:cs typeface="CiscoSans ExtraLight"/>
              </a:defRPr>
            </a:lvl3pPr>
            <a:lvl4pPr marL="1214683" indent="-228548">
              <a:buClr>
                <a:schemeClr val="tx1"/>
              </a:buClr>
              <a:buSzPct val="80000"/>
              <a:buFont typeface="Arial"/>
              <a:buChar char="•"/>
              <a:defRPr sz="1867"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324921686"/>
      </p:ext>
    </p:extLst>
  </p:cSld>
  <p:clrMapOvr>
    <a:masterClrMapping/>
  </p:clrMapOvr>
  <p:transition spd="med">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16401" y="1797051"/>
            <a:ext cx="11036459" cy="4224280"/>
          </a:xfrm>
          <a:prstGeom prst="rect">
            <a:avLst/>
          </a:prstGeom>
        </p:spPr>
        <p:txBody>
          <a:bodyPr lIns="91420" tIns="45710" rIns="91420" bIns="45710">
            <a:noAutofit/>
          </a:bodyPr>
          <a:lstStyle>
            <a:lvl1pPr marL="374561" indent="-298382">
              <a:lnSpc>
                <a:spcPct val="95000"/>
              </a:lnSpc>
              <a:spcBef>
                <a:spcPts val="1480"/>
              </a:spcBef>
              <a:buClr>
                <a:schemeClr val="tx2"/>
              </a:buClr>
              <a:buSzPct val="80000"/>
              <a:buFont typeface="Arial"/>
              <a:buChar char="•"/>
              <a:defRPr sz="2667" b="0" i="0">
                <a:solidFill>
                  <a:schemeClr val="tx2"/>
                </a:solidFill>
                <a:latin typeface="+mn-lt"/>
                <a:cs typeface="CiscoSans ExtraLight"/>
              </a:defRPr>
            </a:lvl1pPr>
            <a:lvl2pPr marL="677176"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996719" indent="-228548">
              <a:buClr>
                <a:schemeClr val="tx2"/>
              </a:buClr>
              <a:buSzPct val="80000"/>
              <a:buFont typeface="Arial"/>
              <a:buChar char="•"/>
              <a:defRPr sz="2133" b="0" i="0">
                <a:solidFill>
                  <a:schemeClr val="tx2"/>
                </a:solidFill>
                <a:latin typeface="+mn-lt"/>
                <a:cs typeface="CiscoSans ExtraLight"/>
              </a:defRPr>
            </a:lvl3pPr>
            <a:lvl4pPr marL="1214683" indent="-228548">
              <a:buClr>
                <a:schemeClr val="tx2"/>
              </a:buClr>
              <a:buSzPct val="80000"/>
              <a:buFont typeface="Arial"/>
              <a:buChar char="•"/>
              <a:defRPr sz="1867" b="0" i="0">
                <a:solidFill>
                  <a:schemeClr val="tx2"/>
                </a:solidFill>
                <a:latin typeface="+mn-lt"/>
                <a:cs typeface="CiscoSans ExtraLight"/>
              </a:defRPr>
            </a:lvl4pPr>
            <a:lvl5pPr marL="1443231" indent="-224314">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924549901"/>
      </p:ext>
    </p:extLst>
  </p:cSld>
  <p:clrMapOvr>
    <a:masterClrMapping/>
  </p:clrMapOvr>
  <p:transition spd="med">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83689" y="1797051"/>
            <a:ext cx="5201497" cy="4110792"/>
          </a:xfrm>
          <a:prstGeom prst="rect">
            <a:avLst/>
          </a:prstGeom>
        </p:spPr>
        <p:txBody>
          <a:bodyPr lIns="91420" tIns="45710" rIns="91420" bIns="45710">
            <a:noAutofit/>
          </a:bodyPr>
          <a:lstStyle>
            <a:lvl1pPr marL="304732" indent="-228548">
              <a:lnSpc>
                <a:spcPct val="95000"/>
              </a:lnSpc>
              <a:spcBef>
                <a:spcPts val="1480"/>
              </a:spcBef>
              <a:buClr>
                <a:schemeClr val="tx2"/>
              </a:buClr>
              <a:buSzPct val="80000"/>
              <a:buFont typeface="Arial"/>
              <a:buChar char="•"/>
              <a:defRPr sz="2667" b="0" i="0">
                <a:solidFill>
                  <a:schemeClr val="tx2"/>
                </a:solidFill>
                <a:latin typeface="+mn-lt"/>
                <a:cs typeface="CiscoSans ExtraLight"/>
              </a:defRPr>
            </a:lvl1pPr>
            <a:lvl2pPr marL="609458"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838006" indent="-228548">
              <a:buClr>
                <a:schemeClr val="tx2"/>
              </a:buClr>
              <a:buSzPct val="80000"/>
              <a:buFont typeface="Arial"/>
              <a:buChar char="•"/>
              <a:defRPr sz="2133" b="0" i="0">
                <a:solidFill>
                  <a:schemeClr val="tx2"/>
                </a:solidFill>
                <a:latin typeface="+mn-lt"/>
                <a:cs typeface="CiscoSans ExtraLight"/>
              </a:defRPr>
            </a:lvl3pPr>
            <a:lvl4pPr marL="1066552" indent="-228548">
              <a:buClr>
                <a:schemeClr val="tx2"/>
              </a:buClr>
              <a:buSzPct val="80000"/>
              <a:buFont typeface="Arial"/>
              <a:buChar char="•"/>
              <a:defRPr sz="1867" b="0" i="0">
                <a:solidFill>
                  <a:schemeClr val="tx2"/>
                </a:solidFill>
                <a:latin typeface="+mn-lt"/>
                <a:cs typeface="CiscoSans ExtraLight"/>
              </a:defRPr>
            </a:lvl4pPr>
            <a:lvl5pPr marL="1295097" indent="-228548">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086392" y="1797051"/>
            <a:ext cx="5624613" cy="4110792"/>
          </a:xfrm>
          <a:prstGeom prst="rect">
            <a:avLst/>
          </a:prstGeom>
        </p:spPr>
        <p:txBody>
          <a:bodyPr lIns="91420" tIns="45710" rIns="91420" bIns="45710">
            <a:noAutofit/>
          </a:bodyPr>
          <a:lstStyle>
            <a:lvl1pPr marL="304732" indent="-228548">
              <a:lnSpc>
                <a:spcPct val="95000"/>
              </a:lnSpc>
              <a:spcBef>
                <a:spcPts val="1480"/>
              </a:spcBef>
              <a:buClr>
                <a:schemeClr val="tx2"/>
              </a:buClr>
              <a:buSzPct val="80000"/>
              <a:buFont typeface="Arial"/>
              <a:buChar char="•"/>
              <a:defRPr sz="2667" b="0" i="0" baseline="0">
                <a:solidFill>
                  <a:schemeClr val="tx2"/>
                </a:solidFill>
                <a:latin typeface="+mn-lt"/>
                <a:cs typeface="CiscoSans ExtraLight"/>
              </a:defRPr>
            </a:lvl1pPr>
            <a:lvl2pPr marL="609458"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838006" indent="-228548">
              <a:buClr>
                <a:schemeClr val="tx2"/>
              </a:buClr>
              <a:buSzPct val="80000"/>
              <a:buFont typeface="Arial"/>
              <a:buChar char="•"/>
              <a:defRPr sz="2133" b="0" i="0">
                <a:solidFill>
                  <a:schemeClr val="tx2"/>
                </a:solidFill>
                <a:latin typeface="+mn-lt"/>
                <a:cs typeface="CiscoSans ExtraLight"/>
              </a:defRPr>
            </a:lvl3pPr>
            <a:lvl4pPr marL="1066552" indent="-228548">
              <a:buClr>
                <a:schemeClr val="tx2"/>
              </a:buClr>
              <a:buSzPct val="80000"/>
              <a:buFont typeface="Arial"/>
              <a:buChar char="•"/>
              <a:defRPr sz="1867" b="0" i="0">
                <a:solidFill>
                  <a:schemeClr val="tx2"/>
                </a:solidFill>
                <a:latin typeface="+mn-lt"/>
                <a:cs typeface="CiscoSans ExtraLight"/>
              </a:defRPr>
            </a:lvl4pPr>
            <a:lvl5pPr marL="1295097" indent="-228548">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19308410"/>
      </p:ext>
    </p:extLst>
  </p:cSld>
  <p:clrMapOvr>
    <a:masterClrMapping/>
  </p:clrMapOvr>
  <p:transition spd="med">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6087533"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23905" y="403341"/>
            <a:ext cx="4954660" cy="1101929"/>
          </a:xfrm>
          <a:prstGeom prst="rect">
            <a:avLst/>
          </a:prstGeom>
        </p:spPr>
        <p:txBody>
          <a:bodyPr lIns="61712" tIns="34286" rIns="61712" bIns="34286" rtlCol="0">
            <a:noAutofit/>
          </a:bodyPr>
          <a:lstStyle>
            <a:lvl1pPr algn="l" defTabSz="914270" rtl="0" eaLnBrk="1" latinLnBrk="0" hangingPunct="1">
              <a:lnSpc>
                <a:spcPct val="80000"/>
              </a:lnSpc>
              <a:spcBef>
                <a:spcPct val="0"/>
              </a:spcBef>
              <a:buNone/>
              <a:defRPr lang="en-US" sz="4267" b="0" i="0" kern="1200" spc="-100" baseline="0" dirty="0" smtClean="0">
                <a:solidFill>
                  <a:schemeClr val="tx2"/>
                </a:solidFill>
                <a:latin typeface="+mj-lt"/>
                <a:ea typeface="+mj-ea"/>
                <a:cs typeface="CiscoSans Thin"/>
              </a:defRPr>
            </a:lvl1pPr>
          </a:lstStyle>
          <a:p>
            <a:r>
              <a:rPr lang="en-US"/>
              <a:t>Click to edit Master title style</a:t>
            </a:r>
            <a:endParaRPr lang="en-US" dirty="0"/>
          </a:p>
        </p:txBody>
      </p:sp>
      <p:sp>
        <p:nvSpPr>
          <p:cNvPr id="16" name="Text Placeholder 15"/>
          <p:cNvSpPr>
            <a:spLocks noGrp="1"/>
          </p:cNvSpPr>
          <p:nvPr>
            <p:ph type="body" sz="quarter" idx="13"/>
          </p:nvPr>
        </p:nvSpPr>
        <p:spPr>
          <a:xfrm>
            <a:off x="6541286" y="403341"/>
            <a:ext cx="4954660" cy="1101928"/>
          </a:xfrm>
          <a:prstGeom prst="rect">
            <a:avLst/>
          </a:prstGeom>
        </p:spPr>
        <p:txBody>
          <a:bodyPr lIns="91420" tIns="45710" rIns="91420" bIns="45710" anchor="ctr" anchorCtr="0">
            <a:noAutofit/>
          </a:bodyPr>
          <a:lstStyle>
            <a:lvl1pPr marL="0" marR="0" indent="0" algn="l" defTabSz="914270" rtl="0" eaLnBrk="1" fontAlgn="auto" latinLnBrk="0" hangingPunct="1">
              <a:lnSpc>
                <a:spcPct val="80000"/>
              </a:lnSpc>
              <a:spcBef>
                <a:spcPct val="0"/>
              </a:spcBef>
              <a:spcAft>
                <a:spcPts val="0"/>
              </a:spcAft>
              <a:buClrTx/>
              <a:buSzTx/>
              <a:buFontTx/>
              <a:buNone/>
              <a:tabLst/>
              <a:defRPr lang="en-US" sz="4267" b="0" i="0" kern="1200" spc="-100" baseline="0" dirty="0">
                <a:solidFill>
                  <a:schemeClr val="tx2"/>
                </a:solidFill>
                <a:latin typeface="+mj-lt"/>
                <a:ea typeface="+mj-ea"/>
                <a:cs typeface="CiscoSans Thin"/>
              </a:defRPr>
            </a:lvl1pPr>
          </a:lstStyle>
          <a:p>
            <a:pPr lvl="0"/>
            <a:r>
              <a:rPr lang="en-US"/>
              <a:t>Click to edit Master text styles</a:t>
            </a:r>
          </a:p>
        </p:txBody>
      </p:sp>
      <p:sp>
        <p:nvSpPr>
          <p:cNvPr id="8" name="Text Placeholder 3"/>
          <p:cNvSpPr>
            <a:spLocks noGrp="1"/>
          </p:cNvSpPr>
          <p:nvPr>
            <p:ph type="body" sz="quarter" idx="10"/>
          </p:nvPr>
        </p:nvSpPr>
        <p:spPr>
          <a:xfrm>
            <a:off x="623905" y="1797051"/>
            <a:ext cx="4954660" cy="4110792"/>
          </a:xfrm>
          <a:prstGeom prst="rect">
            <a:avLst/>
          </a:prstGeom>
        </p:spPr>
        <p:txBody>
          <a:bodyPr lIns="91420" tIns="45710" rIns="91420" bIns="45710">
            <a:noAutofit/>
          </a:bodyPr>
          <a:lstStyle>
            <a:lvl1pPr marL="304732" indent="-228548">
              <a:lnSpc>
                <a:spcPct val="95000"/>
              </a:lnSpc>
              <a:spcBef>
                <a:spcPts val="1480"/>
              </a:spcBef>
              <a:buClr>
                <a:schemeClr val="tx2"/>
              </a:buClr>
              <a:buSzPct val="80000"/>
              <a:buFont typeface="Arial"/>
              <a:buChar char="•"/>
              <a:defRPr sz="2667" b="0" i="0">
                <a:solidFill>
                  <a:schemeClr val="tx2"/>
                </a:solidFill>
                <a:latin typeface="+mn-lt"/>
                <a:cs typeface="CiscoSans ExtraLight"/>
              </a:defRPr>
            </a:lvl1pPr>
            <a:lvl2pPr marL="609458"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838006" indent="-228548">
              <a:buClr>
                <a:schemeClr val="tx2"/>
              </a:buClr>
              <a:buSzPct val="80000"/>
              <a:buFont typeface="Arial"/>
              <a:buChar char="•"/>
              <a:defRPr sz="2133" b="0" i="0">
                <a:solidFill>
                  <a:schemeClr val="tx2"/>
                </a:solidFill>
                <a:latin typeface="+mn-lt"/>
                <a:cs typeface="CiscoSans ExtraLight"/>
              </a:defRPr>
            </a:lvl3pPr>
            <a:lvl4pPr marL="1066552" indent="-228548">
              <a:buClr>
                <a:schemeClr val="tx2"/>
              </a:buClr>
              <a:buSzPct val="80000"/>
              <a:buFont typeface="Arial"/>
              <a:buChar char="•"/>
              <a:defRPr sz="1867" b="0" i="0">
                <a:solidFill>
                  <a:schemeClr val="tx2"/>
                </a:solidFill>
                <a:latin typeface="+mn-lt"/>
                <a:cs typeface="CiscoSans ExtraLight"/>
              </a:defRPr>
            </a:lvl4pPr>
            <a:lvl5pPr marL="1295097" indent="-228548">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p:cNvSpPr>
            <a:spLocks noGrp="1"/>
          </p:cNvSpPr>
          <p:nvPr>
            <p:ph type="body" sz="quarter" idx="14"/>
          </p:nvPr>
        </p:nvSpPr>
        <p:spPr>
          <a:xfrm>
            <a:off x="6541286" y="1797051"/>
            <a:ext cx="4954660" cy="4110792"/>
          </a:xfrm>
          <a:prstGeom prst="rect">
            <a:avLst/>
          </a:prstGeom>
        </p:spPr>
        <p:txBody>
          <a:bodyPr lIns="91420" tIns="45710" rIns="91420" bIns="45710">
            <a:noAutofit/>
          </a:bodyPr>
          <a:lstStyle>
            <a:lvl1pPr marL="304732" indent="-228548">
              <a:lnSpc>
                <a:spcPct val="95000"/>
              </a:lnSpc>
              <a:spcBef>
                <a:spcPts val="1480"/>
              </a:spcBef>
              <a:buClr>
                <a:schemeClr val="tx2"/>
              </a:buClr>
              <a:buSzPct val="80000"/>
              <a:buFont typeface="Arial"/>
              <a:buChar char="•"/>
              <a:defRPr sz="2667" b="0" i="0">
                <a:solidFill>
                  <a:schemeClr val="tx2"/>
                </a:solidFill>
                <a:latin typeface="+mn-lt"/>
                <a:cs typeface="CiscoSans ExtraLight"/>
              </a:defRPr>
            </a:lvl1pPr>
            <a:lvl2pPr marL="609458"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838006" indent="-228548">
              <a:buClr>
                <a:schemeClr val="tx2"/>
              </a:buClr>
              <a:buSzPct val="80000"/>
              <a:buFont typeface="Arial"/>
              <a:buChar char="•"/>
              <a:defRPr sz="2133" b="0" i="0">
                <a:solidFill>
                  <a:schemeClr val="tx2"/>
                </a:solidFill>
                <a:latin typeface="+mn-lt"/>
                <a:cs typeface="CiscoSans ExtraLight"/>
              </a:defRPr>
            </a:lvl3pPr>
            <a:lvl4pPr marL="1066552" indent="-228548">
              <a:buClr>
                <a:schemeClr val="tx2"/>
              </a:buClr>
              <a:buSzPct val="80000"/>
              <a:buFont typeface="Arial"/>
              <a:buChar char="•"/>
              <a:defRPr sz="1867" b="0" i="0">
                <a:solidFill>
                  <a:schemeClr val="tx2"/>
                </a:solidFill>
                <a:latin typeface="+mn-lt"/>
                <a:cs typeface="CiscoSans ExtraLight"/>
              </a:defRPr>
            </a:lvl4pPr>
            <a:lvl5pPr marL="1295097" indent="-228548">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9375803"/>
      </p:ext>
    </p:extLst>
  </p:cSld>
  <p:clrMapOvr>
    <a:masterClrMapping/>
  </p:clrMapOvr>
  <p:transition spd="med">
    <p:fade/>
  </p:transition>
  <p:hf hdr="0" ftr="0" dt="0"/>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4093633"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49684"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615952" y="304425"/>
            <a:ext cx="3116145" cy="1027281"/>
          </a:xfrm>
          <a:prstGeom prst="rect">
            <a:avLst/>
          </a:prstGeom>
        </p:spPr>
        <p:txBody>
          <a:bodyPr lIns="91420" tIns="45710" rIns="91420" bIns="45710" anchor="b" anchorCtr="0">
            <a:noAutofit/>
          </a:bodyPr>
          <a:lstStyle>
            <a:lvl1pPr marL="0" marR="0" indent="0" algn="l" defTabSz="914270"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0" name="Text Placeholder 17"/>
          <p:cNvSpPr>
            <a:spLocks noGrp="1"/>
          </p:cNvSpPr>
          <p:nvPr>
            <p:ph type="body" sz="quarter" idx="22"/>
          </p:nvPr>
        </p:nvSpPr>
        <p:spPr>
          <a:xfrm>
            <a:off x="4503638" y="303785"/>
            <a:ext cx="3116145" cy="1027281"/>
          </a:xfrm>
          <a:prstGeom prst="rect">
            <a:avLst/>
          </a:prstGeom>
        </p:spPr>
        <p:txBody>
          <a:bodyPr lIns="91420" tIns="45710" rIns="91420" bIns="45710" anchor="b" anchorCtr="0">
            <a:noAutofit/>
          </a:bodyPr>
          <a:lstStyle>
            <a:lvl1pPr marL="0" marR="0" indent="0" algn="l" defTabSz="914270"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4" name="Text Placeholder 17"/>
          <p:cNvSpPr>
            <a:spLocks noGrp="1"/>
          </p:cNvSpPr>
          <p:nvPr>
            <p:ph type="body" sz="quarter" idx="24"/>
          </p:nvPr>
        </p:nvSpPr>
        <p:spPr>
          <a:xfrm>
            <a:off x="8473085" y="293972"/>
            <a:ext cx="3116145" cy="1027281"/>
          </a:xfrm>
          <a:prstGeom prst="rect">
            <a:avLst/>
          </a:prstGeom>
        </p:spPr>
        <p:txBody>
          <a:bodyPr lIns="91420" tIns="45710" rIns="91420" bIns="45710" anchor="b" anchorCtr="0">
            <a:noAutofit/>
          </a:bodyPr>
          <a:lstStyle>
            <a:lvl1pPr marL="0" marR="0" indent="0" algn="l" defTabSz="914270"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3" name="Text Placeholder 3"/>
          <p:cNvSpPr>
            <a:spLocks noGrp="1"/>
          </p:cNvSpPr>
          <p:nvPr>
            <p:ph type="body" sz="quarter" idx="11"/>
          </p:nvPr>
        </p:nvSpPr>
        <p:spPr>
          <a:xfrm>
            <a:off x="615951" y="1601459"/>
            <a:ext cx="3116147" cy="4419872"/>
          </a:xfrm>
          <a:prstGeom prst="rect">
            <a:avLst/>
          </a:prstGeom>
        </p:spPr>
        <p:txBody>
          <a:bodyPr lIns="91420" tIns="45710" rIns="91420" bIns="45710">
            <a:noAutofit/>
          </a:bodyPr>
          <a:lstStyle>
            <a:lvl1pPr marL="311080" indent="-228548">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866" indent="-228548">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6"/>
          </p:nvPr>
        </p:nvSpPr>
        <p:spPr>
          <a:xfrm>
            <a:off x="4503637" y="1600428"/>
            <a:ext cx="3116147" cy="4419872"/>
          </a:xfrm>
          <a:prstGeom prst="rect">
            <a:avLst/>
          </a:prstGeom>
        </p:spPr>
        <p:txBody>
          <a:bodyPr lIns="91420" tIns="45710" rIns="91420" bIns="45710">
            <a:noAutofit/>
          </a:bodyPr>
          <a:lstStyle>
            <a:lvl1pPr marL="311080" indent="-228548">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866" indent="-228548">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7"/>
          </p:nvPr>
        </p:nvSpPr>
        <p:spPr>
          <a:xfrm>
            <a:off x="8473083" y="1600428"/>
            <a:ext cx="3116147" cy="4419872"/>
          </a:xfrm>
          <a:prstGeom prst="rect">
            <a:avLst/>
          </a:prstGeom>
        </p:spPr>
        <p:txBody>
          <a:bodyPr lIns="91420" tIns="45710" rIns="91420" bIns="45710">
            <a:noAutofit/>
          </a:bodyPr>
          <a:lstStyle>
            <a:lvl1pPr marL="311080" indent="-228548">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866" indent="-228548">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6215712"/>
      </p:ext>
    </p:extLst>
  </p:cSld>
  <p:clrMapOvr>
    <a:masterClrMapping/>
  </p:clrMapOvr>
  <p:transition spd="med">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6760634" y="1773767"/>
            <a:ext cx="4950884" cy="4135967"/>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anchor="ctr"/>
          <a:lstStyle/>
          <a:p>
            <a:pPr algn="ctr" defTabSz="609585">
              <a:defRPr/>
            </a:pPr>
            <a:endParaRPr lang="en-US" sz="2400">
              <a:solidFill>
                <a:srgbClr val="58585B"/>
              </a:solidFill>
            </a:endParaRPr>
          </a:p>
        </p:txBody>
      </p:sp>
      <p:sp>
        <p:nvSpPr>
          <p:cNvPr id="12" name="Text Placeholder 11"/>
          <p:cNvSpPr>
            <a:spLocks noGrp="1"/>
          </p:cNvSpPr>
          <p:nvPr>
            <p:ph type="body" sz="quarter" idx="11"/>
          </p:nvPr>
        </p:nvSpPr>
        <p:spPr>
          <a:xfrm>
            <a:off x="6864941" y="1975668"/>
            <a:ext cx="4501216" cy="2212024"/>
          </a:xfrm>
          <a:prstGeom prst="rect">
            <a:avLst/>
          </a:prstGeom>
        </p:spPr>
        <p:txBody>
          <a:bodyPr lIns="91420" tIns="45710" rIns="91420" bIns="45710">
            <a:noAutofit/>
          </a:bodyPr>
          <a:lstStyle>
            <a:lvl1pPr marL="114288" indent="-114288" algn="l" defTabSz="914270" rtl="0" eaLnBrk="1" latinLnBrk="0" hangingPunct="1">
              <a:lnSpc>
                <a:spcPct val="90000"/>
              </a:lnSpc>
              <a:spcBef>
                <a:spcPts val="0"/>
              </a:spcBef>
              <a:buNone/>
              <a:defRPr lang="en-US" sz="2000" kern="1200" baseline="0" dirty="0" smtClean="0">
                <a:solidFill>
                  <a:schemeClr val="tx2"/>
                </a:solidFill>
                <a:latin typeface="+mn-lt"/>
                <a:ea typeface="+mn-ea"/>
                <a:cs typeface="CiscoSans ExtraLight"/>
              </a:defRPr>
            </a:lvl1pPr>
            <a:lvl2pPr marL="114288" indent="-114288" algn="l" defTabSz="914270" rtl="0" eaLnBrk="1" latinLnBrk="0" hangingPunct="1">
              <a:defRPr lang="en-US" sz="2000" kern="1200" dirty="0" smtClean="0">
                <a:solidFill>
                  <a:schemeClr val="accent2"/>
                </a:solidFill>
                <a:latin typeface="Ciscolight" pitchFamily="2" charset="0"/>
                <a:ea typeface="+mn-ea"/>
                <a:cs typeface="+mn-cs"/>
              </a:defRPr>
            </a:lvl2pPr>
            <a:lvl3pPr marL="114288" indent="-114288" algn="l" defTabSz="914270" rtl="0" eaLnBrk="1" latinLnBrk="0" hangingPunct="1">
              <a:defRPr lang="en-US" sz="2000" kern="1200" dirty="0" smtClean="0">
                <a:solidFill>
                  <a:schemeClr val="accent2"/>
                </a:solidFill>
                <a:latin typeface="Ciscolight" pitchFamily="2" charset="0"/>
                <a:ea typeface="+mn-ea"/>
                <a:cs typeface="+mn-cs"/>
              </a:defRPr>
            </a:lvl3pPr>
            <a:lvl4pPr marL="114288" indent="-114288" algn="l" defTabSz="914270" rtl="0" eaLnBrk="1" latinLnBrk="0" hangingPunct="1">
              <a:defRPr lang="en-US" sz="2000" kern="1200" dirty="0" smtClean="0">
                <a:solidFill>
                  <a:schemeClr val="accent2"/>
                </a:solidFill>
                <a:latin typeface="Ciscolight" pitchFamily="2" charset="0"/>
                <a:ea typeface="+mn-ea"/>
                <a:cs typeface="+mn-cs"/>
              </a:defRPr>
            </a:lvl4pPr>
            <a:lvl5pPr marL="114288" indent="-114288" algn="l" defTabSz="914270" rtl="0" eaLnBrk="1" latinLnBrk="0" hangingPunct="1">
              <a:defRPr lang="en-US" sz="2000" kern="1200" dirty="0" smtClean="0">
                <a:solidFill>
                  <a:schemeClr val="accent2"/>
                </a:solidFill>
                <a:latin typeface="Ciscolight" pitchFamily="2" charset="0"/>
                <a:ea typeface="+mn-ea"/>
                <a:cs typeface="+mn-cs"/>
              </a:defRPr>
            </a:lvl5pPr>
          </a:lstStyle>
          <a:p>
            <a:pPr lvl="0"/>
            <a:r>
              <a:rPr lang="en-US"/>
              <a:t>Click to edit Master text styles</a:t>
            </a:r>
          </a:p>
        </p:txBody>
      </p:sp>
      <p:sp>
        <p:nvSpPr>
          <p:cNvPr id="19" name="Text Placeholder 18"/>
          <p:cNvSpPr>
            <a:spLocks noGrp="1"/>
          </p:cNvSpPr>
          <p:nvPr>
            <p:ph type="body" sz="quarter" idx="14"/>
          </p:nvPr>
        </p:nvSpPr>
        <p:spPr>
          <a:xfrm>
            <a:off x="6864942" y="4736592"/>
            <a:ext cx="4674993" cy="338328"/>
          </a:xfrm>
          <a:prstGeom prst="rect">
            <a:avLst/>
          </a:prstGeom>
        </p:spPr>
        <p:txBody>
          <a:bodyPr lIns="91420" tIns="45710" rIns="91420" bIns="45710">
            <a:noAutofit/>
          </a:bodyPr>
          <a:lstStyle>
            <a:lvl1pPr marL="0" indent="0">
              <a:buClr>
                <a:schemeClr val="tx2"/>
              </a:buClr>
              <a:buFontTx/>
              <a:buNone/>
              <a:defRPr sz="1600">
                <a:solidFill>
                  <a:schemeClr val="tx2"/>
                </a:solidFill>
                <a:latin typeface="+mn-lt"/>
                <a:cs typeface="CiscoSans ExtraLight"/>
              </a:defRPr>
            </a:lvl1pPr>
          </a:lstStyle>
          <a:p>
            <a:pPr lvl="0"/>
            <a:r>
              <a:rPr lang="en-US"/>
              <a:t>Click to edit Master text styles</a:t>
            </a:r>
          </a:p>
        </p:txBody>
      </p:sp>
      <p:sp>
        <p:nvSpPr>
          <p:cNvPr id="9" name="Text Placeholder 3"/>
          <p:cNvSpPr>
            <a:spLocks noGrp="1"/>
          </p:cNvSpPr>
          <p:nvPr>
            <p:ph type="body" sz="quarter" idx="10"/>
          </p:nvPr>
        </p:nvSpPr>
        <p:spPr>
          <a:xfrm>
            <a:off x="583689" y="1797051"/>
            <a:ext cx="5201497" cy="4110792"/>
          </a:xfrm>
          <a:prstGeom prst="rect">
            <a:avLst/>
          </a:prstGeom>
        </p:spPr>
        <p:txBody>
          <a:bodyPr lIns="91420" tIns="45710" rIns="91420" bIns="45710">
            <a:noAutofit/>
          </a:bodyPr>
          <a:lstStyle>
            <a:lvl1pPr marL="304732" indent="-228548">
              <a:lnSpc>
                <a:spcPct val="95000"/>
              </a:lnSpc>
              <a:spcBef>
                <a:spcPts val="1480"/>
              </a:spcBef>
              <a:buClr>
                <a:schemeClr val="tx2"/>
              </a:buClr>
              <a:buSzPct val="80000"/>
              <a:buFont typeface="Arial"/>
              <a:buChar char="•"/>
              <a:defRPr sz="2667" b="0" i="0">
                <a:solidFill>
                  <a:schemeClr val="tx2"/>
                </a:solidFill>
                <a:latin typeface="+mn-lt"/>
                <a:cs typeface="CiscoSans ExtraLight"/>
              </a:defRPr>
            </a:lvl1pPr>
            <a:lvl2pPr marL="609458"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838006" indent="-228548">
              <a:buClr>
                <a:schemeClr val="tx2"/>
              </a:buClr>
              <a:buSzPct val="80000"/>
              <a:buFont typeface="Arial"/>
              <a:buChar char="•"/>
              <a:defRPr sz="2133" b="0" i="0">
                <a:solidFill>
                  <a:schemeClr val="tx2"/>
                </a:solidFill>
                <a:latin typeface="+mn-lt"/>
                <a:cs typeface="CiscoSans ExtraLight"/>
              </a:defRPr>
            </a:lvl3pPr>
            <a:lvl4pPr marL="1066552" indent="-228548">
              <a:buClr>
                <a:schemeClr val="tx2"/>
              </a:buClr>
              <a:buSzPct val="80000"/>
              <a:buFont typeface="Arial"/>
              <a:buChar char="•"/>
              <a:defRPr sz="1867" b="0" i="0">
                <a:solidFill>
                  <a:schemeClr val="tx2"/>
                </a:solidFill>
                <a:latin typeface="+mn-lt"/>
                <a:cs typeface="CiscoSans ExtraLight"/>
              </a:defRPr>
            </a:lvl4pPr>
            <a:lvl5pPr marL="1295097" indent="-228548">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377216197"/>
      </p:ext>
    </p:extLst>
  </p:cSld>
  <p:clrMapOvr>
    <a:masterClrMapping/>
  </p:clrMapOvr>
  <p:transition spd="med">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748018169"/>
      </p:ext>
    </p:extLst>
  </p:cSld>
  <p:clrMapOvr>
    <a:masterClrMapping/>
  </p:clrMapOvr>
  <p:transition spd="med">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2"/>
                </a:solidFill>
                <a:latin typeface="+mj-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6133" b="0" i="1"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947386296"/>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87" y="6172206"/>
            <a:ext cx="977900"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2000" cy="6858000"/>
          </a:xfrm>
          <a:prstGeom prst="rect">
            <a:avLst/>
          </a:prstGeom>
        </p:spPr>
        <p:txBody>
          <a:bodyPr vert="horz" lIns="91412" tIns="45710" rIns="91412" bIns="45710"/>
          <a:lstStyle>
            <a:lvl1pPr marL="0" indent="0" algn="ctr">
              <a:buNone/>
              <a:defRPr sz="2900" baseline="0">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hasCustomPrompt="1"/>
          </p:nvPr>
        </p:nvSpPr>
        <p:spPr bwMode="auto">
          <a:xfrm>
            <a:off x="666752" y="4645361"/>
            <a:ext cx="10852149" cy="674544"/>
          </a:xfrm>
          <a:prstGeom prst="rect">
            <a:avLst/>
          </a:prstGeom>
          <a:solidFill>
            <a:schemeClr val="bg1">
              <a:alpha val="70000"/>
            </a:schemeClr>
          </a:solidFill>
        </p:spPr>
        <p:txBody>
          <a:bodyPr wrap="square" lIns="107989" tIns="0" rIns="91432" bIns="45718" numCol="1" anchor="ctr" anchorCtr="0" compatLnSpc="1">
            <a:prstTxWarp prst="textNoShape">
              <a:avLst/>
            </a:prstTxWarp>
            <a:spAutoFit/>
          </a:bodyPr>
          <a:lstStyle>
            <a:lvl1pPr marL="230373" indent="0">
              <a:lnSpc>
                <a:spcPts val="4907"/>
              </a:lnSpc>
              <a:spcBef>
                <a:spcPts val="0"/>
              </a:spcBef>
              <a:buNone/>
              <a:defRPr sz="3200" i="1"/>
            </a:lvl1pPr>
          </a:lstStyle>
          <a:p>
            <a:pPr lvl="0"/>
            <a:r>
              <a:rPr lang="en-GB" dirty="0"/>
              <a:t>Text Goes Here</a:t>
            </a:r>
          </a:p>
        </p:txBody>
      </p:sp>
    </p:spTree>
    <p:extLst>
      <p:ext uri="{BB962C8B-B14F-4D97-AF65-F5344CB8AC3E}">
        <p14:creationId xmlns:p14="http://schemas.microsoft.com/office/powerpoint/2010/main" val="226656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6146800" y="812801"/>
            <a:ext cx="0" cy="5312833"/>
          </a:xfrm>
          <a:prstGeom prst="line">
            <a:avLst/>
          </a:prstGeom>
          <a:ln w="38100" cap="flat" cmpd="sng">
            <a:solidFill>
              <a:srgbClr val="004BAF"/>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618351" y="1918747"/>
            <a:ext cx="5093797" cy="3020519"/>
          </a:xfrm>
        </p:spPr>
        <p:txBody>
          <a:bodyPr lIns="61715" tIns="34288" rIns="61715" bIns="34288" rtlCol="0">
            <a:noAutofit/>
          </a:bodyPr>
          <a:lstStyle>
            <a:lvl1pPr marL="0" indent="0" algn="l" defTabSz="914308" rtl="0" eaLnBrk="1" latinLnBrk="0" hangingPunct="1">
              <a:lnSpc>
                <a:spcPct val="80000"/>
              </a:lnSpc>
              <a:spcBef>
                <a:spcPct val="0"/>
              </a:spcBef>
              <a:buClr>
                <a:schemeClr val="tx1"/>
              </a:buClr>
              <a:buFont typeface="Ciscolight" pitchFamily="2" charset="0"/>
              <a:buNone/>
              <a:defRPr lang="en-US" sz="6000"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6563360" y="872691"/>
            <a:ext cx="5154507" cy="5120640"/>
          </a:xfrm>
          <a:prstGeom prst="rect">
            <a:avLst/>
          </a:prstGeom>
        </p:spPr>
        <p:txBody>
          <a:bodyPr lIns="91420" tIns="45710" rIns="91420" bIns="45710" anchor="ctr" anchorCtr="0">
            <a:noAutofit/>
          </a:bodyPr>
          <a:lstStyle>
            <a:lvl1pPr marL="0" indent="0">
              <a:buFontTx/>
              <a:buNone/>
              <a:defRPr sz="2133" baseline="0">
                <a:solidFill>
                  <a:schemeClr val="tx2"/>
                </a:solidFill>
                <a:latin typeface="+mn-lt"/>
              </a:defRPr>
            </a:lvl1pPr>
            <a:lvl2pPr>
              <a:defRPr sz="2000"/>
            </a:lvl2pPr>
            <a:lvl3pPr>
              <a:defRPr sz="2000"/>
            </a:lvl3pPr>
            <a:lvl4pPr>
              <a:defRPr sz="2000"/>
            </a:lvl4pPr>
            <a:lvl5pPr>
              <a:defRPr sz="2000"/>
            </a:lvl5pPr>
          </a:lstStyle>
          <a:p>
            <a:pPr lvl="0"/>
            <a:r>
              <a:rPr lang="en-US"/>
              <a:t>Click to edit Master text styles</a:t>
            </a:r>
          </a:p>
        </p:txBody>
      </p:sp>
    </p:spTree>
    <p:extLst>
      <p:ext uri="{BB962C8B-B14F-4D97-AF65-F5344CB8AC3E}">
        <p14:creationId xmlns:p14="http://schemas.microsoft.com/office/powerpoint/2010/main" val="1917674945"/>
      </p:ext>
    </p:extLst>
  </p:cSld>
  <p:clrMapOvr>
    <a:masterClrMapping/>
  </p:clrMapOvr>
  <p:transition spd="slow">
    <p:wip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83688" y="1797051"/>
            <a:ext cx="11127317" cy="3544971"/>
          </a:xfrm>
          <a:prstGeom prst="rect">
            <a:avLst/>
          </a:prstGeom>
        </p:spPr>
        <p:txBody>
          <a:bodyPr lIns="91420" tIns="45710" rIns="91420" bIns="45710">
            <a:noAutofit/>
          </a:bodyPr>
          <a:lstStyle>
            <a:lvl1pPr marL="0" indent="0" algn="ctr">
              <a:buNone/>
              <a:defRPr sz="2667" baseline="0">
                <a:solidFill>
                  <a:schemeClr val="tx2"/>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2133" b="0" i="0">
                <a:solidFill>
                  <a:schemeClr val="tx2"/>
                </a:solidFill>
                <a:latin typeface="+mj-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380548465"/>
      </p:ext>
    </p:extLst>
  </p:cSld>
  <p:clrMapOvr>
    <a:masterClrMapping/>
  </p:clrMapOvr>
  <p:transition spd="med">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83688" y="1799167"/>
            <a:ext cx="11127317" cy="3547533"/>
          </a:xfrm>
          <a:prstGeom prst="rect">
            <a:avLst/>
          </a:prstGeom>
        </p:spPr>
        <p:txBody>
          <a:bodyPr vert="horz" lIns="91420" tIns="45710" rIns="91420" bIns="45710">
            <a:noAutofit/>
          </a:bodyPr>
          <a:lstStyle>
            <a:lvl1pPr marL="0" indent="0" algn="ctr">
              <a:buNone/>
              <a:defRPr sz="2667" b="0" i="0">
                <a:solidFill>
                  <a:schemeClr val="tx2"/>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2133" b="0" i="0">
                <a:solidFill>
                  <a:schemeClr val="tx2"/>
                </a:solidFill>
                <a:latin typeface="+mj-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096383508"/>
      </p:ext>
    </p:extLst>
  </p:cSld>
  <p:clrMapOvr>
    <a:masterClrMapping/>
  </p:clrMapOvr>
  <p:transition spd="med">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583689" y="1799275"/>
            <a:ext cx="5342668" cy="4054364"/>
          </a:xfrm>
          <a:prstGeom prst="rect">
            <a:avLst/>
          </a:prstGeom>
        </p:spPr>
        <p:txBody>
          <a:bodyPr lIns="91420" tIns="45710" rIns="91420" bIns="45710"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 name="Chart Placeholder 2"/>
          <p:cNvSpPr>
            <a:spLocks noGrp="1"/>
          </p:cNvSpPr>
          <p:nvPr>
            <p:ph type="chart" sz="quarter" idx="12"/>
          </p:nvPr>
        </p:nvSpPr>
        <p:spPr>
          <a:xfrm>
            <a:off x="6279877" y="1799166"/>
            <a:ext cx="5431128" cy="4052529"/>
          </a:xfrm>
          <a:prstGeom prst="rect">
            <a:avLst/>
          </a:prstGeom>
        </p:spPr>
        <p:txBody>
          <a:bodyPr vert="horz" lIns="91420" tIns="45710" rIns="91420" bIns="45710">
            <a:noAutofit/>
          </a:bodyPr>
          <a:lstStyle>
            <a:lvl1pPr marL="0" indent="0" algn="ctr">
              <a:buNone/>
              <a:defRPr sz="2667">
                <a:solidFill>
                  <a:schemeClr val="tx2"/>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86268425"/>
      </p:ext>
    </p:extLst>
  </p:cSld>
  <p:clrMapOvr>
    <a:masterClrMapping/>
  </p:clrMapOvr>
  <p:transition spd="med">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583689" y="1799139"/>
            <a:ext cx="5338660" cy="4054500"/>
          </a:xfrm>
          <a:prstGeom prst="rect">
            <a:avLst/>
          </a:prstGeom>
        </p:spPr>
        <p:txBody>
          <a:bodyPr lIns="91420" tIns="45710" rIns="91420" bIns="45710"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Picture Placeholder 2"/>
          <p:cNvSpPr>
            <a:spLocks noGrp="1"/>
          </p:cNvSpPr>
          <p:nvPr>
            <p:ph type="pic" sz="quarter" idx="10"/>
          </p:nvPr>
        </p:nvSpPr>
        <p:spPr>
          <a:xfrm>
            <a:off x="6277480" y="1799167"/>
            <a:ext cx="5433525" cy="4054944"/>
          </a:xfrm>
          <a:prstGeom prst="rect">
            <a:avLst/>
          </a:prstGeom>
        </p:spPr>
        <p:txBody>
          <a:bodyPr vert="horz" lIns="91420" tIns="45710" rIns="91420" bIns="45710">
            <a:noAutofit/>
          </a:bodyPr>
          <a:lstStyle>
            <a:lvl1pPr marL="0" indent="0" algn="ctr">
              <a:buNone/>
              <a:defRPr sz="2667" b="0" i="0">
                <a:solidFill>
                  <a:schemeClr val="tx2"/>
                </a:solidFill>
                <a:latin typeface="+mn-lt"/>
                <a:cs typeface="CiscoSans ExtraLight"/>
              </a:defRPr>
            </a:lvl1pPr>
          </a:lstStyle>
          <a:p>
            <a:pPr lvl="0"/>
            <a:r>
              <a:rPr lang="en-US" noProof="0"/>
              <a:t>Drag picture to placeholder or click icon to add</a:t>
            </a:r>
            <a:endParaRPr lang="en-US" noProof="0"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51755584"/>
      </p:ext>
    </p:extLst>
  </p:cSld>
  <p:clrMapOvr>
    <a:masterClrMapping/>
  </p:clrMapOvr>
  <p:transition spd="med">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Oval 8"/>
          <p:cNvSpPr/>
          <p:nvPr/>
        </p:nvSpPr>
        <p:spPr>
          <a:xfrm>
            <a:off x="8113185" y="2163234"/>
            <a:ext cx="3092449" cy="309033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85" fontAlgn="base">
              <a:spcBef>
                <a:spcPct val="0"/>
              </a:spcBef>
              <a:spcAft>
                <a:spcPct val="0"/>
              </a:spcAft>
              <a:defRPr/>
            </a:pPr>
            <a:endParaRPr lang="en-US" sz="2400" dirty="0">
              <a:solidFill>
                <a:srgbClr val="FFFFFF"/>
              </a:solidFill>
              <a:cs typeface="Arial"/>
            </a:endParaRPr>
          </a:p>
        </p:txBody>
      </p:sp>
      <p:sp>
        <p:nvSpPr>
          <p:cNvPr id="10" name="Oval 9"/>
          <p:cNvSpPr/>
          <p:nvPr/>
        </p:nvSpPr>
        <p:spPr>
          <a:xfrm>
            <a:off x="4563533" y="2163234"/>
            <a:ext cx="3092451" cy="309033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85" fontAlgn="base">
              <a:spcBef>
                <a:spcPct val="0"/>
              </a:spcBef>
              <a:spcAft>
                <a:spcPct val="0"/>
              </a:spcAft>
              <a:defRPr/>
            </a:pPr>
            <a:endParaRPr lang="en-US" sz="2400" dirty="0">
              <a:solidFill>
                <a:srgbClr val="FFFFFF"/>
              </a:solidFill>
              <a:cs typeface="Arial"/>
            </a:endParaRPr>
          </a:p>
        </p:txBody>
      </p:sp>
      <p:sp>
        <p:nvSpPr>
          <p:cNvPr id="11" name="Oval 10"/>
          <p:cNvSpPr/>
          <p:nvPr/>
        </p:nvSpPr>
        <p:spPr>
          <a:xfrm>
            <a:off x="1018118" y="2163234"/>
            <a:ext cx="3092449" cy="3090333"/>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85" fontAlgn="base">
              <a:spcBef>
                <a:spcPct val="0"/>
              </a:spcBef>
              <a:spcAft>
                <a:spcPct val="0"/>
              </a:spcAft>
              <a:defRPr/>
            </a:pPr>
            <a:endParaRPr lang="en-US" sz="2400" dirty="0">
              <a:solidFill>
                <a:srgbClr val="FFFFFF"/>
              </a:solidFill>
              <a:cs typeface="Arial"/>
            </a:endParaRPr>
          </a:p>
        </p:txBody>
      </p:sp>
      <p:sp>
        <p:nvSpPr>
          <p:cNvPr id="2" name="Title 1"/>
          <p:cNvSpPr>
            <a:spLocks noGrp="1"/>
          </p:cNvSpPr>
          <p:nvPr>
            <p:ph type="title"/>
          </p:nvPr>
        </p:nvSpPr>
        <p:spPr/>
        <p:txBody>
          <a:bodyPr/>
          <a:lstStyle/>
          <a:p>
            <a:r>
              <a:rPr lang="en-US"/>
              <a:t>Click to edit Master title style</a:t>
            </a:r>
          </a:p>
        </p:txBody>
      </p:sp>
      <p:sp>
        <p:nvSpPr>
          <p:cNvPr id="17" name="Text Placeholder 17"/>
          <p:cNvSpPr>
            <a:spLocks noGrp="1"/>
          </p:cNvSpPr>
          <p:nvPr>
            <p:ph type="body" sz="quarter" idx="11"/>
          </p:nvPr>
        </p:nvSpPr>
        <p:spPr>
          <a:xfrm>
            <a:off x="1036647" y="3733524"/>
            <a:ext cx="3056181" cy="804881"/>
          </a:xfrm>
          <a:prstGeom prst="rect">
            <a:avLst/>
          </a:prstGeom>
        </p:spPr>
        <p:txBody>
          <a:bodyPr lIns="91420" tIns="45710" rIns="91420" bIns="45710" anchor="ctr" anchorCtr="0">
            <a:noAutofit/>
          </a:bodyPr>
          <a:lstStyle>
            <a:lvl1pPr marL="0" indent="0" algn="ctr">
              <a:buNone/>
              <a:defRPr sz="2667"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8" name="Text Placeholder 17"/>
          <p:cNvSpPr>
            <a:spLocks noGrp="1"/>
          </p:cNvSpPr>
          <p:nvPr>
            <p:ph type="body" sz="quarter" idx="12"/>
          </p:nvPr>
        </p:nvSpPr>
        <p:spPr>
          <a:xfrm>
            <a:off x="4581926" y="3730928"/>
            <a:ext cx="3056181" cy="804881"/>
          </a:xfrm>
          <a:prstGeom prst="rect">
            <a:avLst/>
          </a:prstGeom>
        </p:spPr>
        <p:txBody>
          <a:bodyPr lIns="91420" tIns="45710" rIns="91420" bIns="45710" anchor="ctr" anchorCtr="0">
            <a:noAutofit/>
          </a:bodyPr>
          <a:lstStyle>
            <a:lvl1pPr marL="0" indent="0" algn="ctr">
              <a:buNone/>
              <a:defRPr sz="2667"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13"/>
          </p:nvPr>
        </p:nvSpPr>
        <p:spPr>
          <a:xfrm>
            <a:off x="8131107" y="3730928"/>
            <a:ext cx="3056181" cy="804881"/>
          </a:xfrm>
          <a:prstGeom prst="rect">
            <a:avLst/>
          </a:prstGeom>
        </p:spPr>
        <p:txBody>
          <a:bodyPr lIns="91420" tIns="45710" rIns="91420" bIns="45710" anchor="ctr" anchorCtr="0">
            <a:noAutofit/>
          </a:bodyPr>
          <a:lstStyle>
            <a:lvl1pPr marL="0" indent="0" algn="ctr">
              <a:buNone/>
              <a:defRPr sz="2667"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4" name="Picture Placeholder 5"/>
          <p:cNvSpPr>
            <a:spLocks noGrp="1"/>
          </p:cNvSpPr>
          <p:nvPr>
            <p:ph type="pic" sz="quarter" idx="14"/>
          </p:nvPr>
        </p:nvSpPr>
        <p:spPr>
          <a:xfrm>
            <a:off x="2027767" y="2857372"/>
            <a:ext cx="1051984" cy="1051984"/>
          </a:xfrm>
          <a:prstGeom prst="rect">
            <a:avLst/>
          </a:prstGeom>
        </p:spPr>
        <p:txBody>
          <a:bodyPr vert="horz"/>
          <a:lstStyle>
            <a:lvl1pPr marL="0" indent="0" algn="ctr">
              <a:buNone/>
              <a:defRPr sz="1600">
                <a:solidFill>
                  <a:schemeClr val="bg1"/>
                </a:solidFill>
              </a:defRPr>
            </a:lvl1pPr>
          </a:lstStyle>
          <a:p>
            <a:pPr lvl="0"/>
            <a:r>
              <a:rPr lang="en-US" noProof="0"/>
              <a:t>Drag picture to placeholder or click icon to add</a:t>
            </a:r>
            <a:endParaRPr lang="en-US" noProof="0" dirty="0"/>
          </a:p>
        </p:txBody>
      </p:sp>
      <p:sp>
        <p:nvSpPr>
          <p:cNvPr id="16" name="Picture Placeholder 5"/>
          <p:cNvSpPr>
            <a:spLocks noGrp="1"/>
          </p:cNvSpPr>
          <p:nvPr>
            <p:ph type="pic" sz="quarter" idx="15"/>
          </p:nvPr>
        </p:nvSpPr>
        <p:spPr>
          <a:xfrm>
            <a:off x="5603827" y="2870412"/>
            <a:ext cx="1051984" cy="1051984"/>
          </a:xfrm>
          <a:prstGeom prst="rect">
            <a:avLst/>
          </a:prstGeom>
        </p:spPr>
        <p:txBody>
          <a:bodyPr vert="horz"/>
          <a:lstStyle>
            <a:lvl1pPr marL="0" indent="0" algn="ctr">
              <a:buNone/>
              <a:defRPr sz="1600">
                <a:solidFill>
                  <a:schemeClr val="bg1"/>
                </a:solidFill>
              </a:defRPr>
            </a:lvl1pPr>
          </a:lstStyle>
          <a:p>
            <a:pPr lvl="0"/>
            <a:r>
              <a:rPr lang="en-US" noProof="0"/>
              <a:t>Drag picture to placeholder or click icon to add</a:t>
            </a:r>
            <a:endParaRPr lang="en-US" noProof="0" dirty="0"/>
          </a:p>
        </p:txBody>
      </p:sp>
      <p:sp>
        <p:nvSpPr>
          <p:cNvPr id="21" name="Picture Placeholder 5"/>
          <p:cNvSpPr>
            <a:spLocks noGrp="1"/>
          </p:cNvSpPr>
          <p:nvPr>
            <p:ph type="pic" sz="quarter" idx="16"/>
          </p:nvPr>
        </p:nvSpPr>
        <p:spPr>
          <a:xfrm>
            <a:off x="9122480" y="2857372"/>
            <a:ext cx="1051984" cy="1051984"/>
          </a:xfrm>
          <a:prstGeom prst="rect">
            <a:avLst/>
          </a:prstGeom>
        </p:spPr>
        <p:txBody>
          <a:bodyPr vert="horz"/>
          <a:lstStyle>
            <a:lvl1pPr marL="0" indent="0" algn="ctr">
              <a:buNone/>
              <a:defRPr sz="1600">
                <a:solidFill>
                  <a:schemeClr val="bg1"/>
                </a:solidFill>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1750665896"/>
      </p:ext>
    </p:extLst>
  </p:cSld>
  <p:clrMapOvr>
    <a:masterClrMapping/>
  </p:clrMapOvr>
  <p:transition spd="slow">
    <p:wip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1032934" y="2163234"/>
            <a:ext cx="3075517" cy="3075517"/>
          </a:xfrm>
          <a:prstGeom prst="ellipse">
            <a:avLst/>
          </a:prstGeom>
          <a:solidFill>
            <a:srgbClr val="000000">
              <a:alpha val="30196"/>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91436" tIns="45719" rIns="91436" bIns="4571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9170" eaLnBrk="1" fontAlgn="base" hangingPunct="1">
              <a:spcBef>
                <a:spcPct val="0"/>
              </a:spcBef>
              <a:spcAft>
                <a:spcPct val="0"/>
              </a:spcAft>
            </a:pPr>
            <a:endParaRPr lang="en-US" altLang="en-US" sz="2400">
              <a:solidFill>
                <a:srgbClr val="FFFFFF"/>
              </a:solidFill>
            </a:endParaRPr>
          </a:p>
        </p:txBody>
      </p:sp>
      <p:sp>
        <p:nvSpPr>
          <p:cNvPr id="13" name="Oval 7"/>
          <p:cNvSpPr>
            <a:spLocks noChangeArrowheads="1"/>
          </p:cNvSpPr>
          <p:nvPr/>
        </p:nvSpPr>
        <p:spPr bwMode="auto">
          <a:xfrm>
            <a:off x="4563534" y="2163234"/>
            <a:ext cx="3075517" cy="3075517"/>
          </a:xfrm>
          <a:prstGeom prst="ellipse">
            <a:avLst/>
          </a:prstGeom>
          <a:solidFill>
            <a:srgbClr val="000000">
              <a:alpha val="30196"/>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91436" tIns="45719" rIns="91436" bIns="4571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9170" eaLnBrk="1" fontAlgn="base" hangingPunct="1">
              <a:spcBef>
                <a:spcPct val="0"/>
              </a:spcBef>
              <a:spcAft>
                <a:spcPct val="0"/>
              </a:spcAft>
            </a:pPr>
            <a:endParaRPr lang="en-US" altLang="en-US" sz="2400">
              <a:solidFill>
                <a:srgbClr val="FFFFFF"/>
              </a:solidFill>
            </a:endParaRPr>
          </a:p>
        </p:txBody>
      </p:sp>
      <p:sp>
        <p:nvSpPr>
          <p:cNvPr id="14" name="Oval 8"/>
          <p:cNvSpPr>
            <a:spLocks noChangeArrowheads="1"/>
          </p:cNvSpPr>
          <p:nvPr/>
        </p:nvSpPr>
        <p:spPr bwMode="auto">
          <a:xfrm>
            <a:off x="8117417" y="2163234"/>
            <a:ext cx="3073400" cy="3075517"/>
          </a:xfrm>
          <a:prstGeom prst="ellipse">
            <a:avLst/>
          </a:prstGeom>
          <a:solidFill>
            <a:srgbClr val="000000">
              <a:alpha val="30196"/>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91436" tIns="45719" rIns="91436" bIns="4571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9170" eaLnBrk="1" fontAlgn="base" hangingPunct="1">
              <a:spcBef>
                <a:spcPct val="0"/>
              </a:spcBef>
              <a:spcAft>
                <a:spcPct val="0"/>
              </a:spcAft>
            </a:pPr>
            <a:endParaRPr lang="en-US" altLang="en-US" sz="2400">
              <a:solidFill>
                <a:srgbClr val="FFFFFF"/>
              </a:solidFill>
            </a:endParaRPr>
          </a:p>
        </p:txBody>
      </p:sp>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lvl="0"/>
            <a:r>
              <a:rPr lang="en-US"/>
              <a:t>Click to edit Master title style</a:t>
            </a:r>
            <a:endParaRPr lang="en-GB" dirty="0"/>
          </a:p>
        </p:txBody>
      </p:sp>
      <p:sp>
        <p:nvSpPr>
          <p:cNvPr id="35" name="Picture Placeholder 25"/>
          <p:cNvSpPr>
            <a:spLocks noGrp="1"/>
          </p:cNvSpPr>
          <p:nvPr>
            <p:ph type="pic" sz="quarter" idx="10"/>
          </p:nvPr>
        </p:nvSpPr>
        <p:spPr>
          <a:xfrm>
            <a:off x="1033287" y="2163193"/>
            <a:ext cx="3074624"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baseline="0">
                <a:solidFill>
                  <a:schemeClr val="tx1"/>
                </a:solidFill>
                <a:latin typeface="+mj-lt"/>
              </a:defRPr>
            </a:lvl1pPr>
          </a:lstStyle>
          <a:p>
            <a:pPr lvl="0"/>
            <a:r>
              <a:rPr lang="en-US" noProof="0"/>
              <a:t>Drag picture to placeholder or click icon to add</a:t>
            </a:r>
            <a:endParaRPr lang="en-US" noProof="0" dirty="0"/>
          </a:p>
        </p:txBody>
      </p:sp>
      <p:sp>
        <p:nvSpPr>
          <p:cNvPr id="37" name="Picture Placeholder 25"/>
          <p:cNvSpPr>
            <a:spLocks noGrp="1"/>
          </p:cNvSpPr>
          <p:nvPr>
            <p:ph type="pic" sz="quarter" idx="11"/>
          </p:nvPr>
        </p:nvSpPr>
        <p:spPr>
          <a:xfrm>
            <a:off x="4563981" y="2163193"/>
            <a:ext cx="3074624"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a:solidFill>
                  <a:schemeClr val="tx1"/>
                </a:solidFill>
                <a:latin typeface="+mj-lt"/>
              </a:defRPr>
            </a:lvl1pPr>
          </a:lstStyle>
          <a:p>
            <a:pPr lvl="0"/>
            <a:r>
              <a:rPr lang="en-US" noProof="0"/>
              <a:t>Drag picture to placeholder or click icon to add</a:t>
            </a:r>
            <a:endParaRPr lang="en-US" noProof="0" dirty="0"/>
          </a:p>
        </p:txBody>
      </p:sp>
      <p:sp>
        <p:nvSpPr>
          <p:cNvPr id="39" name="Picture Placeholder 25"/>
          <p:cNvSpPr>
            <a:spLocks noGrp="1"/>
          </p:cNvSpPr>
          <p:nvPr>
            <p:ph type="pic" sz="quarter" idx="12"/>
          </p:nvPr>
        </p:nvSpPr>
        <p:spPr>
          <a:xfrm>
            <a:off x="8116671" y="2163193"/>
            <a:ext cx="3074624"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a:solidFill>
                  <a:schemeClr val="tx1"/>
                </a:solidFill>
                <a:latin typeface="+mj-lt"/>
              </a:defRPr>
            </a:lvl1pPr>
          </a:lstStyle>
          <a:p>
            <a:pPr lvl="0"/>
            <a:r>
              <a:rPr lang="en-US" noProof="0"/>
              <a:t>Drag picture to placeholder or click icon to add</a:t>
            </a:r>
            <a:endParaRPr lang="en-US" noProof="0" dirty="0"/>
          </a:p>
        </p:txBody>
      </p:sp>
      <p:sp>
        <p:nvSpPr>
          <p:cNvPr id="9" name="Text Placeholder 17"/>
          <p:cNvSpPr>
            <a:spLocks noGrp="1"/>
          </p:cNvSpPr>
          <p:nvPr>
            <p:ph type="body" sz="quarter" idx="13"/>
          </p:nvPr>
        </p:nvSpPr>
        <p:spPr>
          <a:xfrm>
            <a:off x="1051730" y="5164185"/>
            <a:ext cx="3056181" cy="804881"/>
          </a:xfrm>
          <a:prstGeom prst="rect">
            <a:avLst/>
          </a:prstGeom>
        </p:spPr>
        <p:txBody>
          <a:bodyPr lIns="91420" tIns="45710" rIns="91420" bIns="45710" anchor="ctr" anchorCtr="0">
            <a:noAutofit/>
          </a:bodyPr>
          <a:lstStyle>
            <a:lvl1pPr marL="0" indent="0" algn="ctr">
              <a:buNone/>
              <a:defRPr sz="2667"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0" name="Text Placeholder 17"/>
          <p:cNvSpPr>
            <a:spLocks noGrp="1"/>
          </p:cNvSpPr>
          <p:nvPr>
            <p:ph type="body" sz="quarter" idx="14"/>
          </p:nvPr>
        </p:nvSpPr>
        <p:spPr>
          <a:xfrm>
            <a:off x="4582424" y="5161589"/>
            <a:ext cx="3056181" cy="804881"/>
          </a:xfrm>
          <a:prstGeom prst="rect">
            <a:avLst/>
          </a:prstGeom>
        </p:spPr>
        <p:txBody>
          <a:bodyPr lIns="91420" tIns="45710" rIns="91420" bIns="45710" anchor="ctr" anchorCtr="0">
            <a:noAutofit/>
          </a:bodyPr>
          <a:lstStyle>
            <a:lvl1pPr marL="0" indent="0" algn="ctr">
              <a:buNone/>
              <a:defRPr sz="2667"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Text Placeholder 17"/>
          <p:cNvSpPr>
            <a:spLocks noGrp="1"/>
          </p:cNvSpPr>
          <p:nvPr>
            <p:ph type="body" sz="quarter" idx="15"/>
          </p:nvPr>
        </p:nvSpPr>
        <p:spPr>
          <a:xfrm>
            <a:off x="8135114" y="5161589"/>
            <a:ext cx="3056181" cy="804881"/>
          </a:xfrm>
          <a:prstGeom prst="rect">
            <a:avLst/>
          </a:prstGeom>
        </p:spPr>
        <p:txBody>
          <a:bodyPr lIns="91420" tIns="45710" rIns="91420" bIns="45710" anchor="ctr" anchorCtr="0">
            <a:noAutofit/>
          </a:bodyPr>
          <a:lstStyle>
            <a:lvl1pPr marL="0" indent="0" algn="ctr">
              <a:buNone/>
              <a:defRPr sz="2667"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Tree>
    <p:extLst>
      <p:ext uri="{BB962C8B-B14F-4D97-AF65-F5344CB8AC3E}">
        <p14:creationId xmlns:p14="http://schemas.microsoft.com/office/powerpoint/2010/main" val="1583799911"/>
      </p:ext>
    </p:extLst>
  </p:cSld>
  <p:clrMapOvr>
    <a:masterClrMapping/>
  </p:clrMapOvr>
  <p:transition spd="slow">
    <p:wip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userDrawn="1"/>
        </p:nvSpPr>
        <p:spPr>
          <a:xfrm>
            <a:off x="767480" y="3403400"/>
            <a:ext cx="931499" cy="931499"/>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solidFill>
                <a:srgbClr val="049FD9"/>
              </a:solidFill>
              <a:cs typeface="Arial"/>
            </a:endParaRPr>
          </a:p>
        </p:txBody>
      </p:sp>
      <p:sp>
        <p:nvSpPr>
          <p:cNvPr id="15" name="Oval 14"/>
          <p:cNvSpPr/>
          <p:nvPr userDrawn="1"/>
        </p:nvSpPr>
        <p:spPr>
          <a:xfrm>
            <a:off x="767480" y="1902143"/>
            <a:ext cx="931499" cy="931499"/>
          </a:xfrm>
          <a:prstGeom prst="ellipse">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FD9"/>
                </a:solidFill>
              </a:ln>
              <a:solidFill>
                <a:srgbClr val="049FD9"/>
              </a:solidFill>
              <a:cs typeface="Arial"/>
            </a:endParaRPr>
          </a:p>
        </p:txBody>
      </p:sp>
      <p:sp>
        <p:nvSpPr>
          <p:cNvPr id="22" name="Oval 21"/>
          <p:cNvSpPr/>
          <p:nvPr userDrawn="1"/>
        </p:nvSpPr>
        <p:spPr>
          <a:xfrm>
            <a:off x="767480" y="4870791"/>
            <a:ext cx="931499" cy="931499"/>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solidFill>
                <a:srgbClr val="049FD9"/>
              </a:solidFill>
              <a:cs typeface="Arial"/>
            </a:endParaRPr>
          </a:p>
        </p:txBody>
      </p:sp>
      <p:sp>
        <p:nvSpPr>
          <p:cNvPr id="24" name="Text Placeholder 17"/>
          <p:cNvSpPr>
            <a:spLocks noGrp="1"/>
          </p:cNvSpPr>
          <p:nvPr>
            <p:ph type="body" sz="quarter" idx="13"/>
          </p:nvPr>
        </p:nvSpPr>
        <p:spPr>
          <a:xfrm>
            <a:off x="1820333" y="1910030"/>
            <a:ext cx="7298267"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820333" y="3410391"/>
            <a:ext cx="7298267"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820333" y="4870791"/>
            <a:ext cx="7298267"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481" y="1900269"/>
            <a:ext cx="931499" cy="924508"/>
          </a:xfrm>
          <a:prstGeom prst="rect">
            <a:avLst/>
          </a:prstGeom>
        </p:spPr>
        <p:txBody>
          <a:bodyPr lIns="91420" tIns="45710" rIns="91420" bIns="45710" anchor="ctr" anchorCtr="0">
            <a:noAutofit/>
          </a:bodyPr>
          <a:lstStyle>
            <a:lvl1pPr marL="0" indent="0" algn="ctr">
              <a:buNone/>
              <a:defRPr sz="5333"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13" name="Text Placeholder 17"/>
          <p:cNvSpPr>
            <a:spLocks noGrp="1"/>
          </p:cNvSpPr>
          <p:nvPr>
            <p:ph type="body" sz="quarter" idx="17" hasCustomPrompt="1"/>
          </p:nvPr>
        </p:nvSpPr>
        <p:spPr>
          <a:xfrm>
            <a:off x="767480" y="3388917"/>
            <a:ext cx="931499" cy="924508"/>
          </a:xfrm>
          <a:prstGeom prst="rect">
            <a:avLst/>
          </a:prstGeom>
        </p:spPr>
        <p:txBody>
          <a:bodyPr lIns="91420" tIns="45710" rIns="91420" bIns="45710" anchor="ctr" anchorCtr="0">
            <a:noAutofit/>
          </a:bodyPr>
          <a:lstStyle>
            <a:lvl1pPr marL="0" indent="0" algn="ctr">
              <a:buNone/>
              <a:defRPr sz="5333"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14" name="Text Placeholder 17"/>
          <p:cNvSpPr>
            <a:spLocks noGrp="1"/>
          </p:cNvSpPr>
          <p:nvPr>
            <p:ph type="body" sz="quarter" idx="18" hasCustomPrompt="1"/>
          </p:nvPr>
        </p:nvSpPr>
        <p:spPr>
          <a:xfrm>
            <a:off x="767481" y="4877782"/>
            <a:ext cx="931499" cy="924508"/>
          </a:xfrm>
          <a:prstGeom prst="rect">
            <a:avLst/>
          </a:prstGeom>
        </p:spPr>
        <p:txBody>
          <a:bodyPr lIns="91420" tIns="45710" rIns="91420" bIns="45710" anchor="ctr" anchorCtr="0">
            <a:noAutofit/>
          </a:bodyPr>
          <a:lstStyle>
            <a:lvl1pPr marL="0" indent="0" algn="ctr">
              <a:buNone/>
              <a:defRPr sz="5333"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Tree>
    <p:extLst>
      <p:ext uri="{BB962C8B-B14F-4D97-AF65-F5344CB8AC3E}">
        <p14:creationId xmlns:p14="http://schemas.microsoft.com/office/powerpoint/2010/main" val="331321400"/>
      </p:ext>
    </p:extLst>
  </p:cSld>
  <p:clrMapOvr>
    <a:masterClrMapping/>
  </p:clrMapOvr>
  <p:transition spd="slow">
    <p:wip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userDrawn="1"/>
        </p:nvSpPr>
        <p:spPr>
          <a:xfrm>
            <a:off x="767480" y="3403400"/>
            <a:ext cx="931499" cy="931499"/>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solidFill>
                <a:srgbClr val="FFFFFF"/>
              </a:solidFill>
              <a:cs typeface="Arial"/>
            </a:endParaRPr>
          </a:p>
        </p:txBody>
      </p:sp>
      <p:sp>
        <p:nvSpPr>
          <p:cNvPr id="15" name="Oval 14"/>
          <p:cNvSpPr/>
          <p:nvPr userDrawn="1"/>
        </p:nvSpPr>
        <p:spPr>
          <a:xfrm>
            <a:off x="767480" y="1902143"/>
            <a:ext cx="931499" cy="931499"/>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FD9"/>
                </a:solidFill>
              </a:ln>
              <a:solidFill>
                <a:srgbClr val="FFFFFF"/>
              </a:solidFill>
              <a:cs typeface="Arial"/>
            </a:endParaRPr>
          </a:p>
        </p:txBody>
      </p:sp>
      <p:sp>
        <p:nvSpPr>
          <p:cNvPr id="22" name="Oval 21"/>
          <p:cNvSpPr/>
          <p:nvPr userDrawn="1"/>
        </p:nvSpPr>
        <p:spPr>
          <a:xfrm>
            <a:off x="767480" y="4870791"/>
            <a:ext cx="931499" cy="931499"/>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solidFill>
                <a:srgbClr val="049FD9"/>
              </a:solidFill>
              <a:cs typeface="Arial"/>
            </a:endParaRPr>
          </a:p>
        </p:txBody>
      </p:sp>
      <p:sp>
        <p:nvSpPr>
          <p:cNvPr id="24" name="Text Placeholder 17"/>
          <p:cNvSpPr>
            <a:spLocks noGrp="1"/>
          </p:cNvSpPr>
          <p:nvPr>
            <p:ph type="body" sz="quarter" idx="13"/>
          </p:nvPr>
        </p:nvSpPr>
        <p:spPr>
          <a:xfrm>
            <a:off x="1820333" y="1910030"/>
            <a:ext cx="7298267"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820333" y="3410391"/>
            <a:ext cx="7298267"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820333" y="4870791"/>
            <a:ext cx="7298267"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8" name="Text Placeholder 17"/>
          <p:cNvSpPr>
            <a:spLocks noGrp="1"/>
          </p:cNvSpPr>
          <p:nvPr>
            <p:ph type="body" sz="quarter" idx="17" hasCustomPrompt="1"/>
          </p:nvPr>
        </p:nvSpPr>
        <p:spPr>
          <a:xfrm>
            <a:off x="767480" y="3403401"/>
            <a:ext cx="931499" cy="924508"/>
          </a:xfrm>
          <a:prstGeom prst="rect">
            <a:avLst/>
          </a:prstGeom>
        </p:spPr>
        <p:txBody>
          <a:bodyPr lIns="91420" tIns="45710" rIns="91420" bIns="45710" anchor="ctr" anchorCtr="0">
            <a:noAutofit/>
          </a:bodyPr>
          <a:lstStyle>
            <a:lvl1pPr marL="0" indent="0" algn="ctr">
              <a:buNone/>
              <a:defRPr sz="5333"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481" y="4868187"/>
            <a:ext cx="931499" cy="924508"/>
          </a:xfrm>
          <a:prstGeom prst="rect">
            <a:avLst/>
          </a:prstGeom>
          <a:ln>
            <a:noFill/>
          </a:ln>
        </p:spPr>
        <p:txBody>
          <a:bodyPr lIns="91420" tIns="45710" rIns="91420" bIns="45710" anchor="ctr" anchorCtr="0">
            <a:noAutofit/>
          </a:bodyPr>
          <a:lstStyle>
            <a:lvl1pPr marL="0" indent="0" algn="ctr">
              <a:buNone/>
              <a:defRPr sz="5333"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Text Placeholder 17"/>
          <p:cNvSpPr>
            <a:spLocks noGrp="1"/>
          </p:cNvSpPr>
          <p:nvPr>
            <p:ph type="body" sz="quarter" idx="19" hasCustomPrompt="1"/>
          </p:nvPr>
        </p:nvSpPr>
        <p:spPr>
          <a:xfrm>
            <a:off x="767480" y="1902998"/>
            <a:ext cx="931499" cy="924508"/>
          </a:xfrm>
          <a:prstGeom prst="rect">
            <a:avLst/>
          </a:prstGeom>
        </p:spPr>
        <p:txBody>
          <a:bodyPr lIns="91420" tIns="45710" rIns="91420" bIns="45710" anchor="ctr" anchorCtr="0">
            <a:noAutofit/>
          </a:bodyPr>
          <a:lstStyle>
            <a:lvl1pPr marL="0" indent="0" algn="ctr">
              <a:buNone/>
              <a:defRPr sz="5333"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Tree>
    <p:extLst>
      <p:ext uri="{BB962C8B-B14F-4D97-AF65-F5344CB8AC3E}">
        <p14:creationId xmlns:p14="http://schemas.microsoft.com/office/powerpoint/2010/main" val="258765852"/>
      </p:ext>
    </p:extLst>
  </p:cSld>
  <p:clrMapOvr>
    <a:masterClrMapping/>
  </p:clrMapOvr>
  <p:transition spd="slow">
    <p:wip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3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userDrawn="1"/>
        </p:nvSpPr>
        <p:spPr>
          <a:xfrm>
            <a:off x="767482" y="2639092"/>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FD9"/>
                </a:solidFill>
              </a:ln>
              <a:solidFill>
                <a:srgbClr val="049FD9"/>
              </a:solidFill>
              <a:cs typeface="Arial"/>
            </a:endParaRPr>
          </a:p>
        </p:txBody>
      </p:sp>
      <p:sp>
        <p:nvSpPr>
          <p:cNvPr id="15" name="Oval 14"/>
          <p:cNvSpPr/>
          <p:nvPr userDrawn="1"/>
        </p:nvSpPr>
        <p:spPr>
          <a:xfrm>
            <a:off x="767481" y="1771904"/>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FD9"/>
                </a:solidFill>
              </a:ln>
              <a:solidFill>
                <a:srgbClr val="049FD9"/>
              </a:solidFill>
              <a:cs typeface="Arial"/>
            </a:endParaRPr>
          </a:p>
        </p:txBody>
      </p:sp>
      <p:sp>
        <p:nvSpPr>
          <p:cNvPr id="22" name="Oval 21"/>
          <p:cNvSpPr/>
          <p:nvPr userDrawn="1"/>
        </p:nvSpPr>
        <p:spPr>
          <a:xfrm>
            <a:off x="767482" y="3503262"/>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FD9"/>
                </a:solidFill>
              </a:ln>
              <a:solidFill>
                <a:srgbClr val="049FD9"/>
              </a:solidFill>
              <a:cs typeface="Arial"/>
            </a:endParaRPr>
          </a:p>
        </p:txBody>
      </p:sp>
      <p:sp>
        <p:nvSpPr>
          <p:cNvPr id="24" name="Text Placeholder 17"/>
          <p:cNvSpPr>
            <a:spLocks noGrp="1"/>
          </p:cNvSpPr>
          <p:nvPr>
            <p:ph type="body" sz="quarter" idx="13"/>
          </p:nvPr>
        </p:nvSpPr>
        <p:spPr>
          <a:xfrm>
            <a:off x="1563179" y="1779790"/>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3180" y="2646082"/>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3180" y="3503262"/>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482" y="1770029"/>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482" y="2639091"/>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484" y="3500658"/>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userDrawn="1"/>
        </p:nvSpPr>
        <p:spPr>
          <a:xfrm>
            <a:off x="767484" y="4366109"/>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FD9"/>
                </a:solidFill>
              </a:ln>
              <a:solidFill>
                <a:srgbClr val="049FD9"/>
              </a:solidFill>
              <a:cs typeface="Arial"/>
            </a:endParaRPr>
          </a:p>
        </p:txBody>
      </p:sp>
      <p:sp>
        <p:nvSpPr>
          <p:cNvPr id="14" name="Text Placeholder 17"/>
          <p:cNvSpPr>
            <a:spLocks noGrp="1"/>
          </p:cNvSpPr>
          <p:nvPr>
            <p:ph type="body" sz="quarter" idx="19"/>
          </p:nvPr>
        </p:nvSpPr>
        <p:spPr>
          <a:xfrm>
            <a:off x="1563181" y="4366109"/>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485" y="4363505"/>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userDrawn="1"/>
        </p:nvSpPr>
        <p:spPr>
          <a:xfrm>
            <a:off x="767485" y="5228956"/>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FD9"/>
                </a:solidFill>
              </a:ln>
              <a:solidFill>
                <a:srgbClr val="049FD9"/>
              </a:solidFill>
              <a:cs typeface="Arial"/>
            </a:endParaRPr>
          </a:p>
        </p:txBody>
      </p:sp>
      <p:sp>
        <p:nvSpPr>
          <p:cNvPr id="18" name="Text Placeholder 17"/>
          <p:cNvSpPr>
            <a:spLocks noGrp="1"/>
          </p:cNvSpPr>
          <p:nvPr>
            <p:ph type="body" sz="quarter" idx="21"/>
          </p:nvPr>
        </p:nvSpPr>
        <p:spPr>
          <a:xfrm>
            <a:off x="1563183" y="5228955"/>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486" y="5226351"/>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1758922059"/>
      </p:ext>
    </p:extLst>
  </p:cSld>
  <p:clrMapOvr>
    <a:masterClrMapping/>
  </p:clrMapOvr>
  <p:transition spd="slow">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5" y="401389"/>
            <a:ext cx="11417563" cy="3389567"/>
          </a:xfrm>
          <a:prstGeom prst="rect">
            <a:avLst/>
          </a:prstGeom>
        </p:spPr>
        <p:txBody>
          <a:bodyPr vert="horz" lIns="91412" tIns="45710" rIns="91412" bIns="45710"/>
          <a:lstStyle>
            <a:lvl1pPr marL="0" indent="0" algn="ctr">
              <a:buNone/>
              <a:defRPr sz="2900" baseline="0">
                <a:solidFill>
                  <a:srgbClr val="676767"/>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hasCustomPrompt="1"/>
          </p:nvPr>
        </p:nvSpPr>
        <p:spPr>
          <a:xfrm>
            <a:off x="598381" y="4072695"/>
            <a:ext cx="11152315" cy="726479"/>
          </a:xfrm>
          <a:prstGeom prst="rect">
            <a:avLst/>
          </a:prstGeom>
        </p:spPr>
        <p:txBody>
          <a:bodyPr vert="horz" wrap="square" lIns="91432" tIns="45718" rIns="91432" bIns="45718">
            <a:spAutoFit/>
          </a:bodyPr>
          <a:lstStyle>
            <a:lvl1pPr marL="0" indent="0">
              <a:buNone/>
              <a:defRPr sz="4300"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1274357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5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userDrawn="1"/>
        </p:nvSpPr>
        <p:spPr>
          <a:xfrm>
            <a:off x="767482" y="2639092"/>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FD9"/>
                </a:solidFill>
              </a:ln>
              <a:solidFill>
                <a:srgbClr val="049FD9"/>
              </a:solidFill>
              <a:cs typeface="Arial"/>
            </a:endParaRPr>
          </a:p>
        </p:txBody>
      </p:sp>
      <p:sp>
        <p:nvSpPr>
          <p:cNvPr id="15" name="Oval 14"/>
          <p:cNvSpPr/>
          <p:nvPr userDrawn="1"/>
        </p:nvSpPr>
        <p:spPr>
          <a:xfrm>
            <a:off x="767481" y="1771904"/>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FD9"/>
                </a:solidFill>
              </a:ln>
              <a:solidFill>
                <a:srgbClr val="049FD9"/>
              </a:solidFill>
              <a:cs typeface="Arial"/>
            </a:endParaRPr>
          </a:p>
        </p:txBody>
      </p:sp>
      <p:sp>
        <p:nvSpPr>
          <p:cNvPr id="22" name="Oval 21"/>
          <p:cNvSpPr/>
          <p:nvPr userDrawn="1"/>
        </p:nvSpPr>
        <p:spPr>
          <a:xfrm>
            <a:off x="767482" y="3503262"/>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FD9"/>
                </a:solidFill>
              </a:ln>
              <a:solidFill>
                <a:srgbClr val="049FD9"/>
              </a:solidFill>
              <a:cs typeface="Arial"/>
            </a:endParaRPr>
          </a:p>
        </p:txBody>
      </p:sp>
      <p:sp>
        <p:nvSpPr>
          <p:cNvPr id="24" name="Text Placeholder 17"/>
          <p:cNvSpPr>
            <a:spLocks noGrp="1"/>
          </p:cNvSpPr>
          <p:nvPr>
            <p:ph type="body" sz="quarter" idx="13"/>
          </p:nvPr>
        </p:nvSpPr>
        <p:spPr>
          <a:xfrm>
            <a:off x="1563179" y="1779790"/>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3180" y="2646082"/>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3180" y="3503262"/>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482" y="1770029"/>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482" y="2639091"/>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484" y="3500658"/>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userDrawn="1"/>
        </p:nvSpPr>
        <p:spPr>
          <a:xfrm>
            <a:off x="767484" y="4366109"/>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FD9"/>
                </a:solidFill>
              </a:ln>
              <a:solidFill>
                <a:srgbClr val="049FD9"/>
              </a:solidFill>
              <a:cs typeface="Arial"/>
            </a:endParaRPr>
          </a:p>
        </p:txBody>
      </p:sp>
      <p:sp>
        <p:nvSpPr>
          <p:cNvPr id="14" name="Text Placeholder 17"/>
          <p:cNvSpPr>
            <a:spLocks noGrp="1"/>
          </p:cNvSpPr>
          <p:nvPr>
            <p:ph type="body" sz="quarter" idx="19"/>
          </p:nvPr>
        </p:nvSpPr>
        <p:spPr>
          <a:xfrm>
            <a:off x="1563181" y="4366109"/>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485" y="4363505"/>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userDrawn="1"/>
        </p:nvSpPr>
        <p:spPr>
          <a:xfrm>
            <a:off x="767485" y="5228956"/>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FD9"/>
                </a:solidFill>
              </a:ln>
              <a:solidFill>
                <a:srgbClr val="049FD9"/>
              </a:solidFill>
              <a:cs typeface="Arial"/>
            </a:endParaRPr>
          </a:p>
        </p:txBody>
      </p:sp>
      <p:sp>
        <p:nvSpPr>
          <p:cNvPr id="18" name="Text Placeholder 17"/>
          <p:cNvSpPr>
            <a:spLocks noGrp="1"/>
          </p:cNvSpPr>
          <p:nvPr>
            <p:ph type="body" sz="quarter" idx="21"/>
          </p:nvPr>
        </p:nvSpPr>
        <p:spPr>
          <a:xfrm>
            <a:off x="1563183" y="5228955"/>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486" y="5226351"/>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337334792"/>
      </p:ext>
    </p:extLst>
  </p:cSld>
  <p:clrMapOvr>
    <a:masterClrMapping/>
  </p:clrMapOvr>
  <p:transition spd="slow">
    <p:wip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7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userDrawn="1"/>
        </p:nvSpPr>
        <p:spPr>
          <a:xfrm>
            <a:off x="767482" y="2639092"/>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15" name="Oval 14"/>
          <p:cNvSpPr/>
          <p:nvPr userDrawn="1"/>
        </p:nvSpPr>
        <p:spPr>
          <a:xfrm>
            <a:off x="767481" y="1771904"/>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22" name="Oval 21"/>
          <p:cNvSpPr/>
          <p:nvPr userDrawn="1"/>
        </p:nvSpPr>
        <p:spPr>
          <a:xfrm>
            <a:off x="767482" y="3503262"/>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24" name="Text Placeholder 17"/>
          <p:cNvSpPr>
            <a:spLocks noGrp="1"/>
          </p:cNvSpPr>
          <p:nvPr>
            <p:ph type="body" sz="quarter" idx="13"/>
          </p:nvPr>
        </p:nvSpPr>
        <p:spPr>
          <a:xfrm>
            <a:off x="1563179" y="1779790"/>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3180" y="2646082"/>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3180" y="3503262"/>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482" y="1770029"/>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482" y="2639091"/>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484" y="3500658"/>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userDrawn="1"/>
        </p:nvSpPr>
        <p:spPr>
          <a:xfrm>
            <a:off x="767484" y="4366109"/>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14" name="Text Placeholder 17"/>
          <p:cNvSpPr>
            <a:spLocks noGrp="1"/>
          </p:cNvSpPr>
          <p:nvPr>
            <p:ph type="body" sz="quarter" idx="19"/>
          </p:nvPr>
        </p:nvSpPr>
        <p:spPr>
          <a:xfrm>
            <a:off x="1563182" y="4366109"/>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485" y="4363505"/>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userDrawn="1"/>
        </p:nvSpPr>
        <p:spPr>
          <a:xfrm>
            <a:off x="767485" y="5228956"/>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18" name="Text Placeholder 17"/>
          <p:cNvSpPr>
            <a:spLocks noGrp="1"/>
          </p:cNvSpPr>
          <p:nvPr>
            <p:ph type="body" sz="quarter" idx="21"/>
          </p:nvPr>
        </p:nvSpPr>
        <p:spPr>
          <a:xfrm>
            <a:off x="1563183" y="5228955"/>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486" y="5226351"/>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20" name="Oval 19"/>
          <p:cNvSpPr/>
          <p:nvPr userDrawn="1"/>
        </p:nvSpPr>
        <p:spPr>
          <a:xfrm>
            <a:off x="5886102" y="2644113"/>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21" name="Oval 20"/>
          <p:cNvSpPr/>
          <p:nvPr userDrawn="1"/>
        </p:nvSpPr>
        <p:spPr>
          <a:xfrm>
            <a:off x="5886101" y="1776925"/>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23" name="Oval 22"/>
          <p:cNvSpPr/>
          <p:nvPr userDrawn="1"/>
        </p:nvSpPr>
        <p:spPr>
          <a:xfrm>
            <a:off x="5886102" y="3508284"/>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30" name="Text Placeholder 17"/>
          <p:cNvSpPr>
            <a:spLocks noGrp="1"/>
          </p:cNvSpPr>
          <p:nvPr>
            <p:ph type="body" sz="quarter" idx="23"/>
          </p:nvPr>
        </p:nvSpPr>
        <p:spPr>
          <a:xfrm>
            <a:off x="6681799" y="1784811"/>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1" name="Text Placeholder 17"/>
          <p:cNvSpPr>
            <a:spLocks noGrp="1"/>
          </p:cNvSpPr>
          <p:nvPr>
            <p:ph type="body" sz="quarter" idx="24"/>
          </p:nvPr>
        </p:nvSpPr>
        <p:spPr>
          <a:xfrm>
            <a:off x="6681800" y="2651103"/>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2" name="Text Placeholder 17"/>
          <p:cNvSpPr>
            <a:spLocks noGrp="1"/>
          </p:cNvSpPr>
          <p:nvPr>
            <p:ph type="body" sz="quarter" idx="25"/>
          </p:nvPr>
        </p:nvSpPr>
        <p:spPr>
          <a:xfrm>
            <a:off x="6681800" y="3508283"/>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3" name="Text Placeholder 17"/>
          <p:cNvSpPr>
            <a:spLocks noGrp="1"/>
          </p:cNvSpPr>
          <p:nvPr>
            <p:ph type="body" sz="quarter" idx="26" hasCustomPrompt="1"/>
          </p:nvPr>
        </p:nvSpPr>
        <p:spPr>
          <a:xfrm>
            <a:off x="5886102" y="1775050"/>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34" name="Text Placeholder 17"/>
          <p:cNvSpPr>
            <a:spLocks noGrp="1"/>
          </p:cNvSpPr>
          <p:nvPr>
            <p:ph type="body" sz="quarter" idx="27" hasCustomPrompt="1"/>
          </p:nvPr>
        </p:nvSpPr>
        <p:spPr>
          <a:xfrm>
            <a:off x="5886102" y="2644113"/>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35" name="Text Placeholder 17"/>
          <p:cNvSpPr>
            <a:spLocks noGrp="1"/>
          </p:cNvSpPr>
          <p:nvPr>
            <p:ph type="body" sz="quarter" idx="28" hasCustomPrompt="1"/>
          </p:nvPr>
        </p:nvSpPr>
        <p:spPr>
          <a:xfrm>
            <a:off x="5886104" y="3505679"/>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36" name="Oval 35"/>
          <p:cNvSpPr/>
          <p:nvPr userDrawn="1"/>
        </p:nvSpPr>
        <p:spPr>
          <a:xfrm>
            <a:off x="5886104" y="4371130"/>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37" name="Text Placeholder 17"/>
          <p:cNvSpPr>
            <a:spLocks noGrp="1"/>
          </p:cNvSpPr>
          <p:nvPr>
            <p:ph type="body" sz="quarter" idx="29"/>
          </p:nvPr>
        </p:nvSpPr>
        <p:spPr>
          <a:xfrm>
            <a:off x="6681801" y="4371130"/>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8" name="Text Placeholder 17"/>
          <p:cNvSpPr>
            <a:spLocks noGrp="1"/>
          </p:cNvSpPr>
          <p:nvPr>
            <p:ph type="body" sz="quarter" idx="30" hasCustomPrompt="1"/>
          </p:nvPr>
        </p:nvSpPr>
        <p:spPr>
          <a:xfrm>
            <a:off x="5886105" y="4368526"/>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39" name="Oval 38"/>
          <p:cNvSpPr/>
          <p:nvPr userDrawn="1"/>
        </p:nvSpPr>
        <p:spPr>
          <a:xfrm>
            <a:off x="5886105" y="5233977"/>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40" name="Text Placeholder 17"/>
          <p:cNvSpPr>
            <a:spLocks noGrp="1"/>
          </p:cNvSpPr>
          <p:nvPr>
            <p:ph type="body" sz="quarter" idx="31"/>
          </p:nvPr>
        </p:nvSpPr>
        <p:spPr>
          <a:xfrm>
            <a:off x="6681803" y="5233977"/>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1" name="Text Placeholder 17"/>
          <p:cNvSpPr>
            <a:spLocks noGrp="1"/>
          </p:cNvSpPr>
          <p:nvPr>
            <p:ph type="body" sz="quarter" idx="32" hasCustomPrompt="1"/>
          </p:nvPr>
        </p:nvSpPr>
        <p:spPr>
          <a:xfrm>
            <a:off x="5886106" y="5231373"/>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866327224"/>
      </p:ext>
    </p:extLst>
  </p:cSld>
  <p:clrMapOvr>
    <a:masterClrMapping/>
  </p:clrMapOvr>
  <p:transition spd="slow">
    <p:wip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6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2" name="Oval 41"/>
          <p:cNvSpPr/>
          <p:nvPr userDrawn="1"/>
        </p:nvSpPr>
        <p:spPr>
          <a:xfrm>
            <a:off x="767482" y="2639092"/>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43" name="Oval 42"/>
          <p:cNvSpPr/>
          <p:nvPr userDrawn="1"/>
        </p:nvSpPr>
        <p:spPr>
          <a:xfrm>
            <a:off x="767481" y="1771904"/>
            <a:ext cx="619753" cy="619753"/>
          </a:xfrm>
          <a:prstGeom prst="ellipse">
            <a:avLst/>
          </a:prstGeom>
          <a:solidFill>
            <a:schemeClr val="bg2"/>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FFFFFF"/>
              </a:solidFill>
              <a:cs typeface="Arial"/>
            </a:endParaRPr>
          </a:p>
        </p:txBody>
      </p:sp>
      <p:sp>
        <p:nvSpPr>
          <p:cNvPr id="44" name="Oval 43"/>
          <p:cNvSpPr/>
          <p:nvPr userDrawn="1"/>
        </p:nvSpPr>
        <p:spPr>
          <a:xfrm>
            <a:off x="767482" y="3503262"/>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45" name="Text Placeholder 17"/>
          <p:cNvSpPr>
            <a:spLocks noGrp="1"/>
          </p:cNvSpPr>
          <p:nvPr>
            <p:ph type="body" sz="quarter" idx="13"/>
          </p:nvPr>
        </p:nvSpPr>
        <p:spPr>
          <a:xfrm>
            <a:off x="1563179" y="1779790"/>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6" name="Text Placeholder 17"/>
          <p:cNvSpPr>
            <a:spLocks noGrp="1"/>
          </p:cNvSpPr>
          <p:nvPr>
            <p:ph type="body" sz="quarter" idx="14"/>
          </p:nvPr>
        </p:nvSpPr>
        <p:spPr>
          <a:xfrm>
            <a:off x="1563180" y="2646082"/>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7" name="Text Placeholder 17"/>
          <p:cNvSpPr>
            <a:spLocks noGrp="1"/>
          </p:cNvSpPr>
          <p:nvPr>
            <p:ph type="body" sz="quarter" idx="15"/>
          </p:nvPr>
        </p:nvSpPr>
        <p:spPr>
          <a:xfrm>
            <a:off x="1563180" y="3503262"/>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8" name="Text Placeholder 17"/>
          <p:cNvSpPr>
            <a:spLocks noGrp="1"/>
          </p:cNvSpPr>
          <p:nvPr>
            <p:ph type="body" sz="quarter" idx="16" hasCustomPrompt="1"/>
          </p:nvPr>
        </p:nvSpPr>
        <p:spPr>
          <a:xfrm>
            <a:off x="767482" y="1770029"/>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49" name="Text Placeholder 17"/>
          <p:cNvSpPr>
            <a:spLocks noGrp="1"/>
          </p:cNvSpPr>
          <p:nvPr>
            <p:ph type="body" sz="quarter" idx="17" hasCustomPrompt="1"/>
          </p:nvPr>
        </p:nvSpPr>
        <p:spPr>
          <a:xfrm>
            <a:off x="767482" y="2639091"/>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50" name="Text Placeholder 17"/>
          <p:cNvSpPr>
            <a:spLocks noGrp="1"/>
          </p:cNvSpPr>
          <p:nvPr>
            <p:ph type="body" sz="quarter" idx="18" hasCustomPrompt="1"/>
          </p:nvPr>
        </p:nvSpPr>
        <p:spPr>
          <a:xfrm>
            <a:off x="767484" y="3500658"/>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51" name="Oval 50"/>
          <p:cNvSpPr/>
          <p:nvPr userDrawn="1"/>
        </p:nvSpPr>
        <p:spPr>
          <a:xfrm>
            <a:off x="767484" y="4366109"/>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52" name="Text Placeholder 17"/>
          <p:cNvSpPr>
            <a:spLocks noGrp="1"/>
          </p:cNvSpPr>
          <p:nvPr>
            <p:ph type="body" sz="quarter" idx="19"/>
          </p:nvPr>
        </p:nvSpPr>
        <p:spPr>
          <a:xfrm>
            <a:off x="1563182" y="4366109"/>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3" name="Text Placeholder 17"/>
          <p:cNvSpPr>
            <a:spLocks noGrp="1"/>
          </p:cNvSpPr>
          <p:nvPr>
            <p:ph type="body" sz="quarter" idx="20" hasCustomPrompt="1"/>
          </p:nvPr>
        </p:nvSpPr>
        <p:spPr>
          <a:xfrm>
            <a:off x="767485" y="4363505"/>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54" name="Oval 53"/>
          <p:cNvSpPr/>
          <p:nvPr userDrawn="1"/>
        </p:nvSpPr>
        <p:spPr>
          <a:xfrm>
            <a:off x="767485" y="5228956"/>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55" name="Text Placeholder 17"/>
          <p:cNvSpPr>
            <a:spLocks noGrp="1"/>
          </p:cNvSpPr>
          <p:nvPr>
            <p:ph type="body" sz="quarter" idx="21"/>
          </p:nvPr>
        </p:nvSpPr>
        <p:spPr>
          <a:xfrm>
            <a:off x="1563183" y="5228955"/>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6" name="Text Placeholder 17"/>
          <p:cNvSpPr>
            <a:spLocks noGrp="1"/>
          </p:cNvSpPr>
          <p:nvPr>
            <p:ph type="body" sz="quarter" idx="22" hasCustomPrompt="1"/>
          </p:nvPr>
        </p:nvSpPr>
        <p:spPr>
          <a:xfrm>
            <a:off x="767486" y="5226351"/>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57" name="Oval 56"/>
          <p:cNvSpPr/>
          <p:nvPr userDrawn="1"/>
        </p:nvSpPr>
        <p:spPr>
          <a:xfrm>
            <a:off x="5886102" y="2644113"/>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58" name="Oval 57"/>
          <p:cNvSpPr/>
          <p:nvPr userDrawn="1"/>
        </p:nvSpPr>
        <p:spPr>
          <a:xfrm>
            <a:off x="5886101" y="1776925"/>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59" name="Oval 58"/>
          <p:cNvSpPr/>
          <p:nvPr userDrawn="1"/>
        </p:nvSpPr>
        <p:spPr>
          <a:xfrm>
            <a:off x="5886102" y="3508284"/>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60" name="Text Placeholder 17"/>
          <p:cNvSpPr>
            <a:spLocks noGrp="1"/>
          </p:cNvSpPr>
          <p:nvPr>
            <p:ph type="body" sz="quarter" idx="23"/>
          </p:nvPr>
        </p:nvSpPr>
        <p:spPr>
          <a:xfrm>
            <a:off x="6681799" y="1784811"/>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1" name="Text Placeholder 17"/>
          <p:cNvSpPr>
            <a:spLocks noGrp="1"/>
          </p:cNvSpPr>
          <p:nvPr>
            <p:ph type="body" sz="quarter" idx="24"/>
          </p:nvPr>
        </p:nvSpPr>
        <p:spPr>
          <a:xfrm>
            <a:off x="6681800" y="2651103"/>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2" name="Text Placeholder 17"/>
          <p:cNvSpPr>
            <a:spLocks noGrp="1"/>
          </p:cNvSpPr>
          <p:nvPr>
            <p:ph type="body" sz="quarter" idx="25"/>
          </p:nvPr>
        </p:nvSpPr>
        <p:spPr>
          <a:xfrm>
            <a:off x="6681800" y="3508283"/>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3" name="Text Placeholder 17"/>
          <p:cNvSpPr>
            <a:spLocks noGrp="1"/>
          </p:cNvSpPr>
          <p:nvPr>
            <p:ph type="body" sz="quarter" idx="26" hasCustomPrompt="1"/>
          </p:nvPr>
        </p:nvSpPr>
        <p:spPr>
          <a:xfrm>
            <a:off x="5886102" y="1775050"/>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64" name="Text Placeholder 17"/>
          <p:cNvSpPr>
            <a:spLocks noGrp="1"/>
          </p:cNvSpPr>
          <p:nvPr>
            <p:ph type="body" sz="quarter" idx="27" hasCustomPrompt="1"/>
          </p:nvPr>
        </p:nvSpPr>
        <p:spPr>
          <a:xfrm>
            <a:off x="5886102" y="2644113"/>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65" name="Text Placeholder 17"/>
          <p:cNvSpPr>
            <a:spLocks noGrp="1"/>
          </p:cNvSpPr>
          <p:nvPr>
            <p:ph type="body" sz="quarter" idx="28" hasCustomPrompt="1"/>
          </p:nvPr>
        </p:nvSpPr>
        <p:spPr>
          <a:xfrm>
            <a:off x="5886104" y="3505679"/>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66" name="Oval 65"/>
          <p:cNvSpPr/>
          <p:nvPr userDrawn="1"/>
        </p:nvSpPr>
        <p:spPr>
          <a:xfrm>
            <a:off x="5886104" y="4371130"/>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67" name="Text Placeholder 17"/>
          <p:cNvSpPr>
            <a:spLocks noGrp="1"/>
          </p:cNvSpPr>
          <p:nvPr>
            <p:ph type="body" sz="quarter" idx="29"/>
          </p:nvPr>
        </p:nvSpPr>
        <p:spPr>
          <a:xfrm>
            <a:off x="6681801" y="4371130"/>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8" name="Text Placeholder 17"/>
          <p:cNvSpPr>
            <a:spLocks noGrp="1"/>
          </p:cNvSpPr>
          <p:nvPr>
            <p:ph type="body" sz="quarter" idx="30" hasCustomPrompt="1"/>
          </p:nvPr>
        </p:nvSpPr>
        <p:spPr>
          <a:xfrm>
            <a:off x="5886105" y="4368526"/>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69" name="Oval 68"/>
          <p:cNvSpPr/>
          <p:nvPr userDrawn="1"/>
        </p:nvSpPr>
        <p:spPr>
          <a:xfrm>
            <a:off x="5886105" y="5233977"/>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FD9"/>
                </a:solidFill>
              </a:ln>
              <a:solidFill>
                <a:srgbClr val="049FD9"/>
              </a:solidFill>
              <a:cs typeface="Arial"/>
            </a:endParaRPr>
          </a:p>
        </p:txBody>
      </p:sp>
      <p:sp>
        <p:nvSpPr>
          <p:cNvPr id="70" name="Text Placeholder 17"/>
          <p:cNvSpPr>
            <a:spLocks noGrp="1"/>
          </p:cNvSpPr>
          <p:nvPr>
            <p:ph type="body" sz="quarter" idx="31"/>
          </p:nvPr>
        </p:nvSpPr>
        <p:spPr>
          <a:xfrm>
            <a:off x="6681803" y="5233977"/>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71" name="Text Placeholder 17"/>
          <p:cNvSpPr>
            <a:spLocks noGrp="1"/>
          </p:cNvSpPr>
          <p:nvPr>
            <p:ph type="body" sz="quarter" idx="32" hasCustomPrompt="1"/>
          </p:nvPr>
        </p:nvSpPr>
        <p:spPr>
          <a:xfrm>
            <a:off x="5886106" y="5231373"/>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1832167174"/>
      </p:ext>
    </p:extLst>
  </p:cSld>
  <p:clrMapOvr>
    <a:masterClrMapping/>
  </p:clrMapOvr>
  <p:transition spd="slow">
    <p:wip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85" y="6172201"/>
            <a:ext cx="977900" cy="4868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a:t>Drag picture to placeholder or click icon to add</a:t>
            </a:r>
            <a:endParaRPr lang="en-US" noProof="0" dirty="0"/>
          </a:p>
        </p:txBody>
      </p:sp>
      <p:sp>
        <p:nvSpPr>
          <p:cNvPr id="6" name="Text Placeholder 2"/>
          <p:cNvSpPr>
            <a:spLocks noGrp="1"/>
          </p:cNvSpPr>
          <p:nvPr>
            <p:ph type="body" sz="quarter" idx="11"/>
          </p:nvPr>
        </p:nvSpPr>
        <p:spPr bwMode="auto">
          <a:xfrm>
            <a:off x="666751" y="4635530"/>
            <a:ext cx="10852149" cy="694207"/>
          </a:xfrm>
          <a:prstGeom prst="rect">
            <a:avLst/>
          </a:prstGeom>
          <a:solidFill>
            <a:schemeClr val="bg1">
              <a:alpha val="70000"/>
            </a:schemeClr>
          </a:solidFill>
        </p:spPr>
        <p:txBody>
          <a:bodyPr wrap="square" lIns="108000" tIns="0" rIns="91440" bIns="45720" numCol="1" anchor="ctr" anchorCtr="0" compatLnSpc="1">
            <a:prstTxWarp prst="textNoShape">
              <a:avLst/>
            </a:prstTxWarp>
            <a:spAutoFit/>
          </a:bodyPr>
          <a:lstStyle>
            <a:lvl1pPr marL="230394" indent="0">
              <a:lnSpc>
                <a:spcPts val="4907"/>
              </a:lnSpc>
              <a:spcBef>
                <a:spcPts val="0"/>
              </a:spcBef>
              <a:buNone/>
              <a:defRPr sz="3200" i="1">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1237971927"/>
      </p:ext>
    </p:extLst>
  </p:cSld>
  <p:clrMapOvr>
    <a:masterClrMapping/>
  </p:clrMapOvr>
  <p:transition spd="med">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4" y="401383"/>
            <a:ext cx="11417563" cy="3389567"/>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a:t>Drag picture to placeholder or click icon to add</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130810240"/>
      </p:ext>
    </p:extLst>
  </p:cSld>
  <p:clrMapOvr>
    <a:masterClrMapping/>
  </p:clrMapOvr>
  <p:transition spd="med">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85" y="6172201"/>
            <a:ext cx="977900" cy="4868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1365964377"/>
      </p:ext>
    </p:extLst>
  </p:cSld>
  <p:clrMapOvr>
    <a:masterClrMapping/>
  </p:clrMapOvr>
  <p:transition spd="med">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0_Full bleed photo">
    <p:spTree>
      <p:nvGrpSpPr>
        <p:cNvPr id="1" name=""/>
        <p:cNvGrpSpPr/>
        <p:nvPr/>
      </p:nvGrpSpPr>
      <p:grpSpPr>
        <a:xfrm>
          <a:off x="0" y="0"/>
          <a:ext cx="0" cy="0"/>
          <a:chOff x="0" y="0"/>
          <a:chExt cx="0" cy="0"/>
        </a:xfrm>
      </p:grpSpPr>
      <p:pic>
        <p:nvPicPr>
          <p:cNvPr id="3" name="Picture Placeholder 2"/>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1" y="0"/>
            <a:ext cx="12196233"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Rectangle 7"/>
          <p:cNvSpPr>
            <a:spLocks noChangeArrowheads="1"/>
          </p:cNvSpPr>
          <p:nvPr/>
        </p:nvSpPr>
        <p:spPr bwMode="ltGray">
          <a:xfrm>
            <a:off x="11354627" y="6323876"/>
            <a:ext cx="290868" cy="206025"/>
          </a:xfrm>
          <a:prstGeom prst="rect">
            <a:avLst/>
          </a:prstGeom>
          <a:noFill/>
          <a:ln w="9525" algn="ctr">
            <a:noFill/>
            <a:miter lim="800000"/>
            <a:headEnd/>
            <a:tailEnd/>
          </a:ln>
          <a:effectLst/>
        </p:spPr>
        <p:txBody>
          <a:bodyPr wrap="none" lIns="82115" tIns="41056" rIns="82115" bIns="41056" anchor="b">
            <a:spAutoFit/>
          </a:bodyPr>
          <a:lstStyle/>
          <a:p>
            <a:pPr algn="r" defTabSz="814305">
              <a:defRPr/>
            </a:pPr>
            <a:fld id="{E6ADCC75-5E05-4D7E-970D-6B4505B4F777}" type="slidenum">
              <a:rPr lang="en-US" sz="800">
                <a:solidFill>
                  <a:srgbClr val="FFFFFF">
                    <a:alpha val="60000"/>
                  </a:srgbClr>
                </a:solidFill>
                <a:cs typeface="CiscoSans Thin"/>
              </a:rPr>
              <a:pPr algn="r" defTabSz="814305">
                <a:defRPr/>
              </a:pPr>
              <a:t>‹#›</a:t>
            </a:fld>
            <a:endParaRPr lang="en-US" sz="800" dirty="0">
              <a:solidFill>
                <a:srgbClr val="FFFFFF">
                  <a:alpha val="60000"/>
                </a:srgbClr>
              </a:solidFill>
              <a:cs typeface="CiscoSans Thin"/>
            </a:endParaRPr>
          </a:p>
        </p:txBody>
      </p:sp>
      <p:sp>
        <p:nvSpPr>
          <p:cNvPr id="6" name="Rectangle 4"/>
          <p:cNvSpPr>
            <a:spLocks noChangeArrowheads="1"/>
          </p:cNvSpPr>
          <p:nvPr/>
        </p:nvSpPr>
        <p:spPr bwMode="ltGray">
          <a:xfrm>
            <a:off x="7823344" y="6322205"/>
            <a:ext cx="3544024" cy="206025"/>
          </a:xfrm>
          <a:prstGeom prst="rect">
            <a:avLst/>
          </a:prstGeom>
          <a:noFill/>
          <a:ln w="9525">
            <a:noFill/>
            <a:miter lim="800000"/>
            <a:headEnd/>
            <a:tailEnd/>
          </a:ln>
          <a:effectLst/>
        </p:spPr>
        <p:txBody>
          <a:bodyPr lIns="82115" tIns="41056" rIns="82115" bIns="41056" anchor="b">
            <a:spAutoFit/>
          </a:bodyPr>
          <a:lstStyle/>
          <a:p>
            <a:pPr defTabSz="814305">
              <a:defRPr/>
            </a:pPr>
            <a:r>
              <a:rPr lang="en-US" sz="800" dirty="0">
                <a:solidFill>
                  <a:srgbClr val="FFFFFF">
                    <a:alpha val="60000"/>
                  </a:srgbClr>
                </a:solidFill>
                <a:cs typeface="CiscoSans Thin"/>
              </a:rPr>
              <a:t>© 2016  Cisco and/or its affiliates. All rights reserved.   Cisco Confidential</a:t>
            </a:r>
          </a:p>
        </p:txBody>
      </p:sp>
      <p:sp>
        <p:nvSpPr>
          <p:cNvPr id="14" name="Text Placeholder 2"/>
          <p:cNvSpPr>
            <a:spLocks noGrp="1"/>
          </p:cNvSpPr>
          <p:nvPr>
            <p:ph type="body" sz="quarter" idx="12"/>
          </p:nvPr>
        </p:nvSpPr>
        <p:spPr bwMode="auto">
          <a:xfrm>
            <a:off x="666751" y="4622131"/>
            <a:ext cx="10852149" cy="695347"/>
          </a:xfrm>
          <a:prstGeom prst="rect">
            <a:avLst/>
          </a:prstGeom>
          <a:solidFill>
            <a:schemeClr val="bg1">
              <a:alpha val="70000"/>
            </a:schemeClr>
          </a:solidFill>
        </p:spPr>
        <p:txBody>
          <a:bodyPr wrap="square" lIns="108000" tIns="0" rIns="91440" bIns="45720" numCol="1" anchor="b" anchorCtr="0" compatLnSpc="1">
            <a:prstTxWarp prst="textNoShape">
              <a:avLst/>
            </a:prstTxWarp>
            <a:spAutoFit/>
          </a:bodyPr>
          <a:lstStyle>
            <a:lvl1pPr marL="230394" indent="-239994">
              <a:lnSpc>
                <a:spcPts val="4907"/>
              </a:lnSpc>
              <a:spcBef>
                <a:spcPts val="0"/>
              </a:spcBef>
              <a:buNone/>
              <a:defRPr sz="4267" i="1">
                <a:solidFill>
                  <a:srgbClr val="58585B"/>
                </a:solidFill>
              </a:defRPr>
            </a:lvl1pPr>
          </a:lstStyle>
          <a:p>
            <a:pPr lvl="0"/>
            <a:r>
              <a:rPr lang="en-US" dirty="0"/>
              <a:t>Click to edit Master text styles</a:t>
            </a:r>
          </a:p>
        </p:txBody>
      </p:sp>
      <p:pic>
        <p:nvPicPr>
          <p:cNvPr id="11" name="Picture 2"/>
          <p:cNvPicPr>
            <a:picLocks noChangeAspect="1" noChangeArrowheads="1"/>
          </p:cNvPicPr>
          <p:nvPr userDrawn="1"/>
        </p:nvPicPr>
        <p:blipFill>
          <a:blip r:embed="rId3">
            <a:biLevel thresh="25000"/>
            <a:extLst>
              <a:ext uri="{28A0092B-C50C-407E-A947-70E740481C1C}">
                <a14:useLocalDpi xmlns:a14="http://schemas.microsoft.com/office/drawing/2010/main"/>
              </a:ext>
            </a:extLst>
          </a:blip>
          <a:stretch>
            <a:fillRect/>
          </a:stretch>
        </p:blipFill>
        <p:spPr bwMode="auto">
          <a:xfrm>
            <a:off x="636905" y="6167967"/>
            <a:ext cx="565573" cy="35348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788720869"/>
      </p:ext>
    </p:extLst>
  </p:cSld>
  <p:clrMapOvr>
    <a:masterClrMapping/>
  </p:clrMapOvr>
  <p:transition spd="med">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3" y="320842"/>
            <a:ext cx="11307184" cy="5688861"/>
          </a:xfrm>
          <a:prstGeom prst="rect">
            <a:avLst/>
          </a:prstGeom>
        </p:spPr>
        <p:txBody>
          <a:bodyPr vert="horz" lIns="91424" tIns="45712" rIns="91424" bIns="45712"/>
          <a:lstStyle>
            <a:lvl1pPr marL="0" indent="0" algn="ctr">
              <a:buNone/>
              <a:defRPr sz="2000" baseline="0">
                <a:solidFill>
                  <a:schemeClr val="tx2"/>
                </a:solidFill>
                <a:latin typeface="+mn-lt"/>
                <a:cs typeface="CiscoSans ExtraLight"/>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1532835639"/>
      </p:ext>
    </p:extLst>
  </p:cSld>
  <p:clrMapOvr>
    <a:masterClrMapping/>
  </p:clrMapOvr>
  <p:transition spd="med">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4" name="Rectangle 3"/>
          <p:cNvSpPr/>
          <p:nvPr/>
        </p:nvSpPr>
        <p:spPr>
          <a:xfrm>
            <a:off x="2523067" y="795867"/>
            <a:ext cx="7131051" cy="40047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defTabSz="609585">
              <a:defRPr/>
            </a:pPr>
            <a:endParaRPr lang="en-US" sz="2400">
              <a:solidFill>
                <a:srgbClr val="FFFFFF"/>
              </a:solidFill>
            </a:endParaRPr>
          </a:p>
        </p:txBody>
      </p:sp>
      <p:sp>
        <p:nvSpPr>
          <p:cNvPr id="5" name="Rectangle 4"/>
          <p:cNvSpPr/>
          <p:nvPr/>
        </p:nvSpPr>
        <p:spPr>
          <a:xfrm>
            <a:off x="2523067" y="4794251"/>
            <a:ext cx="7128933" cy="99694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defTabSz="609585">
              <a:defRPr/>
            </a:pPr>
            <a:endParaRPr lang="en-US" sz="2400">
              <a:solidFill>
                <a:srgbClr val="FFFFFF"/>
              </a:solidFill>
            </a:endParaRPr>
          </a:p>
        </p:txBody>
      </p:sp>
      <p:sp>
        <p:nvSpPr>
          <p:cNvPr id="26" name="Picture Placeholder 25"/>
          <p:cNvSpPr>
            <a:spLocks noGrp="1"/>
          </p:cNvSpPr>
          <p:nvPr>
            <p:ph type="pic" sz="quarter" idx="10"/>
          </p:nvPr>
        </p:nvSpPr>
        <p:spPr>
          <a:xfrm>
            <a:off x="2533651" y="795528"/>
            <a:ext cx="7105651" cy="4005072"/>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Drag picture to placeholder or click icon to add</a:t>
            </a:r>
            <a:endParaRPr lang="en-US" noProof="0" dirty="0"/>
          </a:p>
        </p:txBody>
      </p:sp>
      <p:sp>
        <p:nvSpPr>
          <p:cNvPr id="11" name="Title 10"/>
          <p:cNvSpPr>
            <a:spLocks noGrp="1"/>
          </p:cNvSpPr>
          <p:nvPr>
            <p:ph type="title"/>
          </p:nvPr>
        </p:nvSpPr>
        <p:spPr>
          <a:xfrm>
            <a:off x="2754495" y="4873439"/>
            <a:ext cx="6765427" cy="838200"/>
          </a:xfrm>
        </p:spPr>
        <p:txBody>
          <a:bodyPr/>
          <a:lstStyle>
            <a:lvl1pPr>
              <a:defRPr sz="2667">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16195368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4" name="Rectangle 3"/>
          <p:cNvSpPr/>
          <p:nvPr/>
        </p:nvSpPr>
        <p:spPr>
          <a:xfrm>
            <a:off x="732367" y="311151"/>
            <a:ext cx="4364567" cy="24595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defTabSz="609585">
              <a:defRPr/>
            </a:pPr>
            <a:endParaRPr lang="en-US" sz="2400">
              <a:solidFill>
                <a:srgbClr val="FFFFFF"/>
              </a:solidFill>
            </a:endParaRPr>
          </a:p>
        </p:txBody>
      </p:sp>
      <p:sp>
        <p:nvSpPr>
          <p:cNvPr id="26" name="Picture Placeholder 25"/>
          <p:cNvSpPr>
            <a:spLocks noGrp="1"/>
          </p:cNvSpPr>
          <p:nvPr>
            <p:ph type="pic" sz="quarter" idx="10"/>
          </p:nvPr>
        </p:nvSpPr>
        <p:spPr>
          <a:xfrm>
            <a:off x="733321" y="310896"/>
            <a:ext cx="4364736" cy="2459736"/>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914346"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pPr lvl="0"/>
            <a:r>
              <a:rPr lang="en-US" noProof="0"/>
              <a:t>Drag picture to placeholder or click icon to add</a:t>
            </a:r>
            <a:endParaRPr lang="en-US" noProof="0" dirty="0"/>
          </a:p>
        </p:txBody>
      </p:sp>
      <p:sp>
        <p:nvSpPr>
          <p:cNvPr id="9" name="Title 8"/>
          <p:cNvSpPr>
            <a:spLocks noGrp="1"/>
          </p:cNvSpPr>
          <p:nvPr>
            <p:ph type="title"/>
          </p:nvPr>
        </p:nvSpPr>
        <p:spPr>
          <a:xfrm>
            <a:off x="574581" y="3307591"/>
            <a:ext cx="8973153" cy="2152559"/>
          </a:xfrm>
        </p:spPr>
        <p:txBody>
          <a:bodyPr>
            <a:noAutofit/>
          </a:bodyPr>
          <a:lstStyle>
            <a:lvl1pPr marL="0" marR="0" indent="0" algn="l" defTabSz="914346" rtl="0" eaLnBrk="1" fontAlgn="auto" latinLnBrk="0" hangingPunct="1">
              <a:lnSpc>
                <a:spcPct val="80000"/>
              </a:lnSpc>
              <a:spcBef>
                <a:spcPct val="0"/>
              </a:spcBef>
              <a:spcAft>
                <a:spcPts val="0"/>
              </a:spcAft>
              <a:buClrTx/>
              <a:buSzTx/>
              <a:buFontTx/>
              <a:buNone/>
              <a:tabLst/>
              <a:defRPr sz="60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95165066"/>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9_Full bleed photo">
    <p:spTree>
      <p:nvGrpSpPr>
        <p:cNvPr id="1" name=""/>
        <p:cNvGrpSpPr/>
        <p:nvPr/>
      </p:nvGrpSpPr>
      <p:grpSpPr>
        <a:xfrm>
          <a:off x="0" y="0"/>
          <a:ext cx="0" cy="0"/>
          <a:chOff x="0" y="0"/>
          <a:chExt cx="0" cy="0"/>
        </a:xfrm>
      </p:grpSpPr>
      <p:pic>
        <p:nvPicPr>
          <p:cNvPr id="12" name="Picture Placeholder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96464" cy="6858000"/>
          </a:xfrm>
          <a:prstGeom prst="rect">
            <a:avLst/>
          </a:prstGeom>
        </p:spPr>
      </p:pic>
      <p:sp>
        <p:nvSpPr>
          <p:cNvPr id="14" name="Text Placeholder 2"/>
          <p:cNvSpPr>
            <a:spLocks noGrp="1"/>
          </p:cNvSpPr>
          <p:nvPr>
            <p:ph type="body" sz="quarter" idx="12" hasCustomPrompt="1"/>
          </p:nvPr>
        </p:nvSpPr>
        <p:spPr bwMode="auto">
          <a:xfrm>
            <a:off x="666752" y="4634961"/>
            <a:ext cx="10852149" cy="695347"/>
          </a:xfrm>
          <a:prstGeom prst="rect">
            <a:avLst/>
          </a:prstGeom>
          <a:solidFill>
            <a:schemeClr val="bg1">
              <a:alpha val="70000"/>
            </a:schemeClr>
          </a:solidFill>
        </p:spPr>
        <p:txBody>
          <a:bodyPr wrap="square" lIns="107989" tIns="0" rIns="91432" bIns="45718" numCol="1" anchor="b" anchorCtr="0" compatLnSpc="1">
            <a:prstTxWarp prst="textNoShape">
              <a:avLst/>
            </a:prstTxWarp>
            <a:spAutoFit/>
          </a:bodyPr>
          <a:lstStyle>
            <a:lvl1pPr marL="230373" indent="-239971">
              <a:lnSpc>
                <a:spcPts val="4907"/>
              </a:lnSpc>
              <a:spcBef>
                <a:spcPts val="0"/>
              </a:spcBef>
              <a:buNone/>
              <a:defRPr sz="4300" i="1"/>
            </a:lvl1pPr>
          </a:lstStyle>
          <a:p>
            <a:pPr lvl="0"/>
            <a:r>
              <a:rPr lang="en-GB" dirty="0"/>
              <a:t>Text Goes Here</a:t>
            </a:r>
          </a:p>
        </p:txBody>
      </p:sp>
      <p:pic>
        <p:nvPicPr>
          <p:cNvPr id="11" name="Picture 2" descr="C:\Users\spius\Pictures\cisco logo blue gradient.png"/>
          <p:cNvPicPr>
            <a:picLocks noChangeAspect="1" noChangeArrowheads="1"/>
          </p:cNvPicPr>
          <p:nvPr/>
        </p:nvPicPr>
        <p:blipFill>
          <a:blip r:embed="rId3" cstate="print">
            <a:biLevel thresh="25000"/>
            <a:extLst>
              <a:ext uri="{28A0092B-C50C-407E-A947-70E740481C1C}">
                <a14:useLocalDpi xmlns:a14="http://schemas.microsoft.com/office/drawing/2010/main"/>
              </a:ext>
            </a:extLst>
          </a:blip>
          <a:srcRect/>
          <a:stretch>
            <a:fillRect/>
          </a:stretch>
        </p:blipFill>
        <p:spPr bwMode="auto">
          <a:xfrm>
            <a:off x="632233" y="6167697"/>
            <a:ext cx="57508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p:nvSpPr>
        <p:spPr bwMode="ltGray">
          <a:xfrm>
            <a:off x="11351429" y="6323883"/>
            <a:ext cx="294071" cy="206023"/>
          </a:xfrm>
          <a:prstGeom prst="rect">
            <a:avLst/>
          </a:prstGeom>
          <a:noFill/>
          <a:ln w="9525" algn="ctr">
            <a:noFill/>
            <a:miter lim="800000"/>
            <a:headEnd/>
            <a:tailEnd/>
          </a:ln>
          <a:effectLst/>
        </p:spPr>
        <p:txBody>
          <a:bodyPr wrap="none" lIns="82107" tIns="41054" rIns="82107" bIns="41054" anchor="b">
            <a:spAutoFit/>
          </a:bodyPr>
          <a:lstStyle/>
          <a:p>
            <a:pPr algn="r" defTabSz="814225" fontAlgn="auto">
              <a:spcBef>
                <a:spcPts val="0"/>
              </a:spcBef>
              <a:spcAft>
                <a:spcPts val="0"/>
              </a:spcAft>
              <a:defRPr/>
            </a:pPr>
            <a:fld id="{4ABDCABE-3F10-B64C-92F1-862014417034}" type="slidenum">
              <a:rPr lang="en-US" sz="800">
                <a:solidFill>
                  <a:srgbClr val="FFFFFF">
                    <a:alpha val="60000"/>
                  </a:srgbClr>
                </a:solidFill>
                <a:latin typeface="+mn-lt"/>
                <a:ea typeface="+mn-ea"/>
                <a:cs typeface="CiscoSans Thin"/>
              </a:rPr>
              <a:pPr algn="r" defTabSz="814225" fontAlgn="auto">
                <a:spcBef>
                  <a:spcPts val="0"/>
                </a:spcBef>
                <a:spcAft>
                  <a:spcPts val="0"/>
                </a:spcAft>
                <a:defRPr/>
              </a:pPr>
              <a:t>‹#›</a:t>
            </a:fld>
            <a:endParaRPr lang="en-US" sz="800" dirty="0">
              <a:solidFill>
                <a:srgbClr val="FFFFFF">
                  <a:alpha val="60000"/>
                </a:srgbClr>
              </a:solidFill>
              <a:latin typeface="+mn-lt"/>
              <a:ea typeface="+mn-ea"/>
              <a:cs typeface="CiscoSans Thin"/>
            </a:endParaRPr>
          </a:p>
        </p:txBody>
      </p:sp>
      <p:sp>
        <p:nvSpPr>
          <p:cNvPr id="10" name="Rectangle 4"/>
          <p:cNvSpPr>
            <a:spLocks noChangeArrowheads="1"/>
          </p:cNvSpPr>
          <p:nvPr/>
        </p:nvSpPr>
        <p:spPr bwMode="ltGray">
          <a:xfrm>
            <a:off x="7823344" y="6322210"/>
            <a:ext cx="3544024" cy="206025"/>
          </a:xfrm>
          <a:prstGeom prst="rect">
            <a:avLst/>
          </a:prstGeom>
          <a:noFill/>
          <a:ln w="9525">
            <a:noFill/>
            <a:miter lim="800000"/>
            <a:headEnd/>
            <a:tailEnd/>
          </a:ln>
          <a:effectLst/>
        </p:spPr>
        <p:txBody>
          <a:bodyPr lIns="82107" tIns="41054" rIns="82107" bIns="41054" anchor="b">
            <a:spAutoFit/>
          </a:bodyPr>
          <a:lstStyle/>
          <a:p>
            <a:pPr defTabSz="814225" fontAlgn="auto">
              <a:spcBef>
                <a:spcPts val="0"/>
              </a:spcBef>
              <a:spcAft>
                <a:spcPts val="0"/>
              </a:spcAft>
              <a:defRPr/>
            </a:pPr>
            <a:r>
              <a:rPr lang="en-US" sz="800" dirty="0">
                <a:solidFill>
                  <a:srgbClr val="FFFFFF">
                    <a:alpha val="60000"/>
                  </a:srgbClr>
                </a:solidFill>
                <a:latin typeface="+mn-lt"/>
                <a:ea typeface="+mn-ea"/>
                <a:cs typeface="CiscoSans Thin"/>
              </a:rPr>
              <a:t>© 2015  Cisco and/or its affiliates. All rights reserved.   Cisco Confidential</a:t>
            </a:r>
          </a:p>
        </p:txBody>
      </p:sp>
    </p:spTree>
    <p:extLst>
      <p:ext uri="{BB962C8B-B14F-4D97-AF65-F5344CB8AC3E}">
        <p14:creationId xmlns:p14="http://schemas.microsoft.com/office/powerpoint/2010/main" val="285658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 name="Rectangle 3"/>
          <p:cNvSpPr/>
          <p:nvPr/>
        </p:nvSpPr>
        <p:spPr>
          <a:xfrm>
            <a:off x="6656917" y="728134"/>
            <a:ext cx="4840816" cy="51604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defTabSz="609585">
              <a:defRPr/>
            </a:pPr>
            <a:endParaRPr lang="en-US" sz="2400">
              <a:solidFill>
                <a:srgbClr val="FFFFFF"/>
              </a:solidFill>
            </a:endParaRPr>
          </a:p>
        </p:txBody>
      </p:sp>
      <p:sp>
        <p:nvSpPr>
          <p:cNvPr id="26" name="Picture Placeholder 25"/>
          <p:cNvSpPr>
            <a:spLocks noGrp="1"/>
          </p:cNvSpPr>
          <p:nvPr>
            <p:ph type="pic" sz="quarter" idx="10"/>
          </p:nvPr>
        </p:nvSpPr>
        <p:spPr>
          <a:xfrm>
            <a:off x="6656832" y="728979"/>
            <a:ext cx="4840224" cy="5159757"/>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Drag picture to placeholder or click icon to add</a:t>
            </a:r>
            <a:endParaRPr lang="en-US" noProof="0" dirty="0"/>
          </a:p>
        </p:txBody>
      </p:sp>
      <p:sp>
        <p:nvSpPr>
          <p:cNvPr id="9" name="Title 8"/>
          <p:cNvSpPr>
            <a:spLocks noGrp="1"/>
          </p:cNvSpPr>
          <p:nvPr>
            <p:ph type="title"/>
          </p:nvPr>
        </p:nvSpPr>
        <p:spPr>
          <a:xfrm>
            <a:off x="583559" y="728980"/>
            <a:ext cx="5799891" cy="1085313"/>
          </a:xfrm>
        </p:spPr>
        <p:txBody>
          <a:bodyPr wrap="none" anchor="t">
            <a:noAutofit/>
          </a:bodyPr>
          <a:lstStyle>
            <a:lvl1pPr>
              <a:lnSpc>
                <a:spcPct val="90000"/>
              </a:lnSpc>
              <a:defRPr sz="3333">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62306754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9" name="Rectangle 8"/>
          <p:cNvSpPr/>
          <p:nvPr/>
        </p:nvSpPr>
        <p:spPr>
          <a:xfrm>
            <a:off x="4891617" y="311152"/>
            <a:ext cx="43582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609585">
              <a:defRPr/>
            </a:pPr>
            <a:endParaRPr lang="en-US" sz="2400">
              <a:solidFill>
                <a:srgbClr val="FFFFFF"/>
              </a:solidFill>
              <a:latin typeface="CiscoSans"/>
              <a:cs typeface="CiscoSans"/>
            </a:endParaRPr>
          </a:p>
        </p:txBody>
      </p:sp>
      <p:sp>
        <p:nvSpPr>
          <p:cNvPr id="10" name="Rectangle 9"/>
          <p:cNvSpPr/>
          <p:nvPr/>
        </p:nvSpPr>
        <p:spPr>
          <a:xfrm>
            <a:off x="446617" y="311152"/>
            <a:ext cx="43836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609585">
              <a:defRPr/>
            </a:pPr>
            <a:endParaRPr lang="en-US" sz="2400">
              <a:solidFill>
                <a:srgbClr val="FFFFFF"/>
              </a:solidFill>
              <a:latin typeface="CiscoSans"/>
              <a:cs typeface="CiscoSans"/>
            </a:endParaRPr>
          </a:p>
        </p:txBody>
      </p:sp>
      <p:sp>
        <p:nvSpPr>
          <p:cNvPr id="11" name="Rectangle 10"/>
          <p:cNvSpPr/>
          <p:nvPr/>
        </p:nvSpPr>
        <p:spPr>
          <a:xfrm>
            <a:off x="9306985" y="311151"/>
            <a:ext cx="2451100"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609585">
              <a:defRPr/>
            </a:pPr>
            <a:endParaRPr lang="en-US" sz="2400">
              <a:solidFill>
                <a:srgbClr val="FFFFFF"/>
              </a:solidFill>
              <a:latin typeface="CiscoSans"/>
              <a:cs typeface="CiscoSans"/>
            </a:endParaRPr>
          </a:p>
        </p:txBody>
      </p:sp>
      <p:sp>
        <p:nvSpPr>
          <p:cNvPr id="12" name="Rectangle 11"/>
          <p:cNvSpPr/>
          <p:nvPr/>
        </p:nvSpPr>
        <p:spPr>
          <a:xfrm>
            <a:off x="446618" y="3028952"/>
            <a:ext cx="3363383"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609585">
              <a:defRPr/>
            </a:pPr>
            <a:endParaRPr lang="en-US" sz="2400">
              <a:solidFill>
                <a:srgbClr val="FFFFFF"/>
              </a:solidFill>
              <a:latin typeface="CiscoSans"/>
              <a:cs typeface="CiscoSans"/>
            </a:endParaRPr>
          </a:p>
        </p:txBody>
      </p:sp>
      <p:sp>
        <p:nvSpPr>
          <p:cNvPr id="13" name="Rectangle 12"/>
          <p:cNvSpPr/>
          <p:nvPr/>
        </p:nvSpPr>
        <p:spPr>
          <a:xfrm>
            <a:off x="3881967" y="3028952"/>
            <a:ext cx="5367867"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609585">
              <a:defRPr/>
            </a:pPr>
            <a:endParaRPr lang="en-US" sz="2400">
              <a:solidFill>
                <a:srgbClr val="FFFFFF"/>
              </a:solidFill>
              <a:latin typeface="CiscoSans"/>
              <a:cs typeface="CiscoSans"/>
            </a:endParaRPr>
          </a:p>
        </p:txBody>
      </p:sp>
      <p:sp>
        <p:nvSpPr>
          <p:cNvPr id="14" name="Rectangle 13"/>
          <p:cNvSpPr/>
          <p:nvPr/>
        </p:nvSpPr>
        <p:spPr>
          <a:xfrm>
            <a:off x="9306985" y="1682751"/>
            <a:ext cx="2451100" cy="34438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609585">
              <a:defRPr/>
            </a:pPr>
            <a:endParaRPr lang="en-US" sz="2400">
              <a:solidFill>
                <a:srgbClr val="FFFFFF"/>
              </a:solidFill>
              <a:latin typeface="CiscoSans"/>
              <a:cs typeface="CiscoSans"/>
            </a:endParaRPr>
          </a:p>
        </p:txBody>
      </p:sp>
      <p:sp>
        <p:nvSpPr>
          <p:cNvPr id="15" name="Rectangle 14"/>
          <p:cNvSpPr/>
          <p:nvPr/>
        </p:nvSpPr>
        <p:spPr>
          <a:xfrm>
            <a:off x="9306985" y="5183717"/>
            <a:ext cx="2451100" cy="13038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609585">
              <a:defRPr/>
            </a:pPr>
            <a:endParaRPr lang="en-US" sz="2400">
              <a:solidFill>
                <a:srgbClr val="FFFFFF"/>
              </a:solidFill>
              <a:latin typeface="CiscoSans"/>
              <a:cs typeface="CiscoSans"/>
            </a:endParaRPr>
          </a:p>
        </p:txBody>
      </p:sp>
      <p:sp>
        <p:nvSpPr>
          <p:cNvPr id="49" name="Picture Placeholder 25"/>
          <p:cNvSpPr>
            <a:spLocks noGrp="1"/>
          </p:cNvSpPr>
          <p:nvPr>
            <p:ph type="pic" sz="quarter" idx="11"/>
          </p:nvPr>
        </p:nvSpPr>
        <p:spPr>
          <a:xfrm>
            <a:off x="4891994" y="311151"/>
            <a:ext cx="4357148" cy="2660652"/>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endParaRPr lang="en-US" noProof="0" dirty="0"/>
          </a:p>
        </p:txBody>
      </p:sp>
      <p:sp>
        <p:nvSpPr>
          <p:cNvPr id="26" name="Picture Placeholder 25"/>
          <p:cNvSpPr>
            <a:spLocks noGrp="1"/>
          </p:cNvSpPr>
          <p:nvPr>
            <p:ph type="pic" sz="quarter" idx="10"/>
          </p:nvPr>
        </p:nvSpPr>
        <p:spPr>
          <a:xfrm>
            <a:off x="427771" y="311151"/>
            <a:ext cx="4402668" cy="2660652"/>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endParaRPr lang="en-US" noProof="0" dirty="0"/>
          </a:p>
        </p:txBody>
      </p:sp>
      <p:sp>
        <p:nvSpPr>
          <p:cNvPr id="51" name="Picture Placeholder 25"/>
          <p:cNvSpPr>
            <a:spLocks noGrp="1"/>
          </p:cNvSpPr>
          <p:nvPr>
            <p:ph type="pic" sz="quarter" idx="12"/>
          </p:nvPr>
        </p:nvSpPr>
        <p:spPr>
          <a:xfrm>
            <a:off x="9306444" y="311151"/>
            <a:ext cx="2451640" cy="13081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endParaRPr lang="en-US" noProof="0" dirty="0"/>
          </a:p>
        </p:txBody>
      </p:sp>
      <p:sp>
        <p:nvSpPr>
          <p:cNvPr id="53" name="Picture Placeholder 25"/>
          <p:cNvSpPr>
            <a:spLocks noGrp="1"/>
          </p:cNvSpPr>
          <p:nvPr>
            <p:ph type="pic" sz="quarter" idx="13"/>
          </p:nvPr>
        </p:nvSpPr>
        <p:spPr>
          <a:xfrm>
            <a:off x="427765" y="3028958"/>
            <a:ext cx="3383227" cy="345893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endParaRPr lang="en-US" noProof="0" dirty="0"/>
          </a:p>
        </p:txBody>
      </p:sp>
      <p:sp>
        <p:nvSpPr>
          <p:cNvPr id="55" name="Picture Placeholder 25"/>
          <p:cNvSpPr>
            <a:spLocks noGrp="1"/>
          </p:cNvSpPr>
          <p:nvPr>
            <p:ph type="pic" sz="quarter" idx="14"/>
          </p:nvPr>
        </p:nvSpPr>
        <p:spPr>
          <a:xfrm>
            <a:off x="3877779" y="3028958"/>
            <a:ext cx="5371355" cy="345893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endParaRPr lang="en-US" noProof="0" dirty="0"/>
          </a:p>
        </p:txBody>
      </p:sp>
      <p:sp>
        <p:nvSpPr>
          <p:cNvPr id="57" name="Picture Placeholder 25"/>
          <p:cNvSpPr>
            <a:spLocks noGrp="1"/>
          </p:cNvSpPr>
          <p:nvPr>
            <p:ph type="pic" sz="quarter" idx="15"/>
          </p:nvPr>
        </p:nvSpPr>
        <p:spPr>
          <a:xfrm>
            <a:off x="9306444" y="1676401"/>
            <a:ext cx="2451640" cy="344941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endParaRPr lang="en-US" noProof="0" dirty="0"/>
          </a:p>
        </p:txBody>
      </p:sp>
      <p:sp>
        <p:nvSpPr>
          <p:cNvPr id="59" name="Picture Placeholder 25"/>
          <p:cNvSpPr>
            <a:spLocks noGrp="1"/>
          </p:cNvSpPr>
          <p:nvPr>
            <p:ph type="pic" sz="quarter" idx="16"/>
          </p:nvPr>
        </p:nvSpPr>
        <p:spPr>
          <a:xfrm>
            <a:off x="9306444" y="5182964"/>
            <a:ext cx="2451640" cy="130492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16192833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11849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Wide screen video">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704851" y="777240"/>
            <a:ext cx="10886575"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1867"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125809231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tandard video">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905785" y="778669"/>
            <a:ext cx="5899416"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1867"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28333897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768851" y="2194985"/>
            <a:ext cx="2654300" cy="2476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707225319"/>
      </p:ext>
    </p:extLst>
  </p:cSld>
  <p:clrMapOvr>
    <a:masterClrMapping/>
  </p:clrMapOvr>
  <p:transition spd="slow">
    <p:wip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TARA Bullet S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91420" tIns="45710" rIns="91420" bIns="45710">
            <a:noAutofit/>
          </a:bodyPr>
          <a:lstStyle>
            <a:lvl1pPr marL="374561" indent="-298382">
              <a:lnSpc>
                <a:spcPct val="95000"/>
              </a:lnSpc>
              <a:spcBef>
                <a:spcPts val="1480"/>
              </a:spcBef>
              <a:buClr>
                <a:schemeClr val="tx1"/>
              </a:buClr>
              <a:buSzPct val="80000"/>
              <a:buFont typeface="Arial"/>
              <a:buChar char="•"/>
              <a:defRPr sz="3733" b="0" i="0">
                <a:solidFill>
                  <a:srgbClr val="676767"/>
                </a:solidFill>
                <a:latin typeface="Franklin Gothic Book"/>
                <a:cs typeface="Franklin Gothic Book"/>
              </a:defRPr>
            </a:lvl1pPr>
            <a:lvl2pPr marL="677176" indent="-287799">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719" indent="-228548">
              <a:buClr>
                <a:schemeClr val="tx1"/>
              </a:buClr>
              <a:buSzPct val="80000"/>
              <a:buFont typeface="Arial"/>
              <a:buChar char="•"/>
              <a:defRPr sz="2133" b="0" i="0">
                <a:solidFill>
                  <a:srgbClr val="676767"/>
                </a:solidFill>
                <a:latin typeface="+mn-lt"/>
                <a:cs typeface="CiscoSans ExtraLight"/>
              </a:defRPr>
            </a:lvl3pPr>
            <a:lvl4pPr marL="1214683" indent="-228548">
              <a:buClr>
                <a:schemeClr val="tx1"/>
              </a:buClr>
              <a:buSzPct val="80000"/>
              <a:buFont typeface="Arial"/>
              <a:buChar char="•"/>
              <a:defRPr sz="1867"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defRPr sz="4800">
                <a:latin typeface="Franklin Gothic Book"/>
                <a:cs typeface="Franklin Gothic Book"/>
              </a:defRPr>
            </a:lvl1pPr>
          </a:lstStyle>
          <a:p>
            <a:pPr lvl="0"/>
            <a:r>
              <a:rPr lang="en-US" dirty="0"/>
              <a:t>Click to edit Master title style</a:t>
            </a:r>
            <a:endParaRPr lang="en-GB" dirty="0"/>
          </a:p>
        </p:txBody>
      </p:sp>
    </p:spTree>
    <p:extLst>
      <p:ext uri="{BB962C8B-B14F-4D97-AF65-F5344CB8AC3E}">
        <p14:creationId xmlns:p14="http://schemas.microsoft.com/office/powerpoint/2010/main" val="386772893"/>
      </p:ext>
    </p:extLst>
  </p:cSld>
  <p:clrMapOvr>
    <a:masterClrMapping/>
  </p:clrMapOvr>
  <p:transition spd="med">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58_Full bleed photo">
    <p:spTree>
      <p:nvGrpSpPr>
        <p:cNvPr id="1" name=""/>
        <p:cNvGrpSpPr/>
        <p:nvPr/>
      </p:nvGrpSpPr>
      <p:grpSpPr>
        <a:xfrm>
          <a:off x="0" y="0"/>
          <a:ext cx="0" cy="0"/>
          <a:chOff x="0" y="0"/>
          <a:chExt cx="0" cy="0"/>
        </a:xfrm>
      </p:grpSpPr>
      <p:pic>
        <p:nvPicPr>
          <p:cNvPr id="10" name="Picture Placeholder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6464" cy="6857999"/>
          </a:xfrm>
          <a:prstGeom prst="rect">
            <a:avLst/>
          </a:prstGeom>
        </p:spPr>
      </p:pic>
      <p:sp>
        <p:nvSpPr>
          <p:cNvPr id="14" name="Text Placeholder 2"/>
          <p:cNvSpPr>
            <a:spLocks noGrp="1"/>
          </p:cNvSpPr>
          <p:nvPr>
            <p:ph type="body" sz="quarter" idx="12" hasCustomPrompt="1"/>
          </p:nvPr>
        </p:nvSpPr>
        <p:spPr bwMode="auto">
          <a:xfrm>
            <a:off x="666751" y="4634959"/>
            <a:ext cx="10852149" cy="695347"/>
          </a:xfrm>
          <a:prstGeom prst="rect">
            <a:avLst/>
          </a:prstGeom>
          <a:solidFill>
            <a:schemeClr val="bg1">
              <a:alpha val="70000"/>
            </a:schemeClr>
          </a:solidFill>
        </p:spPr>
        <p:txBody>
          <a:bodyPr wrap="square" lIns="108000" tIns="0" rIns="91440" bIns="45720" numCol="1" anchor="b" anchorCtr="0" compatLnSpc="1">
            <a:prstTxWarp prst="textNoShape">
              <a:avLst/>
            </a:prstTxWarp>
            <a:spAutoFit/>
          </a:bodyPr>
          <a:lstStyle>
            <a:lvl1pPr marL="230394" indent="-239994">
              <a:lnSpc>
                <a:spcPts val="4907"/>
              </a:lnSpc>
              <a:spcBef>
                <a:spcPts val="0"/>
              </a:spcBef>
              <a:buNone/>
              <a:defRPr sz="4267" i="1"/>
            </a:lvl1pPr>
          </a:lstStyle>
          <a:p>
            <a:pPr lvl="0"/>
            <a:r>
              <a:rPr lang="en-GB" dirty="0"/>
              <a:t>Text Goes Here</a:t>
            </a:r>
          </a:p>
        </p:txBody>
      </p:sp>
      <p:pic>
        <p:nvPicPr>
          <p:cNvPr id="11" name="Picture 2" descr="C:\Users\spius\Pictures\cisco logo blue gradient.png"/>
          <p:cNvPicPr>
            <a:picLocks noChangeAspect="1" noChangeArrowheads="1"/>
          </p:cNvPicPr>
          <p:nvPr userDrawn="1"/>
        </p:nvPicPr>
        <p:blipFill>
          <a:blip r:embed="rId3">
            <a:biLevel thresh="25000"/>
            <a:extLst>
              <a:ext uri="{28A0092B-C50C-407E-A947-70E740481C1C}">
                <a14:useLocalDpi xmlns:a14="http://schemas.microsoft.com/office/drawing/2010/main" val="0"/>
              </a:ext>
            </a:extLst>
          </a:blip>
          <a:srcRect/>
          <a:stretch>
            <a:fillRect/>
          </a:stretch>
        </p:blipFill>
        <p:spPr bwMode="auto">
          <a:xfrm>
            <a:off x="632233" y="6167697"/>
            <a:ext cx="575083" cy="353568"/>
          </a:xfrm>
          <a:prstGeom prst="rect">
            <a:avLst/>
          </a:prstGeom>
          <a:noFill/>
          <a:extLst>
            <a:ext uri="{909E8E84-426E-40dd-AFC4-6F175D3DCCD1}">
              <a14:hiddenFill xmlns:a14="http://schemas.microsoft.com/office/drawing/2010/main" xmlns="">
                <a:solidFill>
                  <a:srgbClr val="FFFFFF"/>
                </a:solidFill>
              </a14:hiddenFill>
            </a:ext>
          </a:extLst>
        </p:spPr>
      </p:pic>
      <p:sp>
        <p:nvSpPr>
          <p:cNvPr id="9" name="Rectangle 7"/>
          <p:cNvSpPr>
            <a:spLocks noChangeArrowheads="1"/>
          </p:cNvSpPr>
          <p:nvPr userDrawn="1"/>
        </p:nvSpPr>
        <p:spPr bwMode="ltGray">
          <a:xfrm>
            <a:off x="11354627" y="6323876"/>
            <a:ext cx="290868" cy="206025"/>
          </a:xfrm>
          <a:prstGeom prst="rect">
            <a:avLst/>
          </a:prstGeom>
          <a:noFill/>
          <a:ln w="9525" algn="ctr">
            <a:noFill/>
            <a:miter lim="800000"/>
            <a:headEnd/>
            <a:tailEnd/>
          </a:ln>
          <a:effectLst/>
        </p:spPr>
        <p:txBody>
          <a:bodyPr wrap="none" lIns="82115" tIns="41056" rIns="82115" bIns="41056" anchor="b">
            <a:spAutoFit/>
          </a:bodyPr>
          <a:lstStyle/>
          <a:p>
            <a:pPr algn="r" defTabSz="814305">
              <a:defRPr/>
            </a:pPr>
            <a:fld id="{4ABDCABE-3F10-B64C-92F1-862014417034}" type="slidenum">
              <a:rPr lang="en-US" sz="800">
                <a:solidFill>
                  <a:srgbClr val="FFFFFF">
                    <a:alpha val="60000"/>
                  </a:srgbClr>
                </a:solidFill>
                <a:cs typeface="CiscoSans Thin"/>
              </a:rPr>
              <a:pPr algn="r" defTabSz="814305">
                <a:defRPr/>
              </a:pPr>
              <a:t>‹#›</a:t>
            </a:fld>
            <a:endParaRPr lang="en-US" sz="800" dirty="0">
              <a:solidFill>
                <a:srgbClr val="FFFFFF">
                  <a:alpha val="60000"/>
                </a:srgbClr>
              </a:solidFill>
              <a:cs typeface="CiscoSans Thin"/>
            </a:endParaRPr>
          </a:p>
        </p:txBody>
      </p:sp>
      <p:sp>
        <p:nvSpPr>
          <p:cNvPr id="12" name="Rectangle 4"/>
          <p:cNvSpPr>
            <a:spLocks noChangeArrowheads="1"/>
          </p:cNvSpPr>
          <p:nvPr userDrawn="1"/>
        </p:nvSpPr>
        <p:spPr bwMode="ltGray">
          <a:xfrm>
            <a:off x="7823344" y="6322205"/>
            <a:ext cx="3544024" cy="206025"/>
          </a:xfrm>
          <a:prstGeom prst="rect">
            <a:avLst/>
          </a:prstGeom>
          <a:noFill/>
          <a:ln w="9525">
            <a:noFill/>
            <a:miter lim="800000"/>
            <a:headEnd/>
            <a:tailEnd/>
          </a:ln>
          <a:effectLst/>
        </p:spPr>
        <p:txBody>
          <a:bodyPr lIns="82115" tIns="41056" rIns="82115" bIns="41056" anchor="b">
            <a:spAutoFit/>
          </a:bodyPr>
          <a:lstStyle/>
          <a:p>
            <a:pPr defTabSz="814305">
              <a:defRPr/>
            </a:pPr>
            <a:r>
              <a:rPr lang="en-US" sz="800" dirty="0">
                <a:solidFill>
                  <a:srgbClr val="FFFFFF">
                    <a:alpha val="60000"/>
                  </a:srgbClr>
                </a:solidFill>
                <a:ea typeface="ＭＳ Ｐゴシック" charset="0"/>
                <a:cs typeface="CiscoSans Thin"/>
              </a:rPr>
              <a:t>© 2015  Cisco and/or its affiliates. All rights reserved.   Cisco Confidential</a:t>
            </a:r>
          </a:p>
        </p:txBody>
      </p:sp>
    </p:spTree>
    <p:extLst>
      <p:ext uri="{BB962C8B-B14F-4D97-AF65-F5344CB8AC3E}">
        <p14:creationId xmlns:p14="http://schemas.microsoft.com/office/powerpoint/2010/main" val="1844588607"/>
      </p:ext>
    </p:extLst>
  </p:cSld>
  <p:clrMapOvr>
    <a:masterClrMapping/>
  </p:clrMapOvr>
  <p:transition spd="slow">
    <p:wip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655420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_Title Slide-animated gradient">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561600" y="432000"/>
            <a:ext cx="1266128" cy="780288"/>
          </a:xfrm>
          <a:prstGeom prst="rect">
            <a:avLst/>
          </a:prstGeom>
        </p:spPr>
      </p:pic>
      <p:sp>
        <p:nvSpPr>
          <p:cNvPr id="16" name="Subtitle 2"/>
          <p:cNvSpPr>
            <a:spLocks noGrp="1"/>
          </p:cNvSpPr>
          <p:nvPr>
            <p:ph type="subTitle" idx="1" hasCustomPrompt="1"/>
          </p:nvPr>
        </p:nvSpPr>
        <p:spPr>
          <a:xfrm>
            <a:off x="626017" y="5057621"/>
            <a:ext cx="11061895" cy="384175"/>
          </a:xfrm>
          <a:prstGeom prst="rect">
            <a:avLst/>
          </a:prstGeom>
        </p:spPr>
        <p:txBody>
          <a:bodyPr lIns="91384" tIns="45692" rIns="91384" bIns="45692" anchor="b" anchorCtr="0">
            <a:noAutofit/>
          </a:bodyPr>
          <a:lstStyle>
            <a:lvl1pPr marL="0" indent="0" algn="l">
              <a:buNone/>
              <a:defRPr sz="1867" b="0" i="0">
                <a:solidFill>
                  <a:srgbClr val="FFFFFE"/>
                </a:solidFill>
                <a:latin typeface="+mn-lt"/>
                <a:cs typeface="CiscoSans"/>
              </a:defRPr>
            </a:lvl1pPr>
            <a:lvl2pPr marL="456922" indent="0" algn="ctr">
              <a:buNone/>
              <a:defRPr>
                <a:solidFill>
                  <a:schemeClr val="tx1">
                    <a:tint val="75000"/>
                  </a:schemeClr>
                </a:solidFill>
              </a:defRPr>
            </a:lvl2pPr>
            <a:lvl3pPr marL="913869" indent="0" algn="ctr">
              <a:buNone/>
              <a:defRPr>
                <a:solidFill>
                  <a:schemeClr val="tx1">
                    <a:tint val="75000"/>
                  </a:schemeClr>
                </a:solidFill>
              </a:defRPr>
            </a:lvl3pPr>
            <a:lvl4pPr marL="1370802" indent="0" algn="ctr">
              <a:buNone/>
              <a:defRPr>
                <a:solidFill>
                  <a:schemeClr val="tx1">
                    <a:tint val="75000"/>
                  </a:schemeClr>
                </a:solidFill>
              </a:defRPr>
            </a:lvl4pPr>
            <a:lvl5pPr marL="1827741" indent="0" algn="ctr">
              <a:buNone/>
              <a:defRPr>
                <a:solidFill>
                  <a:schemeClr val="tx1">
                    <a:tint val="75000"/>
                  </a:schemeClr>
                </a:solidFill>
              </a:defRPr>
            </a:lvl5pPr>
            <a:lvl6pPr marL="2284678" indent="0" algn="ctr">
              <a:buNone/>
              <a:defRPr>
                <a:solidFill>
                  <a:schemeClr val="tx1">
                    <a:tint val="75000"/>
                  </a:schemeClr>
                </a:solidFill>
              </a:defRPr>
            </a:lvl6pPr>
            <a:lvl7pPr marL="2741610" indent="0" algn="ctr">
              <a:buNone/>
              <a:defRPr>
                <a:solidFill>
                  <a:schemeClr val="tx1">
                    <a:tint val="75000"/>
                  </a:schemeClr>
                </a:solidFill>
              </a:defRPr>
            </a:lvl7pPr>
            <a:lvl8pPr marL="3198533" indent="0" algn="ctr">
              <a:buNone/>
              <a:defRPr>
                <a:solidFill>
                  <a:schemeClr val="tx1">
                    <a:tint val="75000"/>
                  </a:schemeClr>
                </a:solidFill>
              </a:defRPr>
            </a:lvl8pPr>
            <a:lvl9pPr marL="3655463"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6017" y="5377617"/>
            <a:ext cx="11061895" cy="384175"/>
          </a:xfrm>
          <a:prstGeom prst="rect">
            <a:avLst/>
          </a:prstGeom>
        </p:spPr>
        <p:txBody>
          <a:bodyPr lIns="91384" tIns="45692" rIns="91384" bIns="45692"/>
          <a:lstStyle>
            <a:lvl1pPr marL="0" indent="0" algn="l">
              <a:buFontTx/>
              <a:buNone/>
              <a:defRPr lang="en-US" sz="1867"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6017" y="5697613"/>
            <a:ext cx="11061895" cy="384175"/>
          </a:xfrm>
          <a:prstGeom prst="rect">
            <a:avLst/>
          </a:prstGeom>
        </p:spPr>
        <p:txBody>
          <a:bodyPr lIns="91384" tIns="45692" rIns="91384" bIns="45692"/>
          <a:lstStyle>
            <a:lvl1pPr marL="0" indent="0" algn="l">
              <a:buFontTx/>
              <a:buNone/>
              <a:defRPr lang="en-US" sz="1867"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45" y="4281951"/>
            <a:ext cx="11070167" cy="398668"/>
          </a:xfrm>
          <a:prstGeom prst="rect">
            <a:avLst/>
          </a:prstGeom>
        </p:spPr>
        <p:txBody>
          <a:bodyPr lIns="91384" tIns="45692" rIns="91384" bIns="45692"/>
          <a:lstStyle>
            <a:lvl1pPr marL="0" indent="0">
              <a:buFont typeface="Arial" panose="020B0604020202020204" pitchFamily="34" charset="0"/>
              <a:buNone/>
              <a:defRPr sz="2933" baseline="0">
                <a:solidFill>
                  <a:srgbClr val="FFFFFE"/>
                </a:solidFill>
                <a:latin typeface="+mj-lt"/>
              </a:defRPr>
            </a:lvl1pPr>
            <a:lvl2pPr marL="406189" indent="0">
              <a:buNone/>
              <a:defRPr/>
            </a:lvl2pPr>
            <a:lvl3pPr marL="569606" indent="0">
              <a:buNone/>
              <a:defRPr/>
            </a:lvl3pPr>
            <a:lvl4pPr marL="688603" indent="0">
              <a:buNone/>
              <a:defRPr/>
            </a:lvl4pPr>
            <a:lvl5pPr marL="801255" indent="0">
              <a:buNone/>
              <a:defRPr/>
            </a:lvl5pPr>
          </a:lstStyle>
          <a:p>
            <a:pPr lvl="0"/>
            <a:r>
              <a:rPr lang="en-GB" dirty="0"/>
              <a:t>Subtitle Goes Here</a:t>
            </a:r>
          </a:p>
        </p:txBody>
      </p:sp>
      <p:sp>
        <p:nvSpPr>
          <p:cNvPr id="20" name="Title 1"/>
          <p:cNvSpPr>
            <a:spLocks noGrp="1"/>
          </p:cNvSpPr>
          <p:nvPr>
            <p:ph type="ctrTitle" hasCustomPrompt="1"/>
          </p:nvPr>
        </p:nvSpPr>
        <p:spPr>
          <a:xfrm>
            <a:off x="567689" y="3519969"/>
            <a:ext cx="11120203" cy="859640"/>
          </a:xfrm>
          <a:prstGeom prst="rect">
            <a:avLst/>
          </a:prstGeom>
        </p:spPr>
        <p:txBody>
          <a:bodyPr anchor="b"/>
          <a:lstStyle>
            <a:lvl1pPr marL="0" indent="0" algn="l">
              <a:lnSpc>
                <a:spcPct val="90000"/>
              </a:lnSpc>
              <a:buFont typeface="Arial" panose="020B0604020202020204" pitchFamily="34" charset="0"/>
              <a:buNone/>
              <a:defRPr sz="6933"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1090576630"/>
      </p:ext>
    </p:extLst>
  </p:cSld>
  <p:clrMapOvr>
    <a:masterClrMapping/>
  </p:clrMapOvr>
  <p:transition spd="slow">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87" y="6172206"/>
            <a:ext cx="977900"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6464" cy="6858000"/>
          </a:xfrm>
          <a:prstGeom prst="rect">
            <a:avLst/>
          </a:prstGeom>
        </p:spPr>
        <p:txBody>
          <a:bodyPr vert="horz" lIns="91412" tIns="45710" rIns="91412" bIns="45710"/>
          <a:lstStyle>
            <a:lvl1pPr marL="0" indent="0" algn="ctr">
              <a:buNone/>
              <a:defRPr sz="29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280504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396" tIns="45712" rIns="91396" bIns="45712" anchor="ctr"/>
          <a:lstStyle/>
          <a:p>
            <a:pPr defTabSz="609307" fontAlgn="base">
              <a:spcBef>
                <a:spcPct val="0"/>
              </a:spcBef>
              <a:spcAft>
                <a:spcPct val="0"/>
              </a:spcAft>
            </a:pPr>
            <a:endParaRPr lang="en-US" sz="2400" dirty="0">
              <a:solidFill>
                <a:srgbClr val="676767"/>
              </a:solidFill>
              <a:ea typeface="ＭＳ Ｐゴシック" charset="0"/>
              <a:cs typeface="ＭＳ Ｐゴシック" charset="0"/>
            </a:endParaRPr>
          </a:p>
        </p:txBody>
      </p:sp>
      <p:sp>
        <p:nvSpPr>
          <p:cNvPr id="6" name="Rectangle 3"/>
          <p:cNvSpPr>
            <a:spLocks noChangeArrowheads="1"/>
          </p:cNvSpPr>
          <p:nvPr/>
        </p:nvSpPr>
        <p:spPr bwMode="hidden">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396" tIns="45712" rIns="91396" bIns="45712" anchor="ctr"/>
          <a:lstStyle/>
          <a:p>
            <a:pPr defTabSz="609307" fontAlgn="base">
              <a:spcBef>
                <a:spcPct val="0"/>
              </a:spcBef>
              <a:spcAft>
                <a:spcPct val="0"/>
              </a:spcAft>
            </a:pPr>
            <a:endParaRPr lang="en-US" sz="2400" dirty="0">
              <a:solidFill>
                <a:srgbClr val="676767"/>
              </a:solidFill>
              <a:ea typeface="ＭＳ Ｐゴシック" charset="0"/>
              <a:cs typeface="ＭＳ Ｐゴシック" charset="0"/>
            </a:endParaRPr>
          </a:p>
        </p:txBody>
      </p:sp>
      <p:sp>
        <p:nvSpPr>
          <p:cNvPr id="3" name="Subtitle 2"/>
          <p:cNvSpPr>
            <a:spLocks noGrp="1"/>
          </p:cNvSpPr>
          <p:nvPr>
            <p:ph type="subTitle" idx="1" hasCustomPrompt="1"/>
          </p:nvPr>
        </p:nvSpPr>
        <p:spPr>
          <a:xfrm>
            <a:off x="666577" y="4279423"/>
            <a:ext cx="6246489" cy="384175"/>
          </a:xfrm>
          <a:prstGeom prst="rect">
            <a:avLst/>
          </a:prstGeom>
        </p:spPr>
        <p:txBody>
          <a:bodyPr vert="horz" lIns="68547" tIns="34284" rIns="68547" bIns="34284" rtlCol="0">
            <a:noAutofit/>
          </a:bodyPr>
          <a:lstStyle>
            <a:lvl1pPr marL="0" indent="0" algn="l" defTabSz="913908" rtl="0" eaLnBrk="1" latinLnBrk="0" hangingPunct="1">
              <a:lnSpc>
                <a:spcPct val="95000"/>
              </a:lnSpc>
              <a:spcBef>
                <a:spcPts val="1440"/>
              </a:spcBef>
              <a:buClr>
                <a:srgbClr val="92D050"/>
              </a:buClr>
              <a:buSzPct val="90000"/>
              <a:buFont typeface="Arial" pitchFamily="34" charset="0"/>
              <a:buNone/>
              <a:tabLst/>
              <a:defRPr lang="en-US" sz="2400" kern="1200" baseline="0" dirty="0">
                <a:solidFill>
                  <a:schemeClr val="accent3"/>
                </a:solidFill>
                <a:latin typeface="+mj-lt"/>
                <a:ea typeface="+mn-ea"/>
                <a:cs typeface="+mn-cs"/>
              </a:defRPr>
            </a:lvl1pPr>
            <a:lvl2pPr marL="456942" indent="0" algn="ctr">
              <a:buNone/>
              <a:defRPr>
                <a:solidFill>
                  <a:schemeClr val="tx1">
                    <a:tint val="75000"/>
                  </a:schemeClr>
                </a:solidFill>
              </a:defRPr>
            </a:lvl2pPr>
            <a:lvl3pPr marL="913908" indent="0" algn="ctr">
              <a:buNone/>
              <a:defRPr>
                <a:solidFill>
                  <a:schemeClr val="tx1">
                    <a:tint val="75000"/>
                  </a:schemeClr>
                </a:solidFill>
              </a:defRPr>
            </a:lvl3pPr>
            <a:lvl4pPr marL="1370860" indent="0" algn="ctr">
              <a:buNone/>
              <a:defRPr>
                <a:solidFill>
                  <a:schemeClr val="tx1">
                    <a:tint val="75000"/>
                  </a:schemeClr>
                </a:solidFill>
              </a:defRPr>
            </a:lvl4pPr>
            <a:lvl5pPr marL="1827817" indent="0" algn="ctr">
              <a:buNone/>
              <a:defRPr>
                <a:solidFill>
                  <a:schemeClr val="tx1">
                    <a:tint val="75000"/>
                  </a:schemeClr>
                </a:solidFill>
              </a:defRPr>
            </a:lvl5pPr>
            <a:lvl6pPr marL="2284774" indent="0" algn="ctr">
              <a:buNone/>
              <a:defRPr>
                <a:solidFill>
                  <a:schemeClr val="tx1">
                    <a:tint val="75000"/>
                  </a:schemeClr>
                </a:solidFill>
              </a:defRPr>
            </a:lvl6pPr>
            <a:lvl7pPr marL="2741722" indent="0" algn="ctr">
              <a:buNone/>
              <a:defRPr>
                <a:solidFill>
                  <a:schemeClr val="tx1">
                    <a:tint val="75000"/>
                  </a:schemeClr>
                </a:solidFill>
              </a:defRPr>
            </a:lvl7pPr>
            <a:lvl8pPr marL="3198667" indent="0" algn="ctr">
              <a:buNone/>
              <a:defRPr>
                <a:solidFill>
                  <a:schemeClr val="tx1">
                    <a:tint val="75000"/>
                  </a:schemeClr>
                </a:solidFill>
              </a:defRPr>
            </a:lvl8pPr>
            <a:lvl9pPr marL="3655615" indent="0" algn="ctr">
              <a:buNone/>
              <a:defRPr>
                <a:solidFill>
                  <a:schemeClr val="tx1">
                    <a:tint val="75000"/>
                  </a:schemeClr>
                </a:solidFill>
              </a:defRPr>
            </a:lvl9pPr>
          </a:lstStyle>
          <a:p>
            <a:pPr lvl="0"/>
            <a:r>
              <a:rPr lang="en-GB" dirty="0"/>
              <a:t>Presenter Name and Title Go Here</a:t>
            </a:r>
            <a:endParaRPr lang="en-US" dirty="0"/>
          </a:p>
        </p:txBody>
      </p:sp>
      <p:sp>
        <p:nvSpPr>
          <p:cNvPr id="2" name="Title 1"/>
          <p:cNvSpPr>
            <a:spLocks noGrp="1"/>
          </p:cNvSpPr>
          <p:nvPr>
            <p:ph type="ctrTitle" hasCustomPrompt="1"/>
          </p:nvPr>
        </p:nvSpPr>
        <p:spPr>
          <a:xfrm>
            <a:off x="612724" y="3282704"/>
            <a:ext cx="6283409" cy="1022351"/>
          </a:xfrm>
        </p:spPr>
        <p:txBody>
          <a:bodyPr lIns="61688" tIns="34284" rIns="61688" bIns="34284" rtlCol="0" anchor="b">
            <a:noAutofit/>
          </a:bodyPr>
          <a:lstStyle>
            <a:lvl1pPr marL="0" indent="0" algn="l" defTabSz="913908" rtl="0" eaLnBrk="1" latinLnBrk="0" hangingPunct="1">
              <a:lnSpc>
                <a:spcPct val="80000"/>
              </a:lnSpc>
              <a:spcBef>
                <a:spcPct val="0"/>
              </a:spcBef>
              <a:buClr>
                <a:schemeClr val="tx1"/>
              </a:buClr>
              <a:buFont typeface="Ciscolight" pitchFamily="2" charset="0"/>
              <a:buNone/>
              <a:defRPr lang="en-US" sz="6933" b="0" kern="1200" spc="0" baseline="0" dirty="0">
                <a:solidFill>
                  <a:srgbClr val="3E6BB4"/>
                </a:solidFill>
                <a:latin typeface="+mj-lt"/>
                <a:ea typeface="+mj-ea"/>
                <a:cs typeface="+mj-cs"/>
              </a:defRPr>
            </a:lvl1pPr>
          </a:lstStyle>
          <a:p>
            <a:r>
              <a:rPr lang="en-GB" dirty="0"/>
              <a:t>Demo Title</a:t>
            </a:r>
            <a:endParaRPr lang="en-US" dirty="0"/>
          </a:p>
        </p:txBody>
      </p:sp>
      <p:sp>
        <p:nvSpPr>
          <p:cNvPr id="31" name="Picture Placeholder 30"/>
          <p:cNvSpPr>
            <a:spLocks noGrp="1"/>
          </p:cNvSpPr>
          <p:nvPr>
            <p:ph type="pic" sz="quarter" idx="10"/>
          </p:nvPr>
        </p:nvSpPr>
        <p:spPr>
          <a:xfrm>
            <a:off x="7387178" y="1917701"/>
            <a:ext cx="3568700" cy="2889251"/>
          </a:xfrm>
          <a:prstGeom prst="rect">
            <a:avLst/>
          </a:prstGeom>
        </p:spPr>
        <p:txBody>
          <a:bodyPr lIns="91384" tIns="45692" rIns="91384" bIns="45692" anchor="ctr" anchorCtr="1"/>
          <a:lstStyle>
            <a:lvl1pPr marL="0" indent="0" algn="ctr">
              <a:buNone/>
              <a:defRPr>
                <a:solidFill>
                  <a:schemeClr val="accent3"/>
                </a:solidFill>
                <a:latin typeface="+mj-lt"/>
              </a:defRPr>
            </a:lvl1pPr>
          </a:lstStyle>
          <a:p>
            <a:pPr lvl="0"/>
            <a:r>
              <a:rPr lang="en-US" noProof="0" dirty="0"/>
              <a:t>Drag picture to placeholder or click icon to add</a:t>
            </a:r>
          </a:p>
        </p:txBody>
      </p:sp>
    </p:spTree>
    <p:extLst>
      <p:ext uri="{BB962C8B-B14F-4D97-AF65-F5344CB8AC3E}">
        <p14:creationId xmlns:p14="http://schemas.microsoft.com/office/powerpoint/2010/main" val="1526491931"/>
      </p:ext>
    </p:extLst>
  </p:cSld>
  <p:clrMapOvr>
    <a:masterClrMapping/>
  </p:clrMapOvr>
  <p:transition spd="slow">
    <p:wip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3_Segu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userDrawn="1"/>
        </p:nvSpPr>
        <p:spPr bwMode="ltGray">
          <a:xfrm>
            <a:off x="11354723" y="6323908"/>
            <a:ext cx="290795" cy="206014"/>
          </a:xfrm>
          <a:prstGeom prst="rect">
            <a:avLst/>
          </a:prstGeom>
          <a:noFill/>
          <a:ln w="9525" algn="ctr">
            <a:noFill/>
            <a:miter lim="800000"/>
            <a:headEnd/>
            <a:tailEnd/>
          </a:ln>
          <a:effectLst/>
        </p:spPr>
        <p:txBody>
          <a:bodyPr wrap="none" lIns="82079" tIns="41051" rIns="82079" bIns="41051" anchor="b">
            <a:spAutoFit/>
          </a:bodyPr>
          <a:lstStyle/>
          <a:p>
            <a:pPr algn="r" defTabSz="813952">
              <a:defRPr/>
            </a:pPr>
            <a:fld id="{4ABDCABE-3F10-B64C-92F1-862014417034}" type="slidenum">
              <a:rPr lang="en-US" sz="800">
                <a:solidFill>
                  <a:srgbClr val="FFFFFF">
                    <a:alpha val="60000"/>
                  </a:srgbClr>
                </a:solidFill>
                <a:cs typeface="CiscoSans Thin"/>
              </a:rPr>
              <a:pPr algn="r" defTabSz="813952">
                <a:defRPr/>
              </a:pPr>
              <a:t>‹#›</a:t>
            </a:fld>
            <a:endParaRPr lang="en-US" sz="800" dirty="0">
              <a:solidFill>
                <a:srgbClr val="FFFFFF">
                  <a:alpha val="60000"/>
                </a:srgbClr>
              </a:solidFill>
              <a:cs typeface="CiscoSans Thin"/>
            </a:endParaRPr>
          </a:p>
        </p:txBody>
      </p:sp>
      <p:sp>
        <p:nvSpPr>
          <p:cNvPr id="8" name="Rectangle 4"/>
          <p:cNvSpPr>
            <a:spLocks noChangeArrowheads="1"/>
          </p:cNvSpPr>
          <p:nvPr userDrawn="1"/>
        </p:nvSpPr>
        <p:spPr bwMode="ltGray">
          <a:xfrm>
            <a:off x="7823345" y="6322215"/>
            <a:ext cx="3544024" cy="206014"/>
          </a:xfrm>
          <a:prstGeom prst="rect">
            <a:avLst/>
          </a:prstGeom>
          <a:noFill/>
          <a:ln w="9525">
            <a:noFill/>
            <a:miter lim="800000"/>
            <a:headEnd/>
            <a:tailEnd/>
          </a:ln>
          <a:effectLst/>
        </p:spPr>
        <p:txBody>
          <a:bodyPr lIns="82079" tIns="41051" rIns="82079" bIns="41051" anchor="b">
            <a:spAutoFit/>
          </a:bodyPr>
          <a:lstStyle/>
          <a:p>
            <a:pPr defTabSz="813952">
              <a:defRPr/>
            </a:pPr>
            <a:r>
              <a:rPr lang="en-US" sz="800" dirty="0">
                <a:solidFill>
                  <a:srgbClr val="FFFFFF">
                    <a:alpha val="60000"/>
                  </a:srgbClr>
                </a:solidFill>
                <a:cs typeface="CiscoSans Thin"/>
              </a:rPr>
              <a:t>© 2015  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632236" y="6167697"/>
            <a:ext cx="575083" cy="35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7022135"/>
      </p:ext>
    </p:extLst>
  </p:cSld>
  <p:clrMapOvr>
    <a:masterClrMapping/>
  </p:clrMapOvr>
  <p:transition spd="med">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392" tIns="45712" rIns="91392" bIns="45712" anchor="ctr"/>
          <a:lstStyle/>
          <a:p>
            <a:pPr defTabSz="609307" fontAlgn="base">
              <a:spcBef>
                <a:spcPct val="0"/>
              </a:spcBef>
              <a:spcAft>
                <a:spcPct val="0"/>
              </a:spcAft>
            </a:pPr>
            <a:endParaRPr lang="en-US" sz="2400" dirty="0">
              <a:solidFill>
                <a:srgbClr val="676767"/>
              </a:solidFill>
              <a:ea typeface="ＭＳ Ｐゴシック" charset="0"/>
              <a:cs typeface="ＭＳ Ｐゴシック" charset="0"/>
            </a:endParaRPr>
          </a:p>
        </p:txBody>
      </p:sp>
      <p:sp>
        <p:nvSpPr>
          <p:cNvPr id="4" name="Rectangle 6"/>
          <p:cNvSpPr>
            <a:spLocks noChangeArrowheads="1"/>
          </p:cNvSpPr>
          <p:nvPr/>
        </p:nvSpPr>
        <p:spPr bwMode="hidden">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392" tIns="45712" rIns="91392" bIns="45712" anchor="ctr"/>
          <a:lstStyle/>
          <a:p>
            <a:pPr defTabSz="609307" fontAlgn="base">
              <a:spcBef>
                <a:spcPct val="0"/>
              </a:spcBef>
              <a:spcAft>
                <a:spcPct val="0"/>
              </a:spcAft>
            </a:pPr>
            <a:endParaRPr lang="en-US" sz="2400" dirty="0">
              <a:solidFill>
                <a:srgbClr val="676767"/>
              </a:solidFill>
              <a:ea typeface="ＭＳ Ｐゴシック" charset="0"/>
              <a:cs typeface="ＭＳ Ｐゴシック" charset="0"/>
            </a:endParaRPr>
          </a:p>
        </p:txBody>
      </p:sp>
      <p:sp>
        <p:nvSpPr>
          <p:cNvPr id="7" name="Title 1"/>
          <p:cNvSpPr>
            <a:spLocks noGrp="1"/>
          </p:cNvSpPr>
          <p:nvPr>
            <p:ph type="ctrTitle" hasCustomPrompt="1"/>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33" b="0" i="0" spc="0" baseline="0">
                <a:solidFill>
                  <a:srgbClr val="3E6BB4"/>
                </a:solidFill>
                <a:latin typeface="+mj-lt"/>
                <a:cs typeface="CiscoSans Thin"/>
              </a:defRPr>
            </a:lvl1pPr>
          </a:lstStyle>
          <a:p>
            <a:r>
              <a:rPr lang="en-GB" dirty="0"/>
              <a:t>Section Title Goes Here</a:t>
            </a:r>
            <a:endParaRPr lang="en-US" dirty="0"/>
          </a:p>
        </p:txBody>
      </p:sp>
    </p:spTree>
    <p:extLst>
      <p:ext uri="{BB962C8B-B14F-4D97-AF65-F5344CB8AC3E}">
        <p14:creationId xmlns:p14="http://schemas.microsoft.com/office/powerpoint/2010/main" val="1145104523"/>
      </p:ext>
    </p:extLst>
  </p:cSld>
  <p:clrMapOvr>
    <a:masterClrMapping/>
  </p:clrMapOvr>
  <p:transition spd="med">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632886" y="1797053"/>
            <a:ext cx="11040076" cy="4098595"/>
          </a:xfrm>
          <a:prstGeom prst="rect">
            <a:avLst/>
          </a:prstGeom>
        </p:spPr>
        <p:txBody>
          <a:bodyPr lIns="91384" tIns="45692" rIns="91384" bIns="45692">
            <a:noAutofit/>
          </a:bodyPr>
          <a:lstStyle>
            <a:lvl1pPr marL="380745" marR="0" indent="-380745" algn="ctr" defTabSz="609179"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583688" y="45510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8" tIns="45694" rIns="91388" bIns="45694"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18161375"/>
      </p:ext>
    </p:extLst>
  </p:cSld>
  <p:clrMapOvr>
    <a:masterClrMapping/>
  </p:clrMapOvr>
  <p:transition spd="med">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91384" tIns="45692" rIns="91384" bIns="45692">
            <a:noAutofit/>
          </a:bodyPr>
          <a:lstStyle>
            <a:lvl1pPr marL="374396" indent="-298243">
              <a:lnSpc>
                <a:spcPct val="95000"/>
              </a:lnSpc>
              <a:spcBef>
                <a:spcPts val="1480"/>
              </a:spcBef>
              <a:buClr>
                <a:schemeClr val="tx1"/>
              </a:buClr>
              <a:buSzPct val="80000"/>
              <a:buFont typeface="Arial"/>
              <a:buChar char="•"/>
              <a:defRPr sz="4933" b="0" i="0">
                <a:solidFill>
                  <a:srgbClr val="676767"/>
                </a:solidFill>
                <a:latin typeface="+mn-lt"/>
                <a:cs typeface="CiscoSans ExtraLight"/>
              </a:defRPr>
            </a:lvl1pPr>
            <a:lvl2pPr marL="676890" indent="-287659">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291" indent="-228453">
              <a:buClr>
                <a:schemeClr val="tx1"/>
              </a:buClr>
              <a:buSzPct val="80000"/>
              <a:buFont typeface="Arial"/>
              <a:buChar char="•"/>
              <a:defRPr sz="2133" b="0" i="0">
                <a:solidFill>
                  <a:srgbClr val="676767"/>
                </a:solidFill>
                <a:latin typeface="+mn-lt"/>
                <a:cs typeface="CiscoSans ExtraLight"/>
              </a:defRPr>
            </a:lvl3pPr>
            <a:lvl4pPr marL="1214152" indent="-228453">
              <a:buClr>
                <a:schemeClr val="tx1"/>
              </a:buClr>
              <a:buSzPct val="80000"/>
              <a:buFont typeface="Arial"/>
              <a:buChar char="•"/>
              <a:defRPr sz="1867" b="0" i="0">
                <a:solidFill>
                  <a:srgbClr val="676767"/>
                </a:solidFill>
                <a:latin typeface="+mn-lt"/>
                <a:cs typeface="CiscoSans ExtraLight"/>
              </a:defRPr>
            </a:lvl4pPr>
            <a:lvl5pPr marL="1442595" indent="-224220">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10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8" tIns="45694" rIns="91388" bIns="45694"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159831154"/>
      </p:ext>
    </p:extLst>
  </p:cSld>
  <p:clrMapOvr>
    <a:masterClrMapping/>
  </p:clrMapOvr>
  <p:transition spd="med">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91384" tIns="45692" rIns="91384" bIns="45692">
            <a:noAutofit/>
          </a:bodyPr>
          <a:lstStyle>
            <a:lvl1pPr marL="76143" indent="0">
              <a:lnSpc>
                <a:spcPct val="95000"/>
              </a:lnSpc>
              <a:spcBef>
                <a:spcPts val="1480"/>
              </a:spcBef>
              <a:buClr>
                <a:schemeClr val="tx1"/>
              </a:buClr>
              <a:buSzPct val="80000"/>
              <a:buFont typeface="Arial"/>
              <a:buNone/>
              <a:defRPr sz="4933" b="0" i="0">
                <a:solidFill>
                  <a:srgbClr val="676767"/>
                </a:solidFill>
                <a:latin typeface="+mn-lt"/>
                <a:cs typeface="CiscoSans ExtraLight"/>
              </a:defRPr>
            </a:lvl1pPr>
            <a:lvl2pPr marL="389212"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7819" indent="0">
              <a:buClr>
                <a:schemeClr val="tx1"/>
              </a:buClr>
              <a:buSzPct val="80000"/>
              <a:buFont typeface="Arial"/>
              <a:buNone/>
              <a:defRPr sz="2133" b="0" i="0">
                <a:solidFill>
                  <a:srgbClr val="676767"/>
                </a:solidFill>
                <a:latin typeface="+mn-lt"/>
                <a:cs typeface="CiscoSans ExtraLight"/>
              </a:defRPr>
            </a:lvl3pPr>
            <a:lvl4pPr marL="985709" indent="0">
              <a:buClr>
                <a:schemeClr val="tx1"/>
              </a:buClr>
              <a:buSzPct val="80000"/>
              <a:buFont typeface="Arial"/>
              <a:buNone/>
              <a:defRPr sz="1867" b="0" i="0">
                <a:solidFill>
                  <a:srgbClr val="676767"/>
                </a:solidFill>
                <a:latin typeface="+mn-lt"/>
                <a:cs typeface="CiscoSans ExtraLight"/>
              </a:defRPr>
            </a:lvl4pPr>
            <a:lvl5pPr marL="1218384"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10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8" tIns="45694" rIns="91388" bIns="45694"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324344618"/>
      </p:ext>
    </p:extLst>
  </p:cSld>
  <p:clrMapOvr>
    <a:masterClrMapping/>
  </p:clrMapOvr>
  <p:transition spd="med">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19569" y="1194135"/>
            <a:ext cx="11198319" cy="4224280"/>
          </a:xfrm>
          <a:prstGeom prst="rect">
            <a:avLst/>
          </a:prstGeom>
        </p:spPr>
        <p:txBody>
          <a:bodyPr lIns="91384" tIns="45692" rIns="91384" bIns="45692">
            <a:noAutofit/>
          </a:bodyPr>
          <a:lstStyle>
            <a:lvl1pPr marL="76143" indent="0">
              <a:lnSpc>
                <a:spcPct val="95000"/>
              </a:lnSpc>
              <a:spcBef>
                <a:spcPts val="1480"/>
              </a:spcBef>
              <a:buClr>
                <a:schemeClr val="tx1"/>
              </a:buClr>
              <a:buSzPct val="80000"/>
              <a:buFont typeface="Arial"/>
              <a:buNone/>
              <a:defRPr sz="4933" b="0" i="0">
                <a:solidFill>
                  <a:srgbClr val="676767"/>
                </a:solidFill>
                <a:latin typeface="+mn-lt"/>
                <a:cs typeface="CiscoSans ExtraLight"/>
              </a:defRPr>
            </a:lvl1pPr>
            <a:lvl2pPr marL="389212"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7819" indent="0">
              <a:buClr>
                <a:schemeClr val="tx1"/>
              </a:buClr>
              <a:buSzPct val="80000"/>
              <a:buFont typeface="Arial"/>
              <a:buNone/>
              <a:defRPr sz="2133" b="0" i="0">
                <a:solidFill>
                  <a:srgbClr val="676767"/>
                </a:solidFill>
                <a:latin typeface="+mn-lt"/>
                <a:cs typeface="CiscoSans ExtraLight"/>
              </a:defRPr>
            </a:lvl3pPr>
            <a:lvl4pPr marL="985709" indent="0">
              <a:buClr>
                <a:schemeClr val="tx1"/>
              </a:buClr>
              <a:buSzPct val="80000"/>
              <a:buFont typeface="Arial"/>
              <a:buNone/>
              <a:defRPr sz="1867" b="0" i="0">
                <a:solidFill>
                  <a:srgbClr val="676767"/>
                </a:solidFill>
                <a:latin typeface="+mn-lt"/>
                <a:cs typeface="CiscoSans ExtraLight"/>
              </a:defRPr>
            </a:lvl4pPr>
            <a:lvl5pPr marL="1218384"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1698716315"/>
      </p:ext>
    </p:extLst>
  </p:cSld>
  <p:clrMapOvr>
    <a:masterClrMapping/>
  </p:clrMapOvr>
  <p:transition spd="med">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04852" y="1168479"/>
            <a:ext cx="11013016" cy="4224280"/>
          </a:xfrm>
          <a:prstGeom prst="rect">
            <a:avLst/>
          </a:prstGeom>
        </p:spPr>
        <p:txBody>
          <a:bodyPr lIns="91384" tIns="45692" rIns="91384" bIns="45692">
            <a:noAutofit/>
          </a:bodyPr>
          <a:lstStyle>
            <a:lvl1pPr marL="283074" indent="-522971">
              <a:lnSpc>
                <a:spcPts val="5920"/>
              </a:lnSpc>
              <a:spcBef>
                <a:spcPts val="0"/>
              </a:spcBef>
              <a:buClr>
                <a:schemeClr val="tx1"/>
              </a:buClr>
              <a:buSzPct val="80000"/>
              <a:buFont typeface="Arial"/>
              <a:buChar char="•"/>
              <a:defRPr sz="4933" b="0" i="0">
                <a:solidFill>
                  <a:srgbClr val="676767"/>
                </a:solidFill>
                <a:latin typeface="+mn-lt"/>
                <a:cs typeface="CiscoSans ExtraLight"/>
              </a:defRPr>
            </a:lvl1pPr>
            <a:lvl2pPr marL="676890" indent="-287659">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291" indent="-228453">
              <a:buClr>
                <a:schemeClr val="tx1"/>
              </a:buClr>
              <a:buSzPct val="80000"/>
              <a:buFont typeface="Arial"/>
              <a:buChar char="•"/>
              <a:defRPr sz="2133" b="0" i="0">
                <a:solidFill>
                  <a:srgbClr val="676767"/>
                </a:solidFill>
                <a:latin typeface="+mn-lt"/>
                <a:cs typeface="CiscoSans ExtraLight"/>
              </a:defRPr>
            </a:lvl3pPr>
            <a:lvl4pPr marL="1214152" indent="-228453">
              <a:buClr>
                <a:schemeClr val="tx1"/>
              </a:buClr>
              <a:buSzPct val="80000"/>
              <a:buFont typeface="Arial"/>
              <a:buChar char="•"/>
              <a:defRPr sz="1867" b="0" i="0">
                <a:solidFill>
                  <a:srgbClr val="676767"/>
                </a:solidFill>
                <a:latin typeface="+mn-lt"/>
                <a:cs typeface="CiscoSans ExtraLight"/>
              </a:defRPr>
            </a:lvl4pPr>
            <a:lvl5pPr marL="1442595" indent="-224220">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1627384693"/>
      </p:ext>
    </p:extLst>
  </p:cSld>
  <p:clrMapOvr>
    <a:masterClrMapping/>
  </p:clrMapOvr>
  <p:transition spd="med">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4" y="1797051"/>
            <a:ext cx="11036459" cy="4224280"/>
          </a:xfrm>
          <a:prstGeom prst="rect">
            <a:avLst/>
          </a:prstGeom>
        </p:spPr>
        <p:txBody>
          <a:bodyPr lIns="91384" tIns="45692" rIns="91384" bIns="45692">
            <a:noAutofit/>
          </a:bodyPr>
          <a:lstStyle>
            <a:lvl1pPr marL="374396" indent="-298243">
              <a:lnSpc>
                <a:spcPct val="95000"/>
              </a:lnSpc>
              <a:spcBef>
                <a:spcPts val="1480"/>
              </a:spcBef>
              <a:buClr>
                <a:schemeClr val="tx1"/>
              </a:buClr>
              <a:buSzPct val="80000"/>
              <a:buFont typeface="Arial"/>
              <a:buChar char="•"/>
              <a:defRPr sz="2667" b="0" i="0">
                <a:solidFill>
                  <a:srgbClr val="676767"/>
                </a:solidFill>
                <a:latin typeface="+mn-lt"/>
                <a:cs typeface="CiscoSans ExtraLight"/>
              </a:defRPr>
            </a:lvl1pPr>
            <a:lvl2pPr marL="676890" indent="-287659">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291" indent="-228453">
              <a:buClr>
                <a:schemeClr val="tx1"/>
              </a:buClr>
              <a:buSzPct val="80000"/>
              <a:buFont typeface="Arial"/>
              <a:buChar char="•"/>
              <a:defRPr sz="2133" b="0" i="0">
                <a:solidFill>
                  <a:srgbClr val="676767"/>
                </a:solidFill>
                <a:latin typeface="+mn-lt"/>
                <a:cs typeface="CiscoSans ExtraLight"/>
              </a:defRPr>
            </a:lvl3pPr>
            <a:lvl4pPr marL="1214152" indent="-228453">
              <a:buClr>
                <a:schemeClr val="tx1"/>
              </a:buClr>
              <a:buSzPct val="80000"/>
              <a:buFont typeface="Arial"/>
              <a:buChar char="•"/>
              <a:defRPr sz="1867" b="0" i="0">
                <a:solidFill>
                  <a:srgbClr val="676767"/>
                </a:solidFill>
                <a:latin typeface="+mn-lt"/>
                <a:cs typeface="CiscoSans ExtraLight"/>
              </a:defRPr>
            </a:lvl4pPr>
            <a:lvl5pPr marL="1442595" indent="-224220">
              <a:buClr>
                <a:schemeClr val="tx1"/>
              </a:buClr>
              <a:buSzPct val="80000"/>
              <a:buFont typeface="Arial"/>
              <a:buChar char="•"/>
              <a:defRPr sz="16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10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8" tIns="45694" rIns="91388" bIns="45694"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094367003"/>
      </p:ext>
    </p:extLst>
  </p:cSld>
  <p:clrMapOvr>
    <a:masterClrMapping/>
  </p:clrMapOvr>
  <p:transition spd="med">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583712" y="1797051"/>
            <a:ext cx="5201497" cy="4110792"/>
          </a:xfrm>
          <a:prstGeom prst="rect">
            <a:avLst/>
          </a:prstGeom>
        </p:spPr>
        <p:txBody>
          <a:bodyPr lIns="91384" tIns="45692" rIns="91384" bIns="45692">
            <a:noAutofit/>
          </a:bodyPr>
          <a:lstStyle>
            <a:lvl1pPr marL="304592" indent="-228453">
              <a:lnSpc>
                <a:spcPct val="95000"/>
              </a:lnSpc>
              <a:spcBef>
                <a:spcPts val="1480"/>
              </a:spcBef>
              <a:buClr>
                <a:schemeClr val="tx1"/>
              </a:buClr>
              <a:buSzPct val="80000"/>
              <a:buFont typeface="Arial"/>
              <a:buChar char="•"/>
              <a:defRPr sz="2667" b="0" i="0">
                <a:solidFill>
                  <a:schemeClr val="tx1"/>
                </a:solidFill>
                <a:latin typeface="+mn-lt"/>
                <a:cs typeface="CiscoSans ExtraLight"/>
              </a:defRPr>
            </a:lvl1pPr>
            <a:lvl2pPr marL="609179" indent="-287659">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650" indent="-228453">
              <a:buClr>
                <a:schemeClr val="tx1"/>
              </a:buClr>
              <a:buSzPct val="80000"/>
              <a:buFont typeface="Arial"/>
              <a:buChar char="•"/>
              <a:defRPr sz="2133" b="0" i="0">
                <a:solidFill>
                  <a:schemeClr val="tx1"/>
                </a:solidFill>
                <a:latin typeface="+mn-lt"/>
                <a:cs typeface="CiscoSans ExtraLight"/>
              </a:defRPr>
            </a:lvl3pPr>
            <a:lvl4pPr marL="1066081" indent="-228453">
              <a:buClr>
                <a:schemeClr val="tx1"/>
              </a:buClr>
              <a:buSzPct val="80000"/>
              <a:buFont typeface="Arial"/>
              <a:buChar char="•"/>
              <a:defRPr sz="1867" b="0" i="0">
                <a:solidFill>
                  <a:schemeClr val="tx1"/>
                </a:solidFill>
                <a:latin typeface="+mn-lt"/>
                <a:cs typeface="CiscoSans ExtraLight"/>
              </a:defRPr>
            </a:lvl4pPr>
            <a:lvl5pPr marL="1294532" indent="-228453">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6086395" y="1797051"/>
            <a:ext cx="5624613" cy="4110792"/>
          </a:xfrm>
          <a:prstGeom prst="rect">
            <a:avLst/>
          </a:prstGeom>
        </p:spPr>
        <p:txBody>
          <a:bodyPr lIns="91384" tIns="45692" rIns="91384" bIns="45692">
            <a:noAutofit/>
          </a:bodyPr>
          <a:lstStyle>
            <a:lvl1pPr marL="304592" indent="-228453">
              <a:lnSpc>
                <a:spcPct val="95000"/>
              </a:lnSpc>
              <a:spcBef>
                <a:spcPts val="1480"/>
              </a:spcBef>
              <a:buClr>
                <a:schemeClr val="tx1"/>
              </a:buClr>
              <a:buSzPct val="80000"/>
              <a:buFont typeface="Arial"/>
              <a:buChar char="•"/>
              <a:defRPr sz="2667" b="0" i="0" baseline="0">
                <a:solidFill>
                  <a:schemeClr val="tx1"/>
                </a:solidFill>
                <a:latin typeface="+mn-lt"/>
                <a:cs typeface="CiscoSans ExtraLight"/>
              </a:defRPr>
            </a:lvl1pPr>
            <a:lvl2pPr marL="609179" indent="-287659">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650" indent="-228453">
              <a:buClr>
                <a:schemeClr val="tx1"/>
              </a:buClr>
              <a:buSzPct val="80000"/>
              <a:buFont typeface="Arial"/>
              <a:buChar char="•"/>
              <a:defRPr sz="2133" b="0" i="0">
                <a:solidFill>
                  <a:schemeClr val="tx1"/>
                </a:solidFill>
                <a:latin typeface="+mn-lt"/>
                <a:cs typeface="CiscoSans ExtraLight"/>
              </a:defRPr>
            </a:lvl3pPr>
            <a:lvl4pPr marL="1066081" indent="-228453">
              <a:buClr>
                <a:schemeClr val="tx1"/>
              </a:buClr>
              <a:buSzPct val="80000"/>
              <a:buFont typeface="Arial"/>
              <a:buChar char="•"/>
              <a:defRPr sz="1867" b="0" i="0">
                <a:solidFill>
                  <a:schemeClr val="tx1"/>
                </a:solidFill>
                <a:latin typeface="+mn-lt"/>
                <a:cs typeface="CiscoSans ExtraLight"/>
              </a:defRPr>
            </a:lvl4pPr>
            <a:lvl5pPr marL="1294532" indent="-228453">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583688" y="45510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8" tIns="45694" rIns="91388" bIns="45694"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89163006"/>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3" y="320844"/>
            <a:ext cx="11307184" cy="5688861"/>
          </a:xfrm>
          <a:prstGeom prst="rect">
            <a:avLst/>
          </a:prstGeom>
        </p:spPr>
        <p:txBody>
          <a:bodyPr vert="horz" lIns="91416" tIns="45710" rIns="91416" bIns="45710"/>
          <a:lstStyle>
            <a:lvl1pPr marL="0" indent="0" algn="ctr">
              <a:buNone/>
              <a:defRPr sz="20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983670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6087960" y="812811"/>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910" y="403364"/>
            <a:ext cx="4954660" cy="1101929"/>
          </a:xfrm>
          <a:prstGeom prst="rect">
            <a:avLst/>
          </a:prstGeom>
        </p:spPr>
        <p:txBody>
          <a:bodyPr lIns="61685" tIns="34284" rIns="61685" bIns="34284" rtlCol="0">
            <a:noAutofit/>
          </a:bodyPr>
          <a:lstStyle>
            <a:lvl1pPr algn="l" defTabSz="913869" rtl="0" eaLnBrk="1" latinLnBrk="0" hangingPunct="1">
              <a:lnSpc>
                <a:spcPct val="80000"/>
              </a:lnSpc>
              <a:spcBef>
                <a:spcPct val="0"/>
              </a:spcBef>
              <a:buNone/>
              <a:defRPr lang="en-US" sz="4267" b="0" i="0" kern="1200" spc="-100"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6541290" y="403341"/>
            <a:ext cx="4954660" cy="1101928"/>
          </a:xfrm>
          <a:prstGeom prst="rect">
            <a:avLst/>
          </a:prstGeom>
        </p:spPr>
        <p:txBody>
          <a:bodyPr lIns="91384" tIns="45692" rIns="91384" bIns="45692" anchor="ctr" anchorCtr="0">
            <a:noAutofit/>
          </a:bodyPr>
          <a:lstStyle>
            <a:lvl1pPr marL="0" marR="0" indent="0" algn="l" defTabSz="913869" rtl="0" eaLnBrk="1" fontAlgn="auto" latinLnBrk="0" hangingPunct="1">
              <a:lnSpc>
                <a:spcPct val="80000"/>
              </a:lnSpc>
              <a:spcBef>
                <a:spcPct val="0"/>
              </a:spcBef>
              <a:spcAft>
                <a:spcPts val="0"/>
              </a:spcAft>
              <a:buClrTx/>
              <a:buSzTx/>
              <a:buFontTx/>
              <a:buNone/>
              <a:tabLst/>
              <a:defRPr lang="en-US" sz="4267" b="0" i="0" kern="1200" spc="-100"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623910" y="1797051"/>
            <a:ext cx="4954660" cy="4110792"/>
          </a:xfrm>
          <a:prstGeom prst="rect">
            <a:avLst/>
          </a:prstGeom>
        </p:spPr>
        <p:txBody>
          <a:bodyPr lIns="91384" tIns="45692" rIns="91384" bIns="45692">
            <a:noAutofit/>
          </a:bodyPr>
          <a:lstStyle>
            <a:lvl1pPr marL="304592" indent="-228453">
              <a:lnSpc>
                <a:spcPct val="95000"/>
              </a:lnSpc>
              <a:spcBef>
                <a:spcPts val="1480"/>
              </a:spcBef>
              <a:buClr>
                <a:schemeClr val="tx1"/>
              </a:buClr>
              <a:buSzPct val="80000"/>
              <a:buFont typeface="Arial"/>
              <a:buChar char="•"/>
              <a:defRPr sz="2667" b="0" i="0">
                <a:solidFill>
                  <a:schemeClr val="tx1"/>
                </a:solidFill>
                <a:latin typeface="+mn-lt"/>
                <a:cs typeface="CiscoSans ExtraLight"/>
              </a:defRPr>
            </a:lvl1pPr>
            <a:lvl2pPr marL="609179" indent="-287659">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650" indent="-228453">
              <a:buClr>
                <a:schemeClr val="tx1"/>
              </a:buClr>
              <a:buSzPct val="80000"/>
              <a:buFont typeface="Arial"/>
              <a:buChar char="•"/>
              <a:defRPr sz="2133" b="0" i="0">
                <a:solidFill>
                  <a:schemeClr val="tx1"/>
                </a:solidFill>
                <a:latin typeface="+mn-lt"/>
                <a:cs typeface="CiscoSans ExtraLight"/>
              </a:defRPr>
            </a:lvl3pPr>
            <a:lvl4pPr marL="1066081" indent="-228453">
              <a:buClr>
                <a:schemeClr val="tx1"/>
              </a:buClr>
              <a:buSzPct val="80000"/>
              <a:buFont typeface="Arial"/>
              <a:buChar char="•"/>
              <a:defRPr sz="1867" b="0" i="0">
                <a:solidFill>
                  <a:schemeClr val="tx1"/>
                </a:solidFill>
                <a:latin typeface="+mn-lt"/>
                <a:cs typeface="CiscoSans ExtraLight"/>
              </a:defRPr>
            </a:lvl4pPr>
            <a:lvl5pPr marL="1294532" indent="-228453">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6541290" y="1797051"/>
            <a:ext cx="4954660" cy="4110792"/>
          </a:xfrm>
          <a:prstGeom prst="rect">
            <a:avLst/>
          </a:prstGeom>
        </p:spPr>
        <p:txBody>
          <a:bodyPr lIns="91384" tIns="45692" rIns="91384" bIns="45692">
            <a:noAutofit/>
          </a:bodyPr>
          <a:lstStyle>
            <a:lvl1pPr marL="304592" indent="-228453">
              <a:lnSpc>
                <a:spcPct val="95000"/>
              </a:lnSpc>
              <a:spcBef>
                <a:spcPts val="1480"/>
              </a:spcBef>
              <a:buClr>
                <a:schemeClr val="tx1"/>
              </a:buClr>
              <a:buSzPct val="80000"/>
              <a:buFont typeface="Arial"/>
              <a:buChar char="•"/>
              <a:defRPr sz="2667" b="0" i="0">
                <a:solidFill>
                  <a:schemeClr val="tx1"/>
                </a:solidFill>
                <a:latin typeface="+mn-lt"/>
                <a:cs typeface="CiscoSans ExtraLight"/>
              </a:defRPr>
            </a:lvl1pPr>
            <a:lvl2pPr marL="609179" indent="-287659">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650" indent="-228453">
              <a:buClr>
                <a:schemeClr val="tx1"/>
              </a:buClr>
              <a:buSzPct val="80000"/>
              <a:buFont typeface="Arial"/>
              <a:buChar char="•"/>
              <a:defRPr sz="2133" b="0" i="0">
                <a:solidFill>
                  <a:schemeClr val="tx1"/>
                </a:solidFill>
                <a:latin typeface="+mn-lt"/>
                <a:cs typeface="CiscoSans ExtraLight"/>
              </a:defRPr>
            </a:lvl3pPr>
            <a:lvl4pPr marL="1066081" indent="-228453">
              <a:buClr>
                <a:schemeClr val="tx1"/>
              </a:buClr>
              <a:buSzPct val="80000"/>
              <a:buFont typeface="Arial"/>
              <a:buChar char="•"/>
              <a:defRPr sz="1867" b="0" i="0">
                <a:solidFill>
                  <a:schemeClr val="tx1"/>
                </a:solidFill>
                <a:latin typeface="+mn-lt"/>
                <a:cs typeface="CiscoSans ExtraLight"/>
              </a:defRPr>
            </a:lvl4pPr>
            <a:lvl5pPr marL="1294532" indent="-228453">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476889780"/>
      </p:ext>
    </p:extLst>
  </p:cSld>
  <p:clrMapOvr>
    <a:masterClrMapping/>
  </p:clrMapOvr>
  <p:transition spd="med">
    <p:fade/>
  </p:transition>
  <p:hf hdr="0" ftr="0" dt="0"/>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4093633" y="812811"/>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49684" y="812811"/>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615974" y="304448"/>
            <a:ext cx="3116145" cy="1027281"/>
          </a:xfrm>
          <a:prstGeom prst="rect">
            <a:avLst/>
          </a:prstGeom>
        </p:spPr>
        <p:txBody>
          <a:bodyPr lIns="91384" tIns="45692" rIns="91384" bIns="45692" anchor="b" anchorCtr="0">
            <a:noAutofit/>
          </a:bodyPr>
          <a:lstStyle>
            <a:lvl1pPr marL="0" marR="0" indent="0" algn="l" defTabSz="913869"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4503660" y="303808"/>
            <a:ext cx="3116145" cy="1027281"/>
          </a:xfrm>
          <a:prstGeom prst="rect">
            <a:avLst/>
          </a:prstGeom>
        </p:spPr>
        <p:txBody>
          <a:bodyPr lIns="91384" tIns="45692" rIns="91384" bIns="45692" anchor="b" anchorCtr="0">
            <a:noAutofit/>
          </a:bodyPr>
          <a:lstStyle>
            <a:lvl1pPr marL="0" marR="0" indent="0" algn="l" defTabSz="913869"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8473106" y="293994"/>
            <a:ext cx="3116145" cy="1027281"/>
          </a:xfrm>
          <a:prstGeom prst="rect">
            <a:avLst/>
          </a:prstGeom>
        </p:spPr>
        <p:txBody>
          <a:bodyPr lIns="91384" tIns="45692" rIns="91384" bIns="45692" anchor="b" anchorCtr="0">
            <a:noAutofit/>
          </a:bodyPr>
          <a:lstStyle>
            <a:lvl1pPr marL="0" marR="0" indent="0" algn="l" defTabSz="913869"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615953" y="1601459"/>
            <a:ext cx="3116147" cy="4419872"/>
          </a:xfrm>
          <a:prstGeom prst="rect">
            <a:avLst/>
          </a:prstGeom>
        </p:spPr>
        <p:txBody>
          <a:bodyPr lIns="91384" tIns="45692" rIns="91384" bIns="45692">
            <a:noAutofit/>
          </a:bodyPr>
          <a:lstStyle>
            <a:lvl1pPr marL="310940" indent="-228453">
              <a:lnSpc>
                <a:spcPct val="95000"/>
              </a:lnSpc>
              <a:spcBef>
                <a:spcPts val="1480"/>
              </a:spcBef>
              <a:buClr>
                <a:schemeClr val="tx1"/>
              </a:buClr>
              <a:buSzPct val="80000"/>
              <a:buFont typeface="Arial"/>
              <a:buChar char="•"/>
              <a:defRPr sz="2133"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618" indent="-228453">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4503640" y="1600428"/>
            <a:ext cx="3116147" cy="4419872"/>
          </a:xfrm>
          <a:prstGeom prst="rect">
            <a:avLst/>
          </a:prstGeom>
        </p:spPr>
        <p:txBody>
          <a:bodyPr lIns="91384" tIns="45692" rIns="91384" bIns="45692">
            <a:noAutofit/>
          </a:bodyPr>
          <a:lstStyle>
            <a:lvl1pPr marL="310940" indent="-228453">
              <a:lnSpc>
                <a:spcPct val="95000"/>
              </a:lnSpc>
              <a:spcBef>
                <a:spcPts val="1480"/>
              </a:spcBef>
              <a:buClr>
                <a:schemeClr val="tx1"/>
              </a:buClr>
              <a:buSzPct val="80000"/>
              <a:buFont typeface="Arial"/>
              <a:buChar char="•"/>
              <a:defRPr sz="2133"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618" indent="-228453">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8473085" y="1600428"/>
            <a:ext cx="3116147" cy="4419872"/>
          </a:xfrm>
          <a:prstGeom prst="rect">
            <a:avLst/>
          </a:prstGeom>
        </p:spPr>
        <p:txBody>
          <a:bodyPr lIns="91384" tIns="45692" rIns="91384" bIns="45692">
            <a:noAutofit/>
          </a:bodyPr>
          <a:lstStyle>
            <a:lvl1pPr marL="310940" indent="-228453">
              <a:lnSpc>
                <a:spcPct val="95000"/>
              </a:lnSpc>
              <a:spcBef>
                <a:spcPts val="1480"/>
              </a:spcBef>
              <a:buClr>
                <a:schemeClr val="tx1"/>
              </a:buClr>
              <a:buSzPct val="80000"/>
              <a:buFont typeface="Arial"/>
              <a:buChar char="•"/>
              <a:defRPr sz="2133"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618" indent="-228453">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823817398"/>
      </p:ext>
    </p:extLst>
  </p:cSld>
  <p:clrMapOvr>
    <a:masterClrMapping/>
  </p:clrMapOvr>
  <p:transition spd="med">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6760638" y="1773768"/>
            <a:ext cx="4950372" cy="413596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45" tIns="60923" rIns="121845" bIns="60923" anchor="ctr"/>
          <a:lstStyle/>
          <a:p>
            <a:pPr algn="ctr" defTabSz="609307">
              <a:defRPr/>
            </a:pPr>
            <a:endParaRPr lang="en-US" sz="2400" dirty="0">
              <a:solidFill>
                <a:srgbClr val="FFFFFF"/>
              </a:solidFill>
            </a:endParaRPr>
          </a:p>
        </p:txBody>
      </p:sp>
      <p:sp>
        <p:nvSpPr>
          <p:cNvPr id="12" name="Text Placeholder 11"/>
          <p:cNvSpPr>
            <a:spLocks noGrp="1"/>
          </p:cNvSpPr>
          <p:nvPr>
            <p:ph type="body" sz="quarter" idx="11" hasCustomPrompt="1"/>
          </p:nvPr>
        </p:nvSpPr>
        <p:spPr>
          <a:xfrm>
            <a:off x="6864941" y="1975668"/>
            <a:ext cx="4501216" cy="2212024"/>
          </a:xfrm>
          <a:prstGeom prst="rect">
            <a:avLst/>
          </a:prstGeom>
        </p:spPr>
        <p:txBody>
          <a:bodyPr lIns="91384" tIns="45692" rIns="91384" bIns="45692">
            <a:noAutofit/>
          </a:bodyPr>
          <a:lstStyle>
            <a:lvl1pPr marL="114241" indent="-114241" algn="l" defTabSz="913869" rtl="0" eaLnBrk="1" latinLnBrk="0" hangingPunct="1">
              <a:lnSpc>
                <a:spcPct val="90000"/>
              </a:lnSpc>
              <a:spcBef>
                <a:spcPts val="0"/>
              </a:spcBef>
              <a:buNone/>
              <a:defRPr lang="en-US" sz="2000" kern="1200" baseline="0" dirty="0" smtClean="0">
                <a:solidFill>
                  <a:schemeClr val="tx2"/>
                </a:solidFill>
                <a:latin typeface="+mn-lt"/>
                <a:ea typeface="+mn-ea"/>
                <a:cs typeface="CiscoSans ExtraLight"/>
              </a:defRPr>
            </a:lvl1pPr>
            <a:lvl2pPr marL="114241" indent="-114241" algn="l" defTabSz="913869" rtl="0" eaLnBrk="1" latinLnBrk="0" hangingPunct="1">
              <a:defRPr lang="en-US" sz="2000" kern="1200" dirty="0" smtClean="0">
                <a:solidFill>
                  <a:schemeClr val="accent2"/>
                </a:solidFill>
                <a:latin typeface="Ciscolight" pitchFamily="2" charset="0"/>
                <a:ea typeface="+mn-ea"/>
                <a:cs typeface="+mn-cs"/>
              </a:defRPr>
            </a:lvl2pPr>
            <a:lvl3pPr marL="114241" indent="-114241" algn="l" defTabSz="913869" rtl="0" eaLnBrk="1" latinLnBrk="0" hangingPunct="1">
              <a:defRPr lang="en-US" sz="2000" kern="1200" dirty="0" smtClean="0">
                <a:solidFill>
                  <a:schemeClr val="accent2"/>
                </a:solidFill>
                <a:latin typeface="Ciscolight" pitchFamily="2" charset="0"/>
                <a:ea typeface="+mn-ea"/>
                <a:cs typeface="+mn-cs"/>
              </a:defRPr>
            </a:lvl3pPr>
            <a:lvl4pPr marL="114241" indent="-114241" algn="l" defTabSz="913869" rtl="0" eaLnBrk="1" latinLnBrk="0" hangingPunct="1">
              <a:defRPr lang="en-US" sz="2000" kern="1200" dirty="0" smtClean="0">
                <a:solidFill>
                  <a:schemeClr val="accent2"/>
                </a:solidFill>
                <a:latin typeface="Ciscolight" pitchFamily="2" charset="0"/>
                <a:ea typeface="+mn-ea"/>
                <a:cs typeface="+mn-cs"/>
              </a:defRPr>
            </a:lvl4pPr>
            <a:lvl5pPr marL="114241" indent="-114241" algn="l" defTabSz="913869" rtl="0" eaLnBrk="1" latinLnBrk="0" hangingPunct="1">
              <a:defRPr lang="en-US" sz="20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6864964" y="4736592"/>
            <a:ext cx="4674993" cy="338328"/>
          </a:xfrm>
          <a:prstGeom prst="rect">
            <a:avLst/>
          </a:prstGeom>
        </p:spPr>
        <p:txBody>
          <a:bodyPr lIns="91384" tIns="45692" rIns="91384" bIns="45692">
            <a:noAutofit/>
          </a:bodyPr>
          <a:lstStyle>
            <a:lvl1pPr marL="0" indent="0">
              <a:buClr>
                <a:schemeClr val="tx2"/>
              </a:buClr>
              <a:buFontTx/>
              <a:buNone/>
              <a:defRPr sz="16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583712" y="1797051"/>
            <a:ext cx="5201497" cy="4110792"/>
          </a:xfrm>
          <a:prstGeom prst="rect">
            <a:avLst/>
          </a:prstGeom>
        </p:spPr>
        <p:txBody>
          <a:bodyPr lIns="91384" tIns="45692" rIns="91384" bIns="45692">
            <a:noAutofit/>
          </a:bodyPr>
          <a:lstStyle>
            <a:lvl1pPr marL="304592" indent="-228453">
              <a:lnSpc>
                <a:spcPct val="95000"/>
              </a:lnSpc>
              <a:spcBef>
                <a:spcPts val="1480"/>
              </a:spcBef>
              <a:buClr>
                <a:schemeClr val="tx1"/>
              </a:buClr>
              <a:buSzPct val="80000"/>
              <a:buFont typeface="Arial"/>
              <a:buChar char="•"/>
              <a:defRPr sz="2667" b="0" i="0">
                <a:solidFill>
                  <a:schemeClr val="tx1"/>
                </a:solidFill>
                <a:latin typeface="+mn-lt"/>
                <a:cs typeface="CiscoSans ExtraLight"/>
              </a:defRPr>
            </a:lvl1pPr>
            <a:lvl2pPr marL="609179" indent="-287659">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650" indent="-228453">
              <a:buClr>
                <a:schemeClr val="tx1"/>
              </a:buClr>
              <a:buSzPct val="80000"/>
              <a:buFont typeface="Arial"/>
              <a:buChar char="•"/>
              <a:defRPr sz="2133" b="0" i="0">
                <a:solidFill>
                  <a:schemeClr val="tx1"/>
                </a:solidFill>
                <a:latin typeface="+mn-lt"/>
                <a:cs typeface="CiscoSans ExtraLight"/>
              </a:defRPr>
            </a:lvl3pPr>
            <a:lvl4pPr marL="1066081" indent="-228453">
              <a:buClr>
                <a:schemeClr val="tx1"/>
              </a:buClr>
              <a:buSzPct val="80000"/>
              <a:buFont typeface="Arial"/>
              <a:buChar char="•"/>
              <a:defRPr sz="1867" b="0" i="0">
                <a:solidFill>
                  <a:schemeClr val="tx1"/>
                </a:solidFill>
                <a:latin typeface="+mn-lt"/>
                <a:cs typeface="CiscoSans ExtraLight"/>
              </a:defRPr>
            </a:lvl4pPr>
            <a:lvl5pPr marL="1294532" indent="-228453">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583688" y="45510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8" tIns="45694" rIns="91388" bIns="45694"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095097920"/>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10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8" tIns="45694" rIns="91388" bIns="45694"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423015654"/>
      </p:ext>
    </p:extLst>
  </p:cSld>
  <p:clrMapOvr>
    <a:masterClrMapping/>
  </p:clrMapOvr>
  <p:transition spd="med">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624417" y="5221411"/>
            <a:ext cx="10389144" cy="465808"/>
          </a:xfrm>
          <a:prstGeom prst="rect">
            <a:avLst/>
          </a:prstGeom>
        </p:spPr>
        <p:txBody>
          <a:bodyPr wrap="square" lIns="91384" tIns="45692" rIns="91384" bIns="45692" anchor="b" anchorCtr="0">
            <a:noAutofit/>
          </a:bodyPr>
          <a:lstStyle>
            <a:lvl1pPr marL="0" indent="0" algn="l" defTabSz="804393">
              <a:lnSpc>
                <a:spcPct val="100000"/>
              </a:lnSpc>
              <a:spcBef>
                <a:spcPct val="50000"/>
              </a:spcBef>
              <a:buNone/>
              <a:defRPr sz="2933" b="0" i="0">
                <a:solidFill>
                  <a:srgbClr val="676767"/>
                </a:solidFill>
                <a:latin typeface="+mj-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GB" dirty="0"/>
              <a:t>Click to edit text </a:t>
            </a:r>
          </a:p>
        </p:txBody>
      </p:sp>
      <p:sp>
        <p:nvSpPr>
          <p:cNvPr id="4" name="Title 1"/>
          <p:cNvSpPr>
            <a:spLocks noGrp="1"/>
          </p:cNvSpPr>
          <p:nvPr>
            <p:ph type="ctrTitle" hasCustomPrompt="1"/>
          </p:nvPr>
        </p:nvSpPr>
        <p:spPr>
          <a:xfrm>
            <a:off x="383897" y="2054075"/>
            <a:ext cx="10629664" cy="3038449"/>
          </a:xfrm>
          <a:prstGeom prst="rect">
            <a:avLst/>
          </a:prstGeom>
        </p:spPr>
        <p:txBody>
          <a:bodyPr anchor="ctr">
            <a:noAutofit/>
          </a:bodyPr>
          <a:lstStyle>
            <a:lvl1pPr marL="244689" indent="-533041" algn="l">
              <a:lnSpc>
                <a:spcPct val="90000"/>
              </a:lnSpc>
              <a:defRPr sz="6133"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1024553525"/>
      </p:ext>
    </p:extLst>
  </p:cSld>
  <p:clrMapOvr>
    <a:masterClrMapping/>
  </p:clrMapOvr>
  <p:transition spd="med">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6146928" y="812811"/>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618352" y="1918764"/>
            <a:ext cx="5093797" cy="3020519"/>
          </a:xfrm>
        </p:spPr>
        <p:txBody>
          <a:bodyPr lIns="61688" tIns="34284" rIns="61688" bIns="34284" rtlCol="0" anchor="ctr">
            <a:noAutofit/>
          </a:bodyPr>
          <a:lstStyle>
            <a:lvl1pPr marL="0" indent="0" algn="l" defTabSz="913908" rtl="0" eaLnBrk="1" latinLnBrk="0" hangingPunct="1">
              <a:lnSpc>
                <a:spcPct val="80000"/>
              </a:lnSpc>
              <a:spcBef>
                <a:spcPct val="0"/>
              </a:spcBef>
              <a:buClr>
                <a:schemeClr val="tx1"/>
              </a:buClr>
              <a:buFont typeface="Ciscolight" pitchFamily="2" charset="0"/>
              <a:buNone/>
              <a:defRPr lang="en-US" sz="6000"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6563361" y="872691"/>
            <a:ext cx="5154507" cy="5120640"/>
          </a:xfrm>
          <a:prstGeom prst="rect">
            <a:avLst/>
          </a:prstGeom>
        </p:spPr>
        <p:txBody>
          <a:bodyPr lIns="91384" tIns="45692" rIns="91384" bIns="45692" anchor="ctr" anchorCtr="0">
            <a:noAutofit/>
          </a:bodyPr>
          <a:lstStyle>
            <a:lvl1pPr marL="0" indent="0">
              <a:buFontTx/>
              <a:buNone/>
              <a:defRPr sz="2133" baseline="0">
                <a:solidFill>
                  <a:schemeClr val="tx1"/>
                </a:solidFill>
                <a:latin typeface="+mn-lt"/>
              </a:defRPr>
            </a:lvl1pPr>
            <a:lvl2pPr>
              <a:defRPr sz="2000"/>
            </a:lvl2pPr>
            <a:lvl3pPr>
              <a:defRPr sz="2000"/>
            </a:lvl3pPr>
            <a:lvl4pPr>
              <a:defRPr sz="2000"/>
            </a:lvl4pPr>
            <a:lvl5pPr>
              <a:defRPr sz="2000"/>
            </a:lvl5pPr>
          </a:lstStyle>
          <a:p>
            <a:pPr lvl="0"/>
            <a:r>
              <a:rPr lang="en-GB" dirty="0"/>
              <a:t>Click to edit text</a:t>
            </a:r>
          </a:p>
        </p:txBody>
      </p:sp>
    </p:spTree>
    <p:extLst>
      <p:ext uri="{BB962C8B-B14F-4D97-AF65-F5344CB8AC3E}">
        <p14:creationId xmlns:p14="http://schemas.microsoft.com/office/powerpoint/2010/main" val="1101195637"/>
      </p:ext>
    </p:extLst>
  </p:cSld>
  <p:clrMapOvr>
    <a:masterClrMapping/>
  </p:clrMapOvr>
  <p:transition spd="slow">
    <p:wip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83688" y="1797053"/>
            <a:ext cx="11127317" cy="3544971"/>
          </a:xfrm>
          <a:prstGeom prst="rect">
            <a:avLst/>
          </a:prstGeom>
        </p:spPr>
        <p:txBody>
          <a:bodyPr lIns="91384" tIns="45692" rIns="91384" bIns="45692">
            <a:noAutofit/>
          </a:bodyPr>
          <a:lstStyle>
            <a:lvl1pPr marL="0" indent="0" algn="ctr">
              <a:buNone/>
              <a:defRPr sz="2667" baseline="0">
                <a:solidFill>
                  <a:schemeClr val="tx1"/>
                </a:solidFill>
                <a:latin typeface="+mn-lt"/>
              </a:defRPr>
            </a:lvl1pPr>
          </a:lstStyle>
          <a:p>
            <a:pPr lvl="0"/>
            <a:r>
              <a:rPr lang="en-US" noProof="0" dirty="0"/>
              <a:t>Click icon to add table</a:t>
            </a:r>
            <a:endParaRPr lang="en-GB" noProof="0" dirty="0"/>
          </a:p>
        </p:txBody>
      </p:sp>
      <p:sp>
        <p:nvSpPr>
          <p:cNvPr id="6" name="Text Placeholder 9"/>
          <p:cNvSpPr>
            <a:spLocks noGrp="1"/>
          </p:cNvSpPr>
          <p:nvPr>
            <p:ph type="body" sz="quarter" idx="11" hasCustomPrompt="1"/>
          </p:nvPr>
        </p:nvSpPr>
        <p:spPr>
          <a:xfrm>
            <a:off x="583692" y="5530984"/>
            <a:ext cx="9573749" cy="434977"/>
          </a:xfrm>
          <a:prstGeom prst="rect">
            <a:avLst/>
          </a:prstGeom>
        </p:spPr>
        <p:txBody>
          <a:bodyPr wrap="square" lIns="91384" tIns="45692" rIns="91384" bIns="45692" anchor="b" anchorCtr="0">
            <a:noAutofit/>
          </a:bodyPr>
          <a:lstStyle>
            <a:lvl1pPr algn="l" defTabSz="804393">
              <a:lnSpc>
                <a:spcPct val="100000"/>
              </a:lnSpc>
              <a:spcBef>
                <a:spcPct val="50000"/>
              </a:spcBef>
              <a:buNone/>
              <a:defRPr sz="2133" b="0" i="0">
                <a:solidFill>
                  <a:srgbClr val="676767"/>
                </a:solidFill>
                <a:latin typeface="+mj-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GB" dirty="0"/>
              <a:t>Source</a:t>
            </a:r>
          </a:p>
        </p:txBody>
      </p:sp>
      <p:sp>
        <p:nvSpPr>
          <p:cNvPr id="5" name="Title Placeholder 5"/>
          <p:cNvSpPr>
            <a:spLocks noGrp="1"/>
          </p:cNvSpPr>
          <p:nvPr>
            <p:ph type="title" hasCustomPrompt="1"/>
          </p:nvPr>
        </p:nvSpPr>
        <p:spPr bwMode="auto">
          <a:xfrm>
            <a:off x="583688" y="45510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8" tIns="45694" rIns="91388" bIns="45694"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867336427"/>
      </p:ext>
    </p:extLst>
  </p:cSld>
  <p:clrMapOvr>
    <a:masterClrMapping/>
  </p:clrMapOvr>
  <p:transition spd="med">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83688" y="1799168"/>
            <a:ext cx="11127317" cy="3547533"/>
          </a:xfrm>
          <a:prstGeom prst="rect">
            <a:avLst/>
          </a:prstGeom>
        </p:spPr>
        <p:txBody>
          <a:bodyPr vert="horz" lIns="91384" tIns="45692" rIns="91384" bIns="45692">
            <a:noAutofit/>
          </a:bodyPr>
          <a:lstStyle>
            <a:lvl1pPr marL="0" indent="0" algn="ctr">
              <a:buNone/>
              <a:defRPr sz="2667" b="0" i="0">
                <a:solidFill>
                  <a:schemeClr val="tx1"/>
                </a:solidFill>
                <a:latin typeface="+mn-lt"/>
                <a:cs typeface="CiscoSans ExtraLight"/>
              </a:defRPr>
            </a:lvl1pPr>
          </a:lstStyle>
          <a:p>
            <a:pPr lvl="0"/>
            <a:r>
              <a:rPr lang="en-US" noProof="0" dirty="0"/>
              <a:t>Click icon to add chart</a:t>
            </a:r>
          </a:p>
        </p:txBody>
      </p:sp>
      <p:sp>
        <p:nvSpPr>
          <p:cNvPr id="7" name="Text Placeholder 9"/>
          <p:cNvSpPr>
            <a:spLocks noGrp="1"/>
          </p:cNvSpPr>
          <p:nvPr>
            <p:ph type="body" sz="quarter" idx="11" hasCustomPrompt="1"/>
          </p:nvPr>
        </p:nvSpPr>
        <p:spPr>
          <a:xfrm>
            <a:off x="583692" y="5530984"/>
            <a:ext cx="9573749" cy="434977"/>
          </a:xfrm>
          <a:prstGeom prst="rect">
            <a:avLst/>
          </a:prstGeom>
        </p:spPr>
        <p:txBody>
          <a:bodyPr wrap="square" lIns="91384" tIns="45692" rIns="91384" bIns="45692" anchor="b" anchorCtr="0">
            <a:noAutofit/>
          </a:bodyPr>
          <a:lstStyle>
            <a:lvl1pPr algn="l" defTabSz="804393">
              <a:lnSpc>
                <a:spcPct val="100000"/>
              </a:lnSpc>
              <a:spcBef>
                <a:spcPct val="50000"/>
              </a:spcBef>
              <a:buNone/>
              <a:defRPr sz="2133" b="0" i="0">
                <a:solidFill>
                  <a:srgbClr val="676767"/>
                </a:solidFill>
                <a:latin typeface="+mj-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GB" dirty="0"/>
              <a:t>Source</a:t>
            </a:r>
          </a:p>
        </p:txBody>
      </p:sp>
      <p:sp>
        <p:nvSpPr>
          <p:cNvPr id="5" name="Title Placeholder 5"/>
          <p:cNvSpPr>
            <a:spLocks noGrp="1"/>
          </p:cNvSpPr>
          <p:nvPr>
            <p:ph type="title"/>
          </p:nvPr>
        </p:nvSpPr>
        <p:spPr bwMode="auto">
          <a:xfrm>
            <a:off x="583688" y="45510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8" tIns="45694" rIns="91388" bIns="45694"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94228118"/>
      </p:ext>
    </p:extLst>
  </p:cSld>
  <p:clrMapOvr>
    <a:masterClrMapping/>
  </p:clrMapOvr>
  <p:transition spd="med">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694" y="1799275"/>
            <a:ext cx="5342668" cy="4054364"/>
          </a:xfrm>
          <a:prstGeom prst="rect">
            <a:avLst/>
          </a:prstGeom>
        </p:spPr>
        <p:txBody>
          <a:bodyPr lIns="91384" tIns="45692" rIns="91384" bIns="45692" anchor="ctr" anchorCtr="0">
            <a:noAutofit/>
          </a:bodyPr>
          <a:lstStyle>
            <a:lvl1pPr marL="0" indent="0">
              <a:buNone/>
              <a:defRPr sz="32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6279877" y="1799189"/>
            <a:ext cx="5431128" cy="4052529"/>
          </a:xfrm>
          <a:prstGeom prst="rect">
            <a:avLst/>
          </a:prstGeom>
        </p:spPr>
        <p:txBody>
          <a:bodyPr vert="horz" lIns="91384" tIns="45692" rIns="91384" bIns="45692">
            <a:noAutofit/>
          </a:bodyPr>
          <a:lstStyle>
            <a:lvl1pPr marL="0" indent="0" algn="ctr">
              <a:buNone/>
              <a:defRPr sz="2667">
                <a:solidFill>
                  <a:schemeClr val="tx1"/>
                </a:solidFill>
                <a:latin typeface="+mn-lt"/>
                <a:cs typeface="CiscoSans ExtraLight"/>
              </a:defRPr>
            </a:lvl1pPr>
          </a:lstStyle>
          <a:p>
            <a:pPr lvl="0"/>
            <a:r>
              <a:rPr lang="en-US" noProof="0" dirty="0"/>
              <a:t>Click icon to add chart</a:t>
            </a:r>
          </a:p>
        </p:txBody>
      </p:sp>
      <p:sp>
        <p:nvSpPr>
          <p:cNvPr id="5" name="Title Placeholder 5"/>
          <p:cNvSpPr>
            <a:spLocks noGrp="1"/>
          </p:cNvSpPr>
          <p:nvPr>
            <p:ph type="title"/>
          </p:nvPr>
        </p:nvSpPr>
        <p:spPr bwMode="auto">
          <a:xfrm>
            <a:off x="583688" y="45510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8" tIns="45694" rIns="91388" bIns="45694"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429285964"/>
      </p:ext>
    </p:extLst>
  </p:cSld>
  <p:clrMapOvr>
    <a:masterClrMapping/>
  </p:clrMapOvr>
  <p:transition spd="med">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691" y="1799139"/>
            <a:ext cx="5338660" cy="4054500"/>
          </a:xfrm>
          <a:prstGeom prst="rect">
            <a:avLst/>
          </a:prstGeom>
        </p:spPr>
        <p:txBody>
          <a:bodyPr lIns="91384" tIns="45692" rIns="91384" bIns="45692" anchor="ctr" anchorCtr="0">
            <a:noAutofit/>
          </a:bodyPr>
          <a:lstStyle>
            <a:lvl1pPr marL="0" indent="0">
              <a:buNone/>
              <a:defRPr sz="32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6277480" y="1799167"/>
            <a:ext cx="5433525" cy="4054944"/>
          </a:xfrm>
          <a:prstGeom prst="rect">
            <a:avLst/>
          </a:prstGeom>
        </p:spPr>
        <p:txBody>
          <a:bodyPr vert="horz" lIns="91384" tIns="45692" rIns="91384" bIns="45692">
            <a:noAutofit/>
          </a:bodyPr>
          <a:lstStyle>
            <a:lvl1pPr marL="0" indent="0" algn="ctr">
              <a:buNone/>
              <a:defRPr sz="2667" b="0" i="0">
                <a:solidFill>
                  <a:schemeClr val="tx1"/>
                </a:solidFill>
                <a:latin typeface="+mn-lt"/>
                <a:cs typeface="CiscoSans ExtraLight"/>
              </a:defRPr>
            </a:lvl1pPr>
          </a:lstStyle>
          <a:p>
            <a:pPr lvl="0"/>
            <a:r>
              <a:rPr lang="en-US" noProof="0" dirty="0"/>
              <a:t>Drag picture to placeholder or click icon to add</a:t>
            </a:r>
          </a:p>
        </p:txBody>
      </p:sp>
      <p:sp>
        <p:nvSpPr>
          <p:cNvPr id="5" name="Title Placeholder 5"/>
          <p:cNvSpPr>
            <a:spLocks noGrp="1"/>
          </p:cNvSpPr>
          <p:nvPr>
            <p:ph type="title"/>
          </p:nvPr>
        </p:nvSpPr>
        <p:spPr bwMode="auto">
          <a:xfrm>
            <a:off x="583688" y="45510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8" tIns="45694" rIns="91388" bIns="45694"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705734278"/>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24" tIns="45714" rIns="91424" bIns="45714" anchor="ctr"/>
          <a:lstStyle/>
          <a:p>
            <a:endParaRPr lang="en-US" sz="2400"/>
          </a:p>
        </p:txBody>
      </p:sp>
      <p:sp>
        <p:nvSpPr>
          <p:cNvPr id="6" name="Rectangle 3"/>
          <p:cNvSpPr>
            <a:spLocks noChangeArrowheads="1"/>
          </p:cNvSpPr>
          <p:nvPr/>
        </p:nvSpPr>
        <p:spPr bwMode="hidden">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24" tIns="45714" rIns="91424" bIns="45714" anchor="ctr"/>
          <a:lstStyle/>
          <a:p>
            <a:endParaRPr lang="en-US" sz="2400"/>
          </a:p>
        </p:txBody>
      </p:sp>
      <p:sp>
        <p:nvSpPr>
          <p:cNvPr id="3" name="Subtitle 2"/>
          <p:cNvSpPr>
            <a:spLocks noGrp="1"/>
          </p:cNvSpPr>
          <p:nvPr>
            <p:ph type="subTitle" idx="1" hasCustomPrompt="1"/>
          </p:nvPr>
        </p:nvSpPr>
        <p:spPr>
          <a:xfrm>
            <a:off x="666560" y="4279406"/>
            <a:ext cx="6246489" cy="384175"/>
          </a:xfrm>
          <a:prstGeom prst="rect">
            <a:avLst/>
          </a:prstGeom>
        </p:spPr>
        <p:txBody>
          <a:bodyPr vert="horz" lIns="68569" tIns="34286" rIns="68569" bIns="34286" rtlCol="0">
            <a:noAutofit/>
          </a:bodyPr>
          <a:lstStyle>
            <a:lvl1pPr marL="0" indent="0" algn="l" defTabSz="914217" rtl="0" eaLnBrk="1" latinLnBrk="0" hangingPunct="1">
              <a:lnSpc>
                <a:spcPct val="95000"/>
              </a:lnSpc>
              <a:spcBef>
                <a:spcPts val="1440"/>
              </a:spcBef>
              <a:buClr>
                <a:srgbClr val="92D050"/>
              </a:buClr>
              <a:buSzPct val="90000"/>
              <a:buFont typeface="Arial" pitchFamily="34" charset="0"/>
              <a:buNone/>
              <a:tabLst/>
              <a:defRPr lang="en-US" sz="2400" kern="1200" baseline="0" dirty="0">
                <a:solidFill>
                  <a:schemeClr val="accent3"/>
                </a:solidFill>
                <a:latin typeface="+mj-lt"/>
                <a:ea typeface="+mn-ea"/>
                <a:cs typeface="+mn-cs"/>
              </a:defRPr>
            </a:lvl1pPr>
            <a:lvl2pPr marL="457103"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7" indent="0" algn="ctr">
              <a:buNone/>
              <a:defRPr>
                <a:solidFill>
                  <a:schemeClr val="tx1">
                    <a:tint val="75000"/>
                  </a:schemeClr>
                </a:solidFill>
              </a:defRPr>
            </a:lvl5pPr>
            <a:lvl6pPr marL="2285542" indent="0" algn="ctr">
              <a:buNone/>
              <a:defRPr>
                <a:solidFill>
                  <a:schemeClr val="tx1">
                    <a:tint val="75000"/>
                  </a:schemeClr>
                </a:solidFill>
              </a:defRPr>
            </a:lvl6pPr>
            <a:lvl7pPr marL="2742654" indent="0" algn="ctr">
              <a:buNone/>
              <a:defRPr>
                <a:solidFill>
                  <a:schemeClr val="tx1">
                    <a:tint val="75000"/>
                  </a:schemeClr>
                </a:solidFill>
              </a:defRPr>
            </a:lvl7pPr>
            <a:lvl8pPr marL="3199760" indent="0" algn="ctr">
              <a:buNone/>
              <a:defRPr>
                <a:solidFill>
                  <a:schemeClr val="tx1">
                    <a:tint val="75000"/>
                  </a:schemeClr>
                </a:solidFill>
              </a:defRPr>
            </a:lvl8pPr>
            <a:lvl9pPr marL="3656871" indent="0" algn="ctr">
              <a:buNone/>
              <a:defRPr>
                <a:solidFill>
                  <a:schemeClr val="tx1">
                    <a:tint val="75000"/>
                  </a:schemeClr>
                </a:solidFill>
              </a:defRPr>
            </a:lvl9pPr>
          </a:lstStyle>
          <a:p>
            <a:pPr lvl="0"/>
            <a:r>
              <a:rPr lang="en-GB" dirty="0"/>
              <a:t>Presenter Name and Title Go Here</a:t>
            </a:r>
            <a:endParaRPr lang="en-US" dirty="0"/>
          </a:p>
        </p:txBody>
      </p:sp>
      <p:sp>
        <p:nvSpPr>
          <p:cNvPr id="2" name="Title 1"/>
          <p:cNvSpPr>
            <a:spLocks noGrp="1"/>
          </p:cNvSpPr>
          <p:nvPr>
            <p:ph type="ctrTitle" hasCustomPrompt="1"/>
          </p:nvPr>
        </p:nvSpPr>
        <p:spPr>
          <a:xfrm>
            <a:off x="612706" y="3282704"/>
            <a:ext cx="6283409" cy="1022351"/>
          </a:xfrm>
        </p:spPr>
        <p:txBody>
          <a:bodyPr lIns="61709" tIns="34286" rIns="61709" bIns="34286" rtlCol="0" anchor="b">
            <a:noAutofit/>
          </a:bodyPr>
          <a:lstStyle>
            <a:lvl1pPr marL="0" indent="0" algn="l" defTabSz="914217" rtl="0" eaLnBrk="1" latinLnBrk="0" hangingPunct="1">
              <a:lnSpc>
                <a:spcPct val="80000"/>
              </a:lnSpc>
              <a:spcBef>
                <a:spcPct val="0"/>
              </a:spcBef>
              <a:buClr>
                <a:schemeClr val="tx1"/>
              </a:buClr>
              <a:buFont typeface="Ciscolight" pitchFamily="2" charset="0"/>
              <a:buNone/>
              <a:defRPr lang="en-US" sz="6900" b="0" kern="1200" spc="0" baseline="0" dirty="0">
                <a:solidFill>
                  <a:srgbClr val="3E6BB4"/>
                </a:solidFill>
                <a:latin typeface="+mj-lt"/>
                <a:ea typeface="+mj-ea"/>
                <a:cs typeface="+mj-cs"/>
              </a:defRPr>
            </a:lvl1pPr>
          </a:lstStyle>
          <a:p>
            <a:r>
              <a:rPr lang="en-GB" dirty="0"/>
              <a:t>Demo Title</a:t>
            </a:r>
            <a:endParaRPr lang="en-US" dirty="0"/>
          </a:p>
        </p:txBody>
      </p:sp>
      <p:sp>
        <p:nvSpPr>
          <p:cNvPr id="31" name="Picture Placeholder 30"/>
          <p:cNvSpPr>
            <a:spLocks noGrp="1"/>
          </p:cNvSpPr>
          <p:nvPr>
            <p:ph type="pic" sz="quarter" idx="10"/>
          </p:nvPr>
        </p:nvSpPr>
        <p:spPr>
          <a:xfrm>
            <a:off x="7387175" y="1917701"/>
            <a:ext cx="3568700" cy="2889251"/>
          </a:xfrm>
          <a:prstGeom prst="rect">
            <a:avLst/>
          </a:prstGeom>
        </p:spPr>
        <p:txBody>
          <a:bodyPr lIns="91412" tIns="45710" rIns="91412" bIns="45710" anchor="ctr" anchorCtr="1"/>
          <a:lstStyle>
            <a:lvl1pPr marL="0" indent="0" algn="ctr">
              <a:buNone/>
              <a:defRPr>
                <a:solidFill>
                  <a:schemeClr val="accent3"/>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143755504"/>
      </p:ext>
    </p:extLst>
  </p:cSld>
  <p:clrMapOvr>
    <a:masterClrMapping/>
  </p:clrMapOvr>
  <p:transition spd="slow">
    <p:wip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4" name="Rectangle 3"/>
          <p:cNvSpPr/>
          <p:nvPr/>
        </p:nvSpPr>
        <p:spPr>
          <a:xfrm>
            <a:off x="2523069" y="795868"/>
            <a:ext cx="7131051" cy="40047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anchor="ctr"/>
          <a:lstStyle/>
          <a:p>
            <a:pPr algn="ctr" fontAlgn="auto">
              <a:spcBef>
                <a:spcPts val="0"/>
              </a:spcBef>
              <a:spcAft>
                <a:spcPts val="0"/>
              </a:spcAft>
              <a:defRPr/>
            </a:pPr>
            <a:endParaRPr lang="en-US" sz="2400">
              <a:latin typeface="+mj-lt"/>
            </a:endParaRPr>
          </a:p>
        </p:txBody>
      </p:sp>
      <p:sp>
        <p:nvSpPr>
          <p:cNvPr id="5" name="Rectangle 4"/>
          <p:cNvSpPr/>
          <p:nvPr/>
        </p:nvSpPr>
        <p:spPr>
          <a:xfrm>
            <a:off x="2523068" y="4794252"/>
            <a:ext cx="7128933" cy="99694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anchor="ctr"/>
          <a:lstStyle/>
          <a:p>
            <a:pPr algn="ctr" fontAlgn="auto">
              <a:spcBef>
                <a:spcPts val="0"/>
              </a:spcBef>
              <a:spcAft>
                <a:spcPts val="0"/>
              </a:spcAft>
              <a:defRPr/>
            </a:pPr>
            <a:endParaRPr lang="en-US" sz="2400">
              <a:latin typeface="+mj-lt"/>
            </a:endParaRPr>
          </a:p>
        </p:txBody>
      </p:sp>
      <p:sp>
        <p:nvSpPr>
          <p:cNvPr id="26" name="Picture Placeholder 25"/>
          <p:cNvSpPr>
            <a:spLocks noGrp="1"/>
          </p:cNvSpPr>
          <p:nvPr>
            <p:ph type="pic" sz="quarter" idx="10"/>
          </p:nvPr>
        </p:nvSpPr>
        <p:spPr>
          <a:xfrm>
            <a:off x="2533653" y="795528"/>
            <a:ext cx="7105651" cy="4005072"/>
          </a:xfrm>
          <a:prstGeom prst="rect">
            <a:avLst/>
          </a:prstGeom>
          <a:solidFill>
            <a:schemeClr val="bg1">
              <a:alpha val="30000"/>
            </a:schemeClr>
          </a:solidFill>
          <a:ln>
            <a:solidFill>
              <a:srgbClr val="676767"/>
            </a:solidFill>
          </a:ln>
          <a:effectLst/>
        </p:spPr>
        <p:txBody>
          <a:bodyPr lIns="91416" tIns="45710" rIns="91416" bIns="45710"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hasCustomPrompt="1"/>
          </p:nvPr>
        </p:nvSpPr>
        <p:spPr>
          <a:xfrm>
            <a:off x="2754497" y="4873439"/>
            <a:ext cx="6765427" cy="838200"/>
          </a:xfrm>
        </p:spPr>
        <p:txBody>
          <a:bodyPr anchor="ctr"/>
          <a:lstStyle>
            <a:lvl1pPr>
              <a:defRPr sz="27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1160600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p:cNvSpPr/>
          <p:nvPr userDrawn="1"/>
        </p:nvSpPr>
        <p:spPr>
          <a:xfrm>
            <a:off x="8113489" y="2163193"/>
            <a:ext cx="3091419" cy="3091419"/>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2" tIns="60936" rIns="121872" bIns="60936" rtlCol="0" anchor="ctr"/>
          <a:lstStyle/>
          <a:p>
            <a:pPr algn="ctr" defTabSz="609307" fontAlgn="base">
              <a:spcBef>
                <a:spcPct val="0"/>
              </a:spcBef>
              <a:spcAft>
                <a:spcPct val="0"/>
              </a:spcAft>
            </a:pPr>
            <a:endParaRPr lang="en-US" sz="2400" dirty="0">
              <a:solidFill>
                <a:srgbClr val="FFFFFF"/>
              </a:solidFill>
              <a:cs typeface="Arial"/>
            </a:endParaRPr>
          </a:p>
        </p:txBody>
      </p:sp>
      <p:sp>
        <p:nvSpPr>
          <p:cNvPr id="4" name="Oval 3"/>
          <p:cNvSpPr/>
          <p:nvPr userDrawn="1"/>
        </p:nvSpPr>
        <p:spPr>
          <a:xfrm>
            <a:off x="4564309" y="2163193"/>
            <a:ext cx="3091419" cy="3091419"/>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2" tIns="60936" rIns="121872" bIns="60936" rtlCol="0" anchor="ctr"/>
          <a:lstStyle/>
          <a:p>
            <a:pPr algn="ctr" defTabSz="609307" fontAlgn="base">
              <a:spcBef>
                <a:spcPct val="0"/>
              </a:spcBef>
              <a:spcAft>
                <a:spcPct val="0"/>
              </a:spcAft>
            </a:pPr>
            <a:endParaRPr lang="en-US" sz="2400" dirty="0">
              <a:solidFill>
                <a:srgbClr val="FFFFFF"/>
              </a:solidFill>
              <a:cs typeface="Arial"/>
            </a:endParaRPr>
          </a:p>
        </p:txBody>
      </p:sp>
      <p:sp>
        <p:nvSpPr>
          <p:cNvPr id="7" name="Oval 6"/>
          <p:cNvSpPr/>
          <p:nvPr userDrawn="1"/>
        </p:nvSpPr>
        <p:spPr>
          <a:xfrm>
            <a:off x="1019029" y="2163193"/>
            <a:ext cx="3091419" cy="3091419"/>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2" tIns="60936" rIns="121872" bIns="60936" rtlCol="0" anchor="ctr"/>
          <a:lstStyle/>
          <a:p>
            <a:pPr algn="ctr" defTabSz="609307" fontAlgn="base">
              <a:spcBef>
                <a:spcPct val="0"/>
              </a:spcBef>
              <a:spcAft>
                <a:spcPct val="0"/>
              </a:spcAft>
            </a:pPr>
            <a:endParaRPr lang="en-US" sz="2400" dirty="0">
              <a:solidFill>
                <a:srgbClr val="FFFFFF"/>
              </a:solidFill>
              <a:cs typeface="Arial"/>
            </a:endParaRPr>
          </a:p>
        </p:txBody>
      </p:sp>
      <p:sp>
        <p:nvSpPr>
          <p:cNvPr id="17" name="Text Placeholder 17"/>
          <p:cNvSpPr>
            <a:spLocks noGrp="1"/>
          </p:cNvSpPr>
          <p:nvPr>
            <p:ph type="body" sz="quarter" idx="11" hasCustomPrompt="1"/>
          </p:nvPr>
        </p:nvSpPr>
        <p:spPr>
          <a:xfrm>
            <a:off x="1036648" y="3733546"/>
            <a:ext cx="3056181" cy="804881"/>
          </a:xfrm>
          <a:prstGeom prst="rect">
            <a:avLst/>
          </a:prstGeom>
        </p:spPr>
        <p:txBody>
          <a:bodyPr lIns="91384" tIns="45692" rIns="91384" bIns="45692" anchor="ctr" anchorCtr="0">
            <a:noAutofit/>
          </a:bodyPr>
          <a:lstStyle>
            <a:lvl1pPr marL="0" indent="0" algn="ctr">
              <a:buNone/>
              <a:defRPr sz="2667"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4581928" y="3730950"/>
            <a:ext cx="3056181" cy="804881"/>
          </a:xfrm>
          <a:prstGeom prst="rect">
            <a:avLst/>
          </a:prstGeom>
        </p:spPr>
        <p:txBody>
          <a:bodyPr lIns="91384" tIns="45692" rIns="91384" bIns="45692" anchor="ctr" anchorCtr="0">
            <a:noAutofit/>
          </a:bodyPr>
          <a:lstStyle>
            <a:lvl1pPr marL="0" indent="0" algn="ctr">
              <a:buNone/>
              <a:defRPr sz="2667"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8131111" y="3730950"/>
            <a:ext cx="3056181" cy="804881"/>
          </a:xfrm>
          <a:prstGeom prst="rect">
            <a:avLst/>
          </a:prstGeom>
        </p:spPr>
        <p:txBody>
          <a:bodyPr lIns="91384" tIns="45692" rIns="91384" bIns="45692" anchor="ctr" anchorCtr="0">
            <a:noAutofit/>
          </a:bodyPr>
          <a:lstStyle>
            <a:lvl1pPr marL="0" indent="0" algn="ctr">
              <a:buNone/>
              <a:defRPr sz="2667"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2027767" y="2857372"/>
            <a:ext cx="1051984" cy="1051984"/>
          </a:xfrm>
          <a:prstGeom prst="rect">
            <a:avLst/>
          </a:prstGeom>
        </p:spPr>
        <p:txBody>
          <a:bodyPr vert="horz" lIns="91404" tIns="45702" rIns="91404" bIns="45702"/>
          <a:lstStyle>
            <a:lvl1pPr marL="0" indent="0" algn="ctr">
              <a:buNone/>
              <a:defRPr sz="16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5603827" y="2870412"/>
            <a:ext cx="1051984" cy="1051984"/>
          </a:xfrm>
          <a:prstGeom prst="rect">
            <a:avLst/>
          </a:prstGeom>
        </p:spPr>
        <p:txBody>
          <a:bodyPr vert="horz" lIns="91404" tIns="45702" rIns="91404" bIns="45702"/>
          <a:lstStyle>
            <a:lvl1pPr marL="0" indent="0" algn="ctr">
              <a:buNone/>
              <a:defRPr sz="16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9122480" y="2857372"/>
            <a:ext cx="1051984" cy="1051984"/>
          </a:xfrm>
          <a:prstGeom prst="rect">
            <a:avLst/>
          </a:prstGeom>
        </p:spPr>
        <p:txBody>
          <a:bodyPr vert="horz" lIns="91404" tIns="45702" rIns="91404" bIns="45702"/>
          <a:lstStyle>
            <a:lvl1pPr marL="0" indent="0" algn="ctr">
              <a:buNone/>
              <a:defRPr sz="1600">
                <a:solidFill>
                  <a:schemeClr val="bg1"/>
                </a:solidFill>
              </a:defRPr>
            </a:lvl1pPr>
          </a:lstStyle>
          <a:p>
            <a:r>
              <a:rPr lang="en-US" dirty="0"/>
              <a:t>Icon</a:t>
            </a:r>
          </a:p>
        </p:txBody>
      </p:sp>
    </p:spTree>
    <p:extLst>
      <p:ext uri="{BB962C8B-B14F-4D97-AF65-F5344CB8AC3E}">
        <p14:creationId xmlns:p14="http://schemas.microsoft.com/office/powerpoint/2010/main" val="2029231147"/>
      </p:ext>
    </p:extLst>
  </p:cSld>
  <p:clrMapOvr>
    <a:masterClrMapping/>
  </p:clrMapOvr>
  <p:transition spd="slow">
    <p:wip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1033118" y="2163193"/>
            <a:ext cx="3075001" cy="3074624"/>
          </a:xfrm>
          <a:prstGeom prst="ellipse">
            <a:avLst/>
          </a:prstGeom>
          <a:solidFill>
            <a:sysClr val="windowText" lastClr="000000">
              <a:alpha val="30000"/>
            </a:sysClr>
          </a:solidFill>
          <a:ln w="25400" cap="flat" cmpd="sng" algn="ctr">
            <a:noFill/>
            <a:prstDash val="solid"/>
          </a:ln>
          <a:effectLst/>
        </p:spPr>
        <p:txBody>
          <a:bodyPr lIns="91400" tIns="45716" rIns="91400" bIns="45716" anchor="ctr"/>
          <a:lstStyle/>
          <a:p>
            <a:pPr algn="ctr" defTabSz="1218640">
              <a:defRPr/>
            </a:pPr>
            <a:endParaRPr lang="en-US" sz="2400" kern="0" dirty="0">
              <a:solidFill>
                <a:prstClr val="white"/>
              </a:solidFill>
            </a:endParaRPr>
          </a:p>
        </p:txBody>
      </p:sp>
      <p:sp>
        <p:nvSpPr>
          <p:cNvPr id="44" name="Oval 43"/>
          <p:cNvSpPr/>
          <p:nvPr userDrawn="1"/>
        </p:nvSpPr>
        <p:spPr>
          <a:xfrm>
            <a:off x="4563802" y="2163193"/>
            <a:ext cx="3075001" cy="3074624"/>
          </a:xfrm>
          <a:prstGeom prst="ellipse">
            <a:avLst/>
          </a:prstGeom>
          <a:solidFill>
            <a:sysClr val="windowText" lastClr="000000">
              <a:alpha val="30000"/>
            </a:sysClr>
          </a:solidFill>
          <a:ln w="25400" cap="flat" cmpd="sng" algn="ctr">
            <a:noFill/>
            <a:prstDash val="solid"/>
          </a:ln>
          <a:effectLst/>
        </p:spPr>
        <p:txBody>
          <a:bodyPr lIns="91400" tIns="45716" rIns="91400" bIns="45716" anchor="ctr"/>
          <a:lstStyle/>
          <a:p>
            <a:pPr algn="ctr" defTabSz="1218640">
              <a:defRPr/>
            </a:pPr>
            <a:endParaRPr lang="en-US" sz="2400" kern="0" dirty="0">
              <a:solidFill>
                <a:prstClr val="white"/>
              </a:solidFill>
            </a:endParaRPr>
          </a:p>
        </p:txBody>
      </p:sp>
      <p:sp>
        <p:nvSpPr>
          <p:cNvPr id="45" name="Oval 44"/>
          <p:cNvSpPr/>
          <p:nvPr userDrawn="1"/>
        </p:nvSpPr>
        <p:spPr>
          <a:xfrm>
            <a:off x="8116502" y="2163193"/>
            <a:ext cx="3075001" cy="3074624"/>
          </a:xfrm>
          <a:prstGeom prst="ellipse">
            <a:avLst/>
          </a:prstGeom>
          <a:solidFill>
            <a:sysClr val="windowText" lastClr="000000">
              <a:alpha val="30000"/>
            </a:sysClr>
          </a:solidFill>
          <a:ln w="25400" cap="flat" cmpd="sng" algn="ctr">
            <a:noFill/>
            <a:prstDash val="solid"/>
          </a:ln>
          <a:effectLst/>
        </p:spPr>
        <p:txBody>
          <a:bodyPr lIns="91400" tIns="45716" rIns="91400" bIns="45716" anchor="ctr"/>
          <a:lstStyle/>
          <a:p>
            <a:pPr algn="ctr" defTabSz="1218640">
              <a:defRPr/>
            </a:pPr>
            <a:endParaRPr lang="en-US" sz="2400" kern="0" dirty="0">
              <a:solidFill>
                <a:prstClr val="white"/>
              </a:solidFill>
            </a:endParaRPr>
          </a:p>
        </p:txBody>
      </p:sp>
      <p:sp>
        <p:nvSpPr>
          <p:cNvPr id="3" name="Title Placeholder 5"/>
          <p:cNvSpPr>
            <a:spLocks noGrp="1"/>
          </p:cNvSpPr>
          <p:nvPr>
            <p:ph type="title"/>
          </p:nvPr>
        </p:nvSpPr>
        <p:spPr bwMode="auto">
          <a:xfrm>
            <a:off x="583688" y="45510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8" tIns="45694" rIns="91388" bIns="45694" numCol="1" anchor="ctr" anchorCtr="0" compatLnSpc="1">
            <a:prstTxWarp prst="textNoShape">
              <a:avLst/>
            </a:prstTxWarp>
          </a:bodyPr>
          <a:lstStyle/>
          <a:p>
            <a:pPr lvl="0"/>
            <a:r>
              <a:rPr lang="en-US"/>
              <a:t>Click to edit Master title style</a:t>
            </a:r>
            <a:endParaRPr lang="en-GB" dirty="0"/>
          </a:p>
        </p:txBody>
      </p:sp>
      <p:sp>
        <p:nvSpPr>
          <p:cNvPr id="35" name="Picture Placeholder 25"/>
          <p:cNvSpPr>
            <a:spLocks noGrp="1"/>
          </p:cNvSpPr>
          <p:nvPr>
            <p:ph type="pic" sz="quarter" idx="10" hasCustomPrompt="1"/>
          </p:nvPr>
        </p:nvSpPr>
        <p:spPr>
          <a:xfrm>
            <a:off x="1033288" y="2163193"/>
            <a:ext cx="3074624" cy="3074624"/>
          </a:xfrm>
          <a:prstGeom prst="ellipse">
            <a:avLst/>
          </a:prstGeom>
          <a:solidFill>
            <a:schemeClr val="bg1">
              <a:alpha val="30000"/>
            </a:schemeClr>
          </a:solidFill>
          <a:ln>
            <a:noFill/>
          </a:ln>
          <a:effectLst/>
        </p:spPr>
        <p:txBody>
          <a:bodyPr lIns="91388" tIns="45694" rIns="91388" bIns="45694" anchor="ctr" anchorCtr="0"/>
          <a:lstStyle>
            <a:lvl1pPr algn="l">
              <a:buFontTx/>
              <a:buNone/>
              <a:defRPr sz="1733"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4563981" y="2163193"/>
            <a:ext cx="3074624" cy="3074624"/>
          </a:xfrm>
          <a:prstGeom prst="ellipse">
            <a:avLst/>
          </a:prstGeom>
          <a:solidFill>
            <a:schemeClr val="bg1">
              <a:alpha val="30000"/>
            </a:schemeClr>
          </a:solidFill>
          <a:ln>
            <a:noFill/>
          </a:ln>
          <a:effectLst/>
        </p:spPr>
        <p:txBody>
          <a:bodyPr lIns="91388" tIns="45694" rIns="91388" bIns="45694" anchor="ctr" anchorCtr="0"/>
          <a:lstStyle>
            <a:lvl1pPr algn="l">
              <a:buFontTx/>
              <a:buNone/>
              <a:defRPr sz="1733">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8116671" y="2163193"/>
            <a:ext cx="3074624" cy="3074624"/>
          </a:xfrm>
          <a:prstGeom prst="ellipse">
            <a:avLst/>
          </a:prstGeom>
          <a:solidFill>
            <a:schemeClr val="bg1">
              <a:alpha val="30000"/>
            </a:schemeClr>
          </a:solidFill>
          <a:ln>
            <a:noFill/>
          </a:ln>
          <a:effectLst/>
        </p:spPr>
        <p:txBody>
          <a:bodyPr lIns="91388" tIns="45694" rIns="91388" bIns="45694" anchor="ctr" anchorCtr="0"/>
          <a:lstStyle>
            <a:lvl1pPr algn="l">
              <a:buFontTx/>
              <a:buNone/>
              <a:defRPr sz="1733">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1051732" y="5164208"/>
            <a:ext cx="3056181" cy="804881"/>
          </a:xfrm>
          <a:prstGeom prst="rect">
            <a:avLst/>
          </a:prstGeom>
        </p:spPr>
        <p:txBody>
          <a:bodyPr lIns="91384" tIns="45692" rIns="91384" bIns="45692" anchor="ctr" anchorCtr="0">
            <a:noAutofit/>
          </a:bodyPr>
          <a:lstStyle>
            <a:lvl1pPr marL="0" indent="0" algn="ctr">
              <a:buNone/>
              <a:defRPr sz="2667"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4582424" y="5161612"/>
            <a:ext cx="3056181" cy="804881"/>
          </a:xfrm>
          <a:prstGeom prst="rect">
            <a:avLst/>
          </a:prstGeom>
        </p:spPr>
        <p:txBody>
          <a:bodyPr lIns="91384" tIns="45692" rIns="91384" bIns="45692" anchor="ctr" anchorCtr="0">
            <a:noAutofit/>
          </a:bodyPr>
          <a:lstStyle>
            <a:lvl1pPr marL="0" indent="0" algn="ctr">
              <a:buNone/>
              <a:defRPr sz="2667"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8135119" y="5161612"/>
            <a:ext cx="3056181" cy="804881"/>
          </a:xfrm>
          <a:prstGeom prst="rect">
            <a:avLst/>
          </a:prstGeom>
        </p:spPr>
        <p:txBody>
          <a:bodyPr lIns="91384" tIns="45692" rIns="91384" bIns="45692" anchor="ctr" anchorCtr="0">
            <a:noAutofit/>
          </a:bodyPr>
          <a:lstStyle>
            <a:lvl1pPr marL="0" indent="0" algn="ctr">
              <a:buNone/>
              <a:defRPr sz="2667"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Tree>
    <p:extLst>
      <p:ext uri="{BB962C8B-B14F-4D97-AF65-F5344CB8AC3E}">
        <p14:creationId xmlns:p14="http://schemas.microsoft.com/office/powerpoint/2010/main" val="1519559931"/>
      </p:ext>
    </p:extLst>
  </p:cSld>
  <p:clrMapOvr>
    <a:masterClrMapping/>
  </p:clrMapOvr>
  <p:transition spd="slow">
    <p:wip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90" y="6172224"/>
            <a:ext cx="977900"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2000" cy="6858000"/>
          </a:xfrm>
          <a:prstGeom prst="rect">
            <a:avLst/>
          </a:prstGeom>
        </p:spPr>
        <p:txBody>
          <a:bodyPr vert="horz" lIns="91384" tIns="45692" rIns="91384" bIns="45692"/>
          <a:lstStyle>
            <a:lvl1pPr marL="0" indent="0" algn="ctr">
              <a:buNone/>
              <a:defRPr sz="2933" baseline="0">
                <a:latin typeface="+mn-lt"/>
                <a:cs typeface="CiscoSans ExtraLight"/>
              </a:defRPr>
            </a:lvl1pPr>
          </a:lstStyle>
          <a:p>
            <a:pPr lvl="0"/>
            <a:r>
              <a:rPr lang="en-US" noProof="0" dirty="0"/>
              <a:t>Drag picture to placeholder or click icon to add</a:t>
            </a:r>
          </a:p>
        </p:txBody>
      </p:sp>
      <p:sp>
        <p:nvSpPr>
          <p:cNvPr id="6" name="Text Placeholder 2"/>
          <p:cNvSpPr>
            <a:spLocks noGrp="1"/>
          </p:cNvSpPr>
          <p:nvPr>
            <p:ph type="body" sz="quarter" idx="11" hasCustomPrompt="1"/>
          </p:nvPr>
        </p:nvSpPr>
        <p:spPr bwMode="auto">
          <a:xfrm>
            <a:off x="666752" y="4645372"/>
            <a:ext cx="10852149" cy="674525"/>
          </a:xfrm>
          <a:prstGeom prst="rect">
            <a:avLst/>
          </a:prstGeom>
          <a:solidFill>
            <a:schemeClr val="bg1">
              <a:alpha val="70000"/>
            </a:schemeClr>
          </a:solidFill>
        </p:spPr>
        <p:txBody>
          <a:bodyPr wrap="square" lIns="107948" tIns="0" rIns="91404" bIns="45702" numCol="1" anchor="ctr" anchorCtr="0" compatLnSpc="1">
            <a:prstTxWarp prst="textNoShape">
              <a:avLst/>
            </a:prstTxWarp>
            <a:spAutoFit/>
          </a:bodyPr>
          <a:lstStyle>
            <a:lvl1pPr marL="230300" indent="0">
              <a:lnSpc>
                <a:spcPts val="4907"/>
              </a:lnSpc>
              <a:spcBef>
                <a:spcPts val="0"/>
              </a:spcBef>
              <a:buNone/>
              <a:defRPr sz="3200" i="1"/>
            </a:lvl1pPr>
          </a:lstStyle>
          <a:p>
            <a:pPr lvl="0"/>
            <a:r>
              <a:rPr lang="en-GB" dirty="0"/>
              <a:t>Text Goes Here</a:t>
            </a:r>
          </a:p>
        </p:txBody>
      </p:sp>
    </p:spTree>
    <p:extLst>
      <p:ext uri="{BB962C8B-B14F-4D97-AF65-F5344CB8AC3E}">
        <p14:creationId xmlns:p14="http://schemas.microsoft.com/office/powerpoint/2010/main" val="589961675"/>
      </p:ext>
    </p:extLst>
  </p:cSld>
  <p:clrMapOvr>
    <a:masterClrMapping/>
  </p:clrMapOvr>
  <p:transition spd="slow">
    <p:wip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8" y="401406"/>
            <a:ext cx="11417563" cy="3389567"/>
          </a:xfrm>
          <a:prstGeom prst="rect">
            <a:avLst/>
          </a:prstGeom>
        </p:spPr>
        <p:txBody>
          <a:bodyPr vert="horz" lIns="91384" tIns="45692" rIns="91384" bIns="45692"/>
          <a:lstStyle>
            <a:lvl1pPr marL="0" indent="0" algn="ctr">
              <a:buNone/>
              <a:defRPr sz="2933" baseline="0">
                <a:solidFill>
                  <a:srgbClr val="676767"/>
                </a:solidFill>
                <a:latin typeface="+mn-lt"/>
                <a:cs typeface="CiscoSans ExtraLight"/>
              </a:defRPr>
            </a:lvl1pPr>
          </a:lstStyle>
          <a:p>
            <a:pPr lvl="0"/>
            <a:r>
              <a:rPr lang="en-US" noProof="0" dirty="0"/>
              <a:t>Drag picture to placeholder or click icon to add</a:t>
            </a:r>
          </a:p>
        </p:txBody>
      </p:sp>
      <p:sp>
        <p:nvSpPr>
          <p:cNvPr id="4" name="Text Placeholder 3"/>
          <p:cNvSpPr>
            <a:spLocks noGrp="1"/>
          </p:cNvSpPr>
          <p:nvPr>
            <p:ph type="body" sz="quarter" idx="11" hasCustomPrompt="1"/>
          </p:nvPr>
        </p:nvSpPr>
        <p:spPr>
          <a:xfrm>
            <a:off x="598381" y="4072714"/>
            <a:ext cx="11152315" cy="716122"/>
          </a:xfrm>
          <a:prstGeom prst="rect">
            <a:avLst/>
          </a:prstGeom>
        </p:spPr>
        <p:txBody>
          <a:bodyPr vert="horz" wrap="square" lIns="91404" tIns="45702" rIns="91404" bIns="45702">
            <a:spAutoFit/>
          </a:bodyPr>
          <a:lstStyle>
            <a:lvl1pPr marL="0" indent="0">
              <a:buNone/>
              <a:defRPr sz="4267"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1758225384"/>
      </p:ext>
    </p:extLst>
  </p:cSld>
  <p:clrMapOvr>
    <a:masterClrMapping/>
  </p:clrMapOvr>
  <p:transition spd="slow">
    <p:wip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90" y="6172224"/>
            <a:ext cx="977900"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6464" cy="6858000"/>
          </a:xfrm>
          <a:prstGeom prst="rect">
            <a:avLst/>
          </a:prstGeom>
        </p:spPr>
        <p:txBody>
          <a:bodyPr vert="horz" lIns="91384" tIns="45692" rIns="91384" bIns="45692"/>
          <a:lstStyle>
            <a:lvl1pPr marL="0" indent="0" algn="ctr">
              <a:buNone/>
              <a:defRPr sz="2933" baseline="0">
                <a:latin typeface="+mn-lt"/>
                <a:cs typeface="CiscoSans ExtraLight"/>
              </a:defRPr>
            </a:lvl1pPr>
          </a:lstStyle>
          <a:p>
            <a:pPr lvl="0"/>
            <a:r>
              <a:rPr lang="en-US" noProof="0" dirty="0"/>
              <a:t>Drag picture to placeholder or click icon to add</a:t>
            </a:r>
          </a:p>
        </p:txBody>
      </p:sp>
    </p:spTree>
    <p:extLst>
      <p:ext uri="{BB962C8B-B14F-4D97-AF65-F5344CB8AC3E}">
        <p14:creationId xmlns:p14="http://schemas.microsoft.com/office/powerpoint/2010/main" val="147165150"/>
      </p:ext>
    </p:extLst>
  </p:cSld>
  <p:clrMapOvr>
    <a:masterClrMapping/>
  </p:clrMapOvr>
  <p:transition spd="slow">
    <p:wip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3" y="320844"/>
            <a:ext cx="11307184" cy="5688861"/>
          </a:xfrm>
          <a:prstGeom prst="rect">
            <a:avLst/>
          </a:prstGeom>
        </p:spPr>
        <p:txBody>
          <a:bodyPr vert="horz" lIns="91388" tIns="45694" rIns="91388" bIns="45694"/>
          <a:lstStyle>
            <a:lvl1pPr marL="0" indent="0" algn="ctr">
              <a:buNone/>
              <a:defRPr sz="2000" baseline="0">
                <a:latin typeface="+mn-lt"/>
                <a:cs typeface="CiscoSans ExtraLight"/>
              </a:defRPr>
            </a:lvl1pPr>
          </a:lstStyle>
          <a:p>
            <a:pPr lvl="0"/>
            <a:r>
              <a:rPr lang="en-US" noProof="0" dirty="0"/>
              <a:t>Drag picture to placeholder or click icon to add</a:t>
            </a:r>
          </a:p>
        </p:txBody>
      </p:sp>
    </p:spTree>
    <p:extLst>
      <p:ext uri="{BB962C8B-B14F-4D97-AF65-F5344CB8AC3E}">
        <p14:creationId xmlns:p14="http://schemas.microsoft.com/office/powerpoint/2010/main" val="693115984"/>
      </p:ext>
    </p:extLst>
  </p:cSld>
  <p:clrMapOvr>
    <a:masterClrMapping/>
  </p:clrMapOvr>
  <p:transition spd="slow">
    <p:wip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4" name="Rectangle 3"/>
          <p:cNvSpPr/>
          <p:nvPr/>
        </p:nvSpPr>
        <p:spPr>
          <a:xfrm>
            <a:off x="2523069" y="795868"/>
            <a:ext cx="7131051" cy="40047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16" rIns="91400" bIns="45716" anchor="ctr"/>
          <a:lstStyle/>
          <a:p>
            <a:pPr algn="ctr" defTabSz="609307">
              <a:defRPr/>
            </a:pPr>
            <a:endParaRPr lang="en-US" sz="2400" dirty="0">
              <a:solidFill>
                <a:srgbClr val="FFFFFF"/>
              </a:solidFill>
            </a:endParaRPr>
          </a:p>
        </p:txBody>
      </p:sp>
      <p:sp>
        <p:nvSpPr>
          <p:cNvPr id="5" name="Rectangle 4"/>
          <p:cNvSpPr/>
          <p:nvPr/>
        </p:nvSpPr>
        <p:spPr>
          <a:xfrm>
            <a:off x="2523068" y="4794252"/>
            <a:ext cx="7128933" cy="99694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0" tIns="45716" rIns="91400" bIns="45716" anchor="ctr"/>
          <a:lstStyle/>
          <a:p>
            <a:pPr algn="ctr" defTabSz="609307">
              <a:defRPr/>
            </a:pPr>
            <a:endParaRPr lang="en-US" sz="2400" dirty="0">
              <a:solidFill>
                <a:srgbClr val="FFFFFF"/>
              </a:solidFill>
            </a:endParaRPr>
          </a:p>
        </p:txBody>
      </p:sp>
      <p:sp>
        <p:nvSpPr>
          <p:cNvPr id="26" name="Picture Placeholder 25"/>
          <p:cNvSpPr>
            <a:spLocks noGrp="1"/>
          </p:cNvSpPr>
          <p:nvPr>
            <p:ph type="pic" sz="quarter" idx="10"/>
          </p:nvPr>
        </p:nvSpPr>
        <p:spPr>
          <a:xfrm>
            <a:off x="2533653" y="795528"/>
            <a:ext cx="7105651" cy="4005072"/>
          </a:xfrm>
          <a:prstGeom prst="rect">
            <a:avLst/>
          </a:prstGeom>
          <a:solidFill>
            <a:schemeClr val="bg1">
              <a:alpha val="30000"/>
            </a:schemeClr>
          </a:solidFill>
          <a:ln>
            <a:solidFill>
              <a:srgbClr val="676767"/>
            </a:solidFill>
          </a:ln>
          <a:effectLst/>
        </p:spPr>
        <p:txBody>
          <a:bodyPr lIns="91388" tIns="45694" rIns="91388" bIns="45694" anchor="ctr" anchorCtr="0"/>
          <a:lstStyle>
            <a:lvl1pPr algn="ctr">
              <a:buFontTx/>
              <a:buNone/>
              <a:defRPr>
                <a:solidFill>
                  <a:schemeClr val="tx1"/>
                </a:solidFill>
                <a:latin typeface="+mj-lt"/>
              </a:defRPr>
            </a:lvl1pPr>
          </a:lstStyle>
          <a:p>
            <a:pPr lvl="0"/>
            <a:r>
              <a:rPr lang="en-US" noProof="0" dirty="0"/>
              <a:t>Drag picture to placeholder or click icon to add</a:t>
            </a:r>
          </a:p>
        </p:txBody>
      </p:sp>
      <p:sp>
        <p:nvSpPr>
          <p:cNvPr id="11" name="Title 10"/>
          <p:cNvSpPr>
            <a:spLocks noGrp="1"/>
          </p:cNvSpPr>
          <p:nvPr>
            <p:ph type="title" hasCustomPrompt="1"/>
          </p:nvPr>
        </p:nvSpPr>
        <p:spPr>
          <a:xfrm>
            <a:off x="2754497" y="4873439"/>
            <a:ext cx="6765427" cy="838200"/>
          </a:xfrm>
        </p:spPr>
        <p:txBody>
          <a:bodyPr anchor="ctr"/>
          <a:lstStyle>
            <a:lvl1pPr>
              <a:defRPr sz="2667">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992210895"/>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4" name="Rectangle 3"/>
          <p:cNvSpPr/>
          <p:nvPr/>
        </p:nvSpPr>
        <p:spPr>
          <a:xfrm>
            <a:off x="733089" y="311174"/>
            <a:ext cx="4364567" cy="24595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16" rIns="91400" bIns="45716" anchor="ctr"/>
          <a:lstStyle/>
          <a:p>
            <a:pPr algn="ctr" defTabSz="609307">
              <a:defRPr/>
            </a:pPr>
            <a:endParaRPr lang="en-US" sz="2400" dirty="0">
              <a:solidFill>
                <a:srgbClr val="FFFFFF"/>
              </a:solidFill>
            </a:endParaRPr>
          </a:p>
        </p:txBody>
      </p:sp>
      <p:sp>
        <p:nvSpPr>
          <p:cNvPr id="26" name="Picture Placeholder 25"/>
          <p:cNvSpPr>
            <a:spLocks noGrp="1"/>
          </p:cNvSpPr>
          <p:nvPr>
            <p:ph type="pic" sz="quarter" idx="10"/>
          </p:nvPr>
        </p:nvSpPr>
        <p:spPr>
          <a:xfrm>
            <a:off x="733323" y="310896"/>
            <a:ext cx="4364736" cy="2459736"/>
          </a:xfrm>
          <a:prstGeom prst="rect">
            <a:avLst/>
          </a:prstGeom>
          <a:solidFill>
            <a:schemeClr val="bg1">
              <a:alpha val="30000"/>
            </a:schemeClr>
          </a:solidFill>
          <a:ln>
            <a:solidFill>
              <a:srgbClr val="676767"/>
            </a:solidFill>
          </a:ln>
          <a:effectLst/>
        </p:spPr>
        <p:txBody>
          <a:bodyPr vert="horz" lIns="68550" tIns="34287" rIns="68550" bIns="34287" rtlCol="0" anchor="ctr" anchorCtr="0">
            <a:normAutofit/>
          </a:bodyPr>
          <a:lstStyle>
            <a:lvl1pPr marL="0" indent="0" algn="ctr" defTabSz="913945"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pPr lvl="0"/>
            <a:r>
              <a:rPr lang="en-US" noProof="0" dirty="0"/>
              <a:t>Drag picture to placeholder or click icon to add</a:t>
            </a:r>
          </a:p>
        </p:txBody>
      </p:sp>
      <p:sp>
        <p:nvSpPr>
          <p:cNvPr id="9" name="Title 8"/>
          <p:cNvSpPr>
            <a:spLocks noGrp="1"/>
          </p:cNvSpPr>
          <p:nvPr>
            <p:ph type="title" hasCustomPrompt="1"/>
          </p:nvPr>
        </p:nvSpPr>
        <p:spPr>
          <a:xfrm>
            <a:off x="574604" y="3307614"/>
            <a:ext cx="8973153" cy="2152559"/>
          </a:xfrm>
        </p:spPr>
        <p:txBody>
          <a:bodyPr>
            <a:noAutofit/>
          </a:bodyPr>
          <a:lstStyle>
            <a:lvl1pPr marL="0" marR="0" indent="0" algn="l" defTabSz="913945" rtl="0" eaLnBrk="1" fontAlgn="auto" latinLnBrk="0" hangingPunct="1">
              <a:lnSpc>
                <a:spcPct val="80000"/>
              </a:lnSpc>
              <a:spcBef>
                <a:spcPct val="0"/>
              </a:spcBef>
              <a:spcAft>
                <a:spcPts val="0"/>
              </a:spcAft>
              <a:buClrTx/>
              <a:buSzTx/>
              <a:buFontTx/>
              <a:buNone/>
              <a:tabLst/>
              <a:defRPr sz="60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1073422633"/>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 name="Rectangle 3"/>
          <p:cNvSpPr/>
          <p:nvPr/>
        </p:nvSpPr>
        <p:spPr>
          <a:xfrm>
            <a:off x="6656917" y="728812"/>
            <a:ext cx="4840816" cy="515975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16" rIns="91400" bIns="45716" anchor="ctr"/>
          <a:lstStyle/>
          <a:p>
            <a:pPr algn="ctr" defTabSz="609307">
              <a:defRPr/>
            </a:pPr>
            <a:endParaRPr lang="en-US" sz="2400" dirty="0">
              <a:solidFill>
                <a:srgbClr val="FFFFFF"/>
              </a:solidFill>
            </a:endParaRPr>
          </a:p>
        </p:txBody>
      </p:sp>
      <p:sp>
        <p:nvSpPr>
          <p:cNvPr id="26" name="Picture Placeholder 25"/>
          <p:cNvSpPr>
            <a:spLocks noGrp="1"/>
          </p:cNvSpPr>
          <p:nvPr>
            <p:ph type="pic" sz="quarter" idx="10"/>
          </p:nvPr>
        </p:nvSpPr>
        <p:spPr>
          <a:xfrm>
            <a:off x="6656832" y="728980"/>
            <a:ext cx="4840224" cy="5159757"/>
          </a:xfrm>
          <a:prstGeom prst="rect">
            <a:avLst/>
          </a:prstGeom>
          <a:solidFill>
            <a:schemeClr val="bg1">
              <a:alpha val="30000"/>
            </a:schemeClr>
          </a:solidFill>
          <a:ln>
            <a:solidFill>
              <a:srgbClr val="2968AF"/>
            </a:solidFill>
          </a:ln>
          <a:effectLst/>
        </p:spPr>
        <p:txBody>
          <a:bodyPr lIns="91388" tIns="45694" rIns="91388" bIns="45694" anchor="ctr" anchorCtr="0"/>
          <a:lstStyle>
            <a:lvl1pPr algn="ctr">
              <a:buFontTx/>
              <a:buNone/>
              <a:defRPr>
                <a:solidFill>
                  <a:schemeClr val="tx1"/>
                </a:solidFill>
                <a:latin typeface="+mj-lt"/>
              </a:defRPr>
            </a:lvl1pPr>
          </a:lstStyle>
          <a:p>
            <a:pPr lvl="0"/>
            <a:r>
              <a:rPr lang="en-US" noProof="0" dirty="0"/>
              <a:t>Drag picture to placeholder or click icon to add</a:t>
            </a:r>
          </a:p>
        </p:txBody>
      </p:sp>
      <p:sp>
        <p:nvSpPr>
          <p:cNvPr id="9" name="Title 8"/>
          <p:cNvSpPr>
            <a:spLocks noGrp="1"/>
          </p:cNvSpPr>
          <p:nvPr>
            <p:ph type="title" hasCustomPrompt="1"/>
          </p:nvPr>
        </p:nvSpPr>
        <p:spPr>
          <a:xfrm>
            <a:off x="583560" y="729002"/>
            <a:ext cx="5799891" cy="1085313"/>
          </a:xfrm>
        </p:spPr>
        <p:txBody>
          <a:bodyPr wrap="none" anchor="t" anchorCtr="0">
            <a:noAutofit/>
          </a:bodyPr>
          <a:lstStyle>
            <a:lvl1pPr>
              <a:lnSpc>
                <a:spcPct val="90000"/>
              </a:lnSpc>
              <a:defRPr sz="3333">
                <a:solidFill>
                  <a:schemeClr val="bg1"/>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1906178831"/>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9" name="Rectangle 8"/>
          <p:cNvSpPr/>
          <p:nvPr/>
        </p:nvSpPr>
        <p:spPr>
          <a:xfrm>
            <a:off x="4891617" y="311174"/>
            <a:ext cx="43582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712" rIns="91396" bIns="45712" anchor="ctr"/>
          <a:lstStyle/>
          <a:p>
            <a:pPr algn="ctr" defTabSz="609307">
              <a:defRPr/>
            </a:pPr>
            <a:endParaRPr lang="en-US" sz="2400" dirty="0">
              <a:solidFill>
                <a:srgbClr val="FFFFFF"/>
              </a:solidFill>
              <a:latin typeface="CiscoSans"/>
              <a:cs typeface="CiscoSans"/>
            </a:endParaRPr>
          </a:p>
        </p:txBody>
      </p:sp>
      <p:sp>
        <p:nvSpPr>
          <p:cNvPr id="10" name="Rectangle 9"/>
          <p:cNvSpPr/>
          <p:nvPr/>
        </p:nvSpPr>
        <p:spPr>
          <a:xfrm>
            <a:off x="446617" y="311174"/>
            <a:ext cx="43836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712" rIns="91396" bIns="45712" anchor="ctr"/>
          <a:lstStyle/>
          <a:p>
            <a:pPr algn="ctr" defTabSz="609307">
              <a:defRPr/>
            </a:pPr>
            <a:endParaRPr lang="en-US" sz="2400" dirty="0">
              <a:solidFill>
                <a:srgbClr val="FFFFFF"/>
              </a:solidFill>
              <a:latin typeface="CiscoSans"/>
              <a:cs typeface="CiscoSans"/>
            </a:endParaRPr>
          </a:p>
        </p:txBody>
      </p:sp>
      <p:sp>
        <p:nvSpPr>
          <p:cNvPr id="11" name="Rectangle 10"/>
          <p:cNvSpPr/>
          <p:nvPr/>
        </p:nvSpPr>
        <p:spPr>
          <a:xfrm>
            <a:off x="9306987" y="311151"/>
            <a:ext cx="2451100"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712" rIns="91396" bIns="45712" anchor="ctr"/>
          <a:lstStyle/>
          <a:p>
            <a:pPr algn="ctr" defTabSz="609307">
              <a:defRPr/>
            </a:pPr>
            <a:endParaRPr lang="en-US" sz="2400" dirty="0">
              <a:solidFill>
                <a:srgbClr val="FFFFFF"/>
              </a:solidFill>
              <a:latin typeface="CiscoSans"/>
              <a:cs typeface="CiscoSans"/>
            </a:endParaRPr>
          </a:p>
        </p:txBody>
      </p:sp>
      <p:sp>
        <p:nvSpPr>
          <p:cNvPr id="12" name="Rectangle 11"/>
          <p:cNvSpPr/>
          <p:nvPr/>
        </p:nvSpPr>
        <p:spPr>
          <a:xfrm>
            <a:off x="446641" y="3028974"/>
            <a:ext cx="3363383"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712" rIns="91396" bIns="45712" anchor="ctr"/>
          <a:lstStyle/>
          <a:p>
            <a:pPr algn="ctr" defTabSz="609307">
              <a:defRPr/>
            </a:pPr>
            <a:endParaRPr lang="en-US" sz="2400" dirty="0">
              <a:solidFill>
                <a:srgbClr val="FFFFFF"/>
              </a:solidFill>
              <a:latin typeface="CiscoSans"/>
              <a:cs typeface="CiscoSans"/>
            </a:endParaRPr>
          </a:p>
        </p:txBody>
      </p:sp>
      <p:sp>
        <p:nvSpPr>
          <p:cNvPr id="13" name="Rectangle 12"/>
          <p:cNvSpPr/>
          <p:nvPr/>
        </p:nvSpPr>
        <p:spPr>
          <a:xfrm>
            <a:off x="3881969" y="3028974"/>
            <a:ext cx="5367867"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712" rIns="91396" bIns="45712" anchor="ctr"/>
          <a:lstStyle/>
          <a:p>
            <a:pPr algn="ctr" defTabSz="609307">
              <a:defRPr/>
            </a:pPr>
            <a:endParaRPr lang="en-US" sz="2400" dirty="0">
              <a:solidFill>
                <a:srgbClr val="FFFFFF"/>
              </a:solidFill>
              <a:latin typeface="CiscoSans"/>
              <a:cs typeface="CiscoSans"/>
            </a:endParaRPr>
          </a:p>
        </p:txBody>
      </p:sp>
      <p:sp>
        <p:nvSpPr>
          <p:cNvPr id="14" name="Rectangle 13"/>
          <p:cNvSpPr/>
          <p:nvPr/>
        </p:nvSpPr>
        <p:spPr>
          <a:xfrm>
            <a:off x="9306987" y="1682751"/>
            <a:ext cx="2451100" cy="34438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712" rIns="91396" bIns="45712" anchor="ctr"/>
          <a:lstStyle/>
          <a:p>
            <a:pPr algn="ctr" defTabSz="609307">
              <a:defRPr/>
            </a:pPr>
            <a:endParaRPr lang="en-US" sz="2400" dirty="0">
              <a:solidFill>
                <a:srgbClr val="FFFFFF"/>
              </a:solidFill>
              <a:latin typeface="CiscoSans"/>
              <a:cs typeface="CiscoSans"/>
            </a:endParaRPr>
          </a:p>
        </p:txBody>
      </p:sp>
      <p:sp>
        <p:nvSpPr>
          <p:cNvPr id="15" name="Rectangle 14"/>
          <p:cNvSpPr/>
          <p:nvPr/>
        </p:nvSpPr>
        <p:spPr>
          <a:xfrm>
            <a:off x="9306987" y="5183717"/>
            <a:ext cx="2451100" cy="13038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712" rIns="91396" bIns="45712" anchor="ctr"/>
          <a:lstStyle/>
          <a:p>
            <a:pPr algn="ctr" defTabSz="609307">
              <a:defRPr/>
            </a:pPr>
            <a:endParaRPr lang="en-US" sz="2400" dirty="0">
              <a:solidFill>
                <a:srgbClr val="FFFFFF"/>
              </a:solidFill>
              <a:latin typeface="CiscoSans"/>
              <a:cs typeface="CiscoSans"/>
            </a:endParaRPr>
          </a:p>
        </p:txBody>
      </p:sp>
      <p:sp>
        <p:nvSpPr>
          <p:cNvPr id="49" name="Picture Placeholder 25"/>
          <p:cNvSpPr>
            <a:spLocks noGrp="1"/>
          </p:cNvSpPr>
          <p:nvPr>
            <p:ph type="pic" sz="quarter" idx="11"/>
          </p:nvPr>
        </p:nvSpPr>
        <p:spPr>
          <a:xfrm>
            <a:off x="4891998" y="311151"/>
            <a:ext cx="4357148" cy="2660652"/>
          </a:xfrm>
          <a:prstGeom prst="rect">
            <a:avLst/>
          </a:prstGeom>
          <a:solidFill>
            <a:schemeClr val="bg1">
              <a:alpha val="30000"/>
            </a:schemeClr>
          </a:solidFill>
          <a:ln>
            <a:solidFill>
              <a:schemeClr val="bg2"/>
            </a:solidFill>
          </a:ln>
          <a:effectLst/>
        </p:spPr>
        <p:txBody>
          <a:bodyPr vert="horz" lIns="68547" tIns="34284" rIns="68547" bIns="34284" rtlCol="0" anchor="ctr" anchorCtr="0">
            <a:normAutofit/>
          </a:bodyPr>
          <a:lstStyle>
            <a:lvl1pPr marL="0" indent="0" algn="ctr" defTabSz="913908"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2"/>
                </a:solidFill>
                <a:latin typeface="+mn-lt"/>
                <a:ea typeface="+mn-ea"/>
                <a:cs typeface="Broadway" panose="04040905080B02020502" pitchFamily="82" charset="0"/>
              </a:defRPr>
            </a:lvl1pPr>
          </a:lstStyle>
          <a:p>
            <a:pPr lvl="0"/>
            <a:r>
              <a:rPr lang="en-US" noProof="0" dirty="0"/>
              <a:t>Drag picture to placeholder or click icon to add</a:t>
            </a:r>
          </a:p>
        </p:txBody>
      </p:sp>
      <p:sp>
        <p:nvSpPr>
          <p:cNvPr id="26" name="Picture Placeholder 25"/>
          <p:cNvSpPr>
            <a:spLocks noGrp="1"/>
          </p:cNvSpPr>
          <p:nvPr>
            <p:ph type="pic" sz="quarter" idx="10"/>
          </p:nvPr>
        </p:nvSpPr>
        <p:spPr>
          <a:xfrm>
            <a:off x="427774" y="311151"/>
            <a:ext cx="4402668" cy="2660652"/>
          </a:xfrm>
          <a:prstGeom prst="rect">
            <a:avLst/>
          </a:prstGeom>
          <a:solidFill>
            <a:schemeClr val="bg1">
              <a:alpha val="30000"/>
            </a:schemeClr>
          </a:solidFill>
          <a:ln>
            <a:solidFill>
              <a:schemeClr val="bg2"/>
            </a:solidFill>
          </a:ln>
          <a:effectLst/>
        </p:spPr>
        <p:txBody>
          <a:bodyPr vert="horz" lIns="68547" tIns="34284" rIns="68547" bIns="34284" rtlCol="0" anchor="ctr" anchorCtr="0">
            <a:normAutofit/>
          </a:bodyPr>
          <a:lstStyle>
            <a:lvl1pPr marL="0" indent="0" algn="ctr" defTabSz="9139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dirty="0"/>
              <a:t>Drag picture to placeholder or click icon to add</a:t>
            </a:r>
          </a:p>
        </p:txBody>
      </p:sp>
      <p:sp>
        <p:nvSpPr>
          <p:cNvPr id="51" name="Picture Placeholder 25"/>
          <p:cNvSpPr>
            <a:spLocks noGrp="1"/>
          </p:cNvSpPr>
          <p:nvPr>
            <p:ph type="pic" sz="quarter" idx="12"/>
          </p:nvPr>
        </p:nvSpPr>
        <p:spPr>
          <a:xfrm>
            <a:off x="9306444" y="311151"/>
            <a:ext cx="2451640" cy="1308101"/>
          </a:xfrm>
          <a:prstGeom prst="rect">
            <a:avLst/>
          </a:prstGeom>
          <a:solidFill>
            <a:schemeClr val="bg1">
              <a:alpha val="30000"/>
            </a:schemeClr>
          </a:solidFill>
          <a:ln>
            <a:solidFill>
              <a:schemeClr val="bg2"/>
            </a:solidFill>
          </a:ln>
          <a:effectLst/>
        </p:spPr>
        <p:txBody>
          <a:bodyPr vert="horz" lIns="68547" tIns="34284" rIns="68547" bIns="34284" rtlCol="0" anchor="ctr" anchorCtr="0">
            <a:normAutofit/>
          </a:bodyPr>
          <a:lstStyle>
            <a:lvl1pPr marL="0" indent="0" algn="ctr" defTabSz="9139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dirty="0"/>
              <a:t>Drag picture to placeholder or click icon to add</a:t>
            </a:r>
          </a:p>
        </p:txBody>
      </p:sp>
      <p:sp>
        <p:nvSpPr>
          <p:cNvPr id="53" name="Picture Placeholder 25"/>
          <p:cNvSpPr>
            <a:spLocks noGrp="1"/>
          </p:cNvSpPr>
          <p:nvPr>
            <p:ph type="pic" sz="quarter" idx="13"/>
          </p:nvPr>
        </p:nvSpPr>
        <p:spPr>
          <a:xfrm>
            <a:off x="427765" y="3028981"/>
            <a:ext cx="3383227" cy="3458935"/>
          </a:xfrm>
          <a:prstGeom prst="rect">
            <a:avLst/>
          </a:prstGeom>
          <a:solidFill>
            <a:schemeClr val="bg1">
              <a:alpha val="30000"/>
            </a:schemeClr>
          </a:solidFill>
          <a:ln>
            <a:solidFill>
              <a:schemeClr val="bg2"/>
            </a:solidFill>
          </a:ln>
          <a:effectLst/>
        </p:spPr>
        <p:txBody>
          <a:bodyPr vert="horz" lIns="68547" tIns="34284" rIns="68547" bIns="34284" rtlCol="0" anchor="ctr" anchorCtr="0">
            <a:normAutofit/>
          </a:bodyPr>
          <a:lstStyle>
            <a:lvl1pPr marL="0" indent="0" algn="ctr" defTabSz="9139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dirty="0"/>
              <a:t>Drag picture to placeholder or click icon to add</a:t>
            </a:r>
          </a:p>
        </p:txBody>
      </p:sp>
      <p:sp>
        <p:nvSpPr>
          <p:cNvPr id="55" name="Picture Placeholder 25"/>
          <p:cNvSpPr>
            <a:spLocks noGrp="1"/>
          </p:cNvSpPr>
          <p:nvPr>
            <p:ph type="pic" sz="quarter" idx="14"/>
          </p:nvPr>
        </p:nvSpPr>
        <p:spPr>
          <a:xfrm>
            <a:off x="3877781" y="3028981"/>
            <a:ext cx="5371355" cy="3458935"/>
          </a:xfrm>
          <a:prstGeom prst="rect">
            <a:avLst/>
          </a:prstGeom>
          <a:solidFill>
            <a:schemeClr val="bg1">
              <a:alpha val="30000"/>
            </a:schemeClr>
          </a:solidFill>
          <a:ln>
            <a:solidFill>
              <a:schemeClr val="bg2"/>
            </a:solidFill>
          </a:ln>
          <a:effectLst/>
        </p:spPr>
        <p:txBody>
          <a:bodyPr vert="horz" lIns="68547" tIns="34284" rIns="68547" bIns="34284" rtlCol="0" anchor="ctr" anchorCtr="0">
            <a:normAutofit/>
          </a:bodyPr>
          <a:lstStyle>
            <a:lvl1pPr marL="0" indent="0" algn="ctr" defTabSz="9139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dirty="0"/>
              <a:t>Drag picture to placeholder or click icon to add</a:t>
            </a:r>
          </a:p>
        </p:txBody>
      </p:sp>
      <p:sp>
        <p:nvSpPr>
          <p:cNvPr id="57" name="Picture Placeholder 25"/>
          <p:cNvSpPr>
            <a:spLocks noGrp="1"/>
          </p:cNvSpPr>
          <p:nvPr>
            <p:ph type="pic" sz="quarter" idx="15"/>
          </p:nvPr>
        </p:nvSpPr>
        <p:spPr>
          <a:xfrm>
            <a:off x="9306444" y="1676401"/>
            <a:ext cx="2451640" cy="3449411"/>
          </a:xfrm>
          <a:prstGeom prst="rect">
            <a:avLst/>
          </a:prstGeom>
          <a:solidFill>
            <a:schemeClr val="bg1">
              <a:alpha val="30000"/>
            </a:schemeClr>
          </a:solidFill>
          <a:ln>
            <a:solidFill>
              <a:schemeClr val="bg2"/>
            </a:solidFill>
          </a:ln>
          <a:effectLst/>
        </p:spPr>
        <p:txBody>
          <a:bodyPr vert="horz" lIns="68547" tIns="34284" rIns="68547" bIns="34284" rtlCol="0" anchor="ctr" anchorCtr="0">
            <a:normAutofit/>
          </a:bodyPr>
          <a:lstStyle>
            <a:lvl1pPr marL="0" indent="0" algn="ctr" defTabSz="9139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dirty="0"/>
              <a:t>Drag picture to placeholder or click icon to add</a:t>
            </a:r>
          </a:p>
        </p:txBody>
      </p:sp>
      <p:sp>
        <p:nvSpPr>
          <p:cNvPr id="59" name="Picture Placeholder 25"/>
          <p:cNvSpPr>
            <a:spLocks noGrp="1"/>
          </p:cNvSpPr>
          <p:nvPr>
            <p:ph type="pic" sz="quarter" idx="16"/>
          </p:nvPr>
        </p:nvSpPr>
        <p:spPr>
          <a:xfrm>
            <a:off x="9306444" y="5182964"/>
            <a:ext cx="2451640" cy="1304925"/>
          </a:xfrm>
          <a:prstGeom prst="rect">
            <a:avLst/>
          </a:prstGeom>
          <a:solidFill>
            <a:schemeClr val="bg1">
              <a:alpha val="30000"/>
            </a:schemeClr>
          </a:solidFill>
          <a:ln>
            <a:solidFill>
              <a:schemeClr val="bg2"/>
            </a:solidFill>
          </a:ln>
          <a:effectLst/>
        </p:spPr>
        <p:txBody>
          <a:bodyPr vert="horz" lIns="68547" tIns="34284" rIns="68547" bIns="34284" rtlCol="0" anchor="ctr" anchorCtr="0">
            <a:normAutofit/>
          </a:bodyPr>
          <a:lstStyle>
            <a:lvl1pPr marL="0" indent="0" algn="ctr" defTabSz="9139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dirty="0"/>
              <a:t>Drag picture to placeholder or click icon to add</a:t>
            </a:r>
          </a:p>
        </p:txBody>
      </p:sp>
    </p:spTree>
    <p:extLst>
      <p:ext uri="{BB962C8B-B14F-4D97-AF65-F5344CB8AC3E}">
        <p14:creationId xmlns:p14="http://schemas.microsoft.com/office/powerpoint/2010/main" val="50480101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4" name="Rectangle 3"/>
          <p:cNvSpPr/>
          <p:nvPr/>
        </p:nvSpPr>
        <p:spPr>
          <a:xfrm>
            <a:off x="733073" y="311157"/>
            <a:ext cx="4364567" cy="24595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anchor="ctr"/>
          <a:lstStyle/>
          <a:p>
            <a:pPr algn="ctr" fontAlgn="auto">
              <a:spcBef>
                <a:spcPts val="0"/>
              </a:spcBef>
              <a:spcAft>
                <a:spcPts val="0"/>
              </a:spcAft>
              <a:defRPr/>
            </a:pPr>
            <a:endParaRPr lang="en-US" sz="2400">
              <a:latin typeface="+mj-lt"/>
            </a:endParaRPr>
          </a:p>
        </p:txBody>
      </p:sp>
      <p:sp>
        <p:nvSpPr>
          <p:cNvPr id="26" name="Picture Placeholder 25"/>
          <p:cNvSpPr>
            <a:spLocks noGrp="1"/>
          </p:cNvSpPr>
          <p:nvPr>
            <p:ph type="pic" sz="quarter" idx="10"/>
          </p:nvPr>
        </p:nvSpPr>
        <p:spPr>
          <a:xfrm>
            <a:off x="733321" y="310896"/>
            <a:ext cx="4364736" cy="2459736"/>
          </a:xfrm>
          <a:prstGeom prst="rect">
            <a:avLst/>
          </a:prstGeom>
          <a:solidFill>
            <a:schemeClr val="bg1">
              <a:alpha val="30000"/>
            </a:schemeClr>
          </a:solidFill>
          <a:ln>
            <a:solidFill>
              <a:srgbClr val="676767"/>
            </a:solidFill>
          </a:ln>
          <a:effectLst/>
        </p:spPr>
        <p:txBody>
          <a:bodyPr vert="horz" lIns="68572" tIns="34286" rIns="68572" bIns="34286" rtlCol="0" anchor="ctr" anchorCtr="0">
            <a:normAutofit/>
          </a:bodyPr>
          <a:lstStyle>
            <a:lvl1pPr marL="0" indent="0" algn="ctr" defTabSz="914256"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574586" y="3307597"/>
            <a:ext cx="8973153" cy="2152559"/>
          </a:xfrm>
        </p:spPr>
        <p:txBody>
          <a:bodyPr>
            <a:noAutofit/>
          </a:bodyPr>
          <a:lstStyle>
            <a:lvl1pPr marL="0" marR="0" indent="0" algn="l" defTabSz="914256" rtl="0" eaLnBrk="1" fontAlgn="auto" latinLnBrk="0" hangingPunct="1">
              <a:lnSpc>
                <a:spcPct val="80000"/>
              </a:lnSpc>
              <a:spcBef>
                <a:spcPct val="0"/>
              </a:spcBef>
              <a:spcAft>
                <a:spcPts val="0"/>
              </a:spcAft>
              <a:buClrTx/>
              <a:buSzTx/>
              <a:buFontTx/>
              <a:buNone/>
              <a:tabLst/>
              <a:defRPr sz="60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3681097648"/>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61073514"/>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Wide screen video">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704874" y="777240"/>
            <a:ext cx="10886575"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47" tIns="34284" rIns="68547" bIns="34284" rtlCol="0" anchor="ctr">
            <a:normAutofit/>
          </a:bodyPr>
          <a:lstStyle>
            <a:lvl1pPr marL="0" indent="0" algn="ctr" defTabSz="913908" rtl="0" eaLnBrk="1" latinLnBrk="0" hangingPunct="1">
              <a:lnSpc>
                <a:spcPct val="95000"/>
              </a:lnSpc>
              <a:spcBef>
                <a:spcPts val="1440"/>
              </a:spcBef>
              <a:buClr>
                <a:srgbClr val="92D050"/>
              </a:buClr>
              <a:buSzPct val="90000"/>
              <a:buFont typeface="Arial" pitchFamily="34" charset="0"/>
              <a:buNone/>
              <a:tabLst/>
              <a:defRPr lang="en-US" sz="1867" kern="1200" baseline="0" smtClean="0">
                <a:solidFill>
                  <a:schemeClr val="lt1"/>
                </a:solidFill>
                <a:latin typeface="+mn-lt"/>
                <a:ea typeface="+mn-ea"/>
                <a:cs typeface="CiscoSans"/>
              </a:defRPr>
            </a:lvl1pPr>
          </a:lstStyle>
          <a:p>
            <a:pPr lvl="0"/>
            <a:r>
              <a:rPr lang="en-US" noProof="0" dirty="0"/>
              <a:t>Click icon to add media</a:t>
            </a:r>
          </a:p>
        </p:txBody>
      </p:sp>
    </p:spTree>
    <p:extLst>
      <p:ext uri="{BB962C8B-B14F-4D97-AF65-F5344CB8AC3E}">
        <p14:creationId xmlns:p14="http://schemas.microsoft.com/office/powerpoint/2010/main" val="178582687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tandard video">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905785" y="778669"/>
            <a:ext cx="5899416"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47" tIns="34284" rIns="68547" bIns="34284" rtlCol="0" anchor="ctr">
            <a:normAutofit/>
          </a:bodyPr>
          <a:lstStyle>
            <a:lvl1pPr marL="0" indent="0" algn="ctr" defTabSz="913908" rtl="0" eaLnBrk="1" latinLnBrk="0" hangingPunct="1">
              <a:lnSpc>
                <a:spcPct val="95000"/>
              </a:lnSpc>
              <a:spcBef>
                <a:spcPts val="1440"/>
              </a:spcBef>
              <a:buClr>
                <a:srgbClr val="92D050"/>
              </a:buClr>
              <a:buSzPct val="90000"/>
              <a:buFont typeface="Arial" pitchFamily="34" charset="0"/>
              <a:buNone/>
              <a:tabLst/>
              <a:defRPr lang="en-US" sz="1867" kern="1200">
                <a:solidFill>
                  <a:schemeClr val="lt1"/>
                </a:solidFill>
                <a:latin typeface="+mn-lt"/>
                <a:ea typeface="+mn-ea"/>
                <a:cs typeface="CiscoSans"/>
              </a:defRPr>
            </a:lvl1pPr>
          </a:lstStyle>
          <a:p>
            <a:pPr lvl="0"/>
            <a:r>
              <a:rPr lang="en-US" noProof="0" dirty="0"/>
              <a:t>Click icon to add media</a:t>
            </a:r>
          </a:p>
        </p:txBody>
      </p:sp>
    </p:spTree>
    <p:extLst>
      <p:ext uri="{BB962C8B-B14F-4D97-AF65-F5344CB8AC3E}">
        <p14:creationId xmlns:p14="http://schemas.microsoft.com/office/powerpoint/2010/main" val="87445147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12192000" cy="6866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56140" y="2190751"/>
            <a:ext cx="11679767"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64423462"/>
      </p:ext>
    </p:extLst>
  </p:cSld>
  <p:clrMapOvr>
    <a:masterClrMapping/>
  </p:clrMapOvr>
  <p:transition spd="slow">
    <p:wip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_Photo">
    <p:spTree>
      <p:nvGrpSpPr>
        <p:cNvPr id="1" name=""/>
        <p:cNvGrpSpPr/>
        <p:nvPr/>
      </p:nvGrpSpPr>
      <p:grpSpPr>
        <a:xfrm>
          <a:off x="0" y="0"/>
          <a:ext cx="0" cy="0"/>
          <a:chOff x="0" y="0"/>
          <a:chExt cx="0" cy="0"/>
        </a:xfrm>
      </p:grpSpPr>
      <p:pic>
        <p:nvPicPr>
          <p:cNvPr id="16" name="Picture Placeholder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285" y="0"/>
            <a:ext cx="12200575" cy="6864856"/>
          </a:xfrm>
          <a:prstGeom prst="rect">
            <a:avLst/>
          </a:prstGeom>
        </p:spPr>
      </p:pic>
      <p:pic>
        <p:nvPicPr>
          <p:cNvPr id="17" name="Picture 8" descr="logo_black.ai"/>
          <p:cNvPicPr>
            <a:picLocks noChangeAspect="1"/>
          </p:cNvPicPr>
          <p:nvPr userDrawn="1"/>
        </p:nvPicPr>
        <p:blipFill>
          <a:blip r:embed="rId3">
            <a:alphaModFix amt="82000"/>
            <a:extLst>
              <a:ext uri="{28A0092B-C50C-407E-A947-70E740481C1C}">
                <a14:useLocalDpi xmlns:a14="http://schemas.microsoft.com/office/drawing/2010/main"/>
              </a:ext>
            </a:extLst>
          </a:blip>
          <a:srcRect/>
          <a:stretch>
            <a:fillRect/>
          </a:stretch>
        </p:blipFill>
        <p:spPr bwMode="auto">
          <a:xfrm>
            <a:off x="567290" y="427569"/>
            <a:ext cx="1265767" cy="781051"/>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ubtitle 2"/>
          <p:cNvSpPr>
            <a:spLocks noGrp="1"/>
          </p:cNvSpPr>
          <p:nvPr>
            <p:ph type="subTitle" idx="1" hasCustomPrompt="1"/>
          </p:nvPr>
        </p:nvSpPr>
        <p:spPr>
          <a:xfrm>
            <a:off x="626017" y="5057621"/>
            <a:ext cx="11061895" cy="384175"/>
          </a:xfrm>
          <a:prstGeom prst="rect">
            <a:avLst/>
          </a:prstGeom>
        </p:spPr>
        <p:txBody>
          <a:bodyPr lIns="91384" tIns="45692" rIns="91384" bIns="45692" anchor="b" anchorCtr="0">
            <a:noAutofit/>
          </a:bodyPr>
          <a:lstStyle>
            <a:lvl1pPr marL="0" indent="0" algn="l">
              <a:buNone/>
              <a:defRPr sz="1867" b="0" i="0">
                <a:solidFill>
                  <a:schemeClr val="bg1"/>
                </a:solidFill>
                <a:latin typeface="+mn-lt"/>
                <a:cs typeface="CiscoSans"/>
              </a:defRPr>
            </a:lvl1pPr>
            <a:lvl2pPr marL="456922" indent="0" algn="ctr">
              <a:buNone/>
              <a:defRPr>
                <a:solidFill>
                  <a:schemeClr val="tx1">
                    <a:tint val="75000"/>
                  </a:schemeClr>
                </a:solidFill>
              </a:defRPr>
            </a:lvl2pPr>
            <a:lvl3pPr marL="913869" indent="0" algn="ctr">
              <a:buNone/>
              <a:defRPr>
                <a:solidFill>
                  <a:schemeClr val="tx1">
                    <a:tint val="75000"/>
                  </a:schemeClr>
                </a:solidFill>
              </a:defRPr>
            </a:lvl3pPr>
            <a:lvl4pPr marL="1370802" indent="0" algn="ctr">
              <a:buNone/>
              <a:defRPr>
                <a:solidFill>
                  <a:schemeClr val="tx1">
                    <a:tint val="75000"/>
                  </a:schemeClr>
                </a:solidFill>
              </a:defRPr>
            </a:lvl4pPr>
            <a:lvl5pPr marL="1827741" indent="0" algn="ctr">
              <a:buNone/>
              <a:defRPr>
                <a:solidFill>
                  <a:schemeClr val="tx1">
                    <a:tint val="75000"/>
                  </a:schemeClr>
                </a:solidFill>
              </a:defRPr>
            </a:lvl5pPr>
            <a:lvl6pPr marL="2284678" indent="0" algn="ctr">
              <a:buNone/>
              <a:defRPr>
                <a:solidFill>
                  <a:schemeClr val="tx1">
                    <a:tint val="75000"/>
                  </a:schemeClr>
                </a:solidFill>
              </a:defRPr>
            </a:lvl6pPr>
            <a:lvl7pPr marL="2741610" indent="0" algn="ctr">
              <a:buNone/>
              <a:defRPr>
                <a:solidFill>
                  <a:schemeClr val="tx1">
                    <a:tint val="75000"/>
                  </a:schemeClr>
                </a:solidFill>
              </a:defRPr>
            </a:lvl7pPr>
            <a:lvl8pPr marL="3198533" indent="0" algn="ctr">
              <a:buNone/>
              <a:defRPr>
                <a:solidFill>
                  <a:schemeClr val="tx1">
                    <a:tint val="75000"/>
                  </a:schemeClr>
                </a:solidFill>
              </a:defRPr>
            </a:lvl8pPr>
            <a:lvl9pPr marL="3655463" indent="0" algn="ctr">
              <a:buNone/>
              <a:defRPr>
                <a:solidFill>
                  <a:schemeClr val="tx1">
                    <a:tint val="75000"/>
                  </a:schemeClr>
                </a:solidFill>
              </a:defRPr>
            </a:lvl9pPr>
          </a:lstStyle>
          <a:p>
            <a:r>
              <a:rPr lang="en-GB" dirty="0"/>
              <a:t>Speaker Name</a:t>
            </a:r>
            <a:endParaRPr lang="en-US" dirty="0"/>
          </a:p>
        </p:txBody>
      </p:sp>
      <p:sp>
        <p:nvSpPr>
          <p:cNvPr id="12" name="Text Placeholder 38"/>
          <p:cNvSpPr>
            <a:spLocks noGrp="1"/>
          </p:cNvSpPr>
          <p:nvPr>
            <p:ph type="body" sz="quarter" idx="11" hasCustomPrompt="1"/>
          </p:nvPr>
        </p:nvSpPr>
        <p:spPr>
          <a:xfrm>
            <a:off x="626017" y="5438091"/>
            <a:ext cx="11061895" cy="384175"/>
          </a:xfrm>
          <a:prstGeom prst="rect">
            <a:avLst/>
          </a:prstGeom>
        </p:spPr>
        <p:txBody>
          <a:bodyPr lIns="91384" tIns="45692" rIns="91384" bIns="45692"/>
          <a:lstStyle>
            <a:lvl1pPr marL="0" indent="0" algn="l">
              <a:buFontTx/>
              <a:buNone/>
              <a:defRPr lang="en-US" sz="1867" b="0" i="0" kern="1200" dirty="0" smtClean="0">
                <a:solidFill>
                  <a:schemeClr val="bg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3" name="Text Placeholder 40"/>
          <p:cNvSpPr>
            <a:spLocks noGrp="1"/>
          </p:cNvSpPr>
          <p:nvPr>
            <p:ph type="body" sz="quarter" idx="12" hasCustomPrompt="1"/>
          </p:nvPr>
        </p:nvSpPr>
        <p:spPr>
          <a:xfrm>
            <a:off x="626017" y="5818562"/>
            <a:ext cx="11061895" cy="384175"/>
          </a:xfrm>
          <a:prstGeom prst="rect">
            <a:avLst/>
          </a:prstGeom>
        </p:spPr>
        <p:txBody>
          <a:bodyPr lIns="91384" tIns="45692" rIns="91384" bIns="45692"/>
          <a:lstStyle>
            <a:lvl1pPr marL="0" indent="0" algn="l">
              <a:buFontTx/>
              <a:buNone/>
              <a:defRPr lang="en-US" sz="1867" b="0" i="0" kern="1200" dirty="0" smtClean="0">
                <a:solidFill>
                  <a:schemeClr val="bg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4" name="Text Placeholder 2"/>
          <p:cNvSpPr>
            <a:spLocks noGrp="1"/>
          </p:cNvSpPr>
          <p:nvPr>
            <p:ph type="body" sz="quarter" idx="13" hasCustomPrompt="1"/>
          </p:nvPr>
        </p:nvSpPr>
        <p:spPr>
          <a:xfrm>
            <a:off x="617745" y="4281951"/>
            <a:ext cx="11070167" cy="398668"/>
          </a:xfrm>
          <a:prstGeom prst="rect">
            <a:avLst/>
          </a:prstGeom>
        </p:spPr>
        <p:txBody>
          <a:bodyPr lIns="91384" tIns="45692" rIns="91384" bIns="45692"/>
          <a:lstStyle>
            <a:lvl1pPr marL="0" indent="0">
              <a:buFont typeface="Arial" panose="020B0604020202020204" pitchFamily="34" charset="0"/>
              <a:buNone/>
              <a:defRPr sz="2933" baseline="0">
                <a:solidFill>
                  <a:srgbClr val="4D4D4D"/>
                </a:solidFill>
                <a:latin typeface="+mj-lt"/>
              </a:defRPr>
            </a:lvl1pPr>
            <a:lvl2pPr marL="406189" indent="0">
              <a:buNone/>
              <a:defRPr/>
            </a:lvl2pPr>
            <a:lvl3pPr marL="569606" indent="0">
              <a:buNone/>
              <a:defRPr/>
            </a:lvl3pPr>
            <a:lvl4pPr marL="688603" indent="0">
              <a:buNone/>
              <a:defRPr/>
            </a:lvl4pPr>
            <a:lvl5pPr marL="801255" indent="0">
              <a:buNone/>
              <a:defRPr/>
            </a:lvl5pPr>
          </a:lstStyle>
          <a:p>
            <a:pPr lvl="0"/>
            <a:r>
              <a:rPr lang="en-GB" dirty="0"/>
              <a:t>Subtitle Goes Here</a:t>
            </a:r>
          </a:p>
        </p:txBody>
      </p:sp>
      <p:sp>
        <p:nvSpPr>
          <p:cNvPr id="10" name="Title 1"/>
          <p:cNvSpPr>
            <a:spLocks noGrp="1"/>
          </p:cNvSpPr>
          <p:nvPr>
            <p:ph type="ctrTitle" hasCustomPrompt="1"/>
          </p:nvPr>
        </p:nvSpPr>
        <p:spPr>
          <a:xfrm>
            <a:off x="567689" y="3519969"/>
            <a:ext cx="11120203" cy="859640"/>
          </a:xfrm>
          <a:prstGeom prst="rect">
            <a:avLst/>
          </a:prstGeom>
        </p:spPr>
        <p:txBody>
          <a:bodyPr anchor="b"/>
          <a:lstStyle>
            <a:lvl1pPr marL="0" indent="0" algn="l">
              <a:lnSpc>
                <a:spcPct val="90000"/>
              </a:lnSpc>
              <a:buFont typeface="Arial" panose="020B0604020202020204" pitchFamily="34" charset="0"/>
              <a:buNone/>
              <a:defRPr sz="6933" b="0" i="0" spc="0" baseline="0">
                <a:solidFill>
                  <a:srgbClr val="4D4D4D"/>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1955830791"/>
      </p:ext>
    </p:extLst>
  </p:cSld>
  <p:clrMapOvr>
    <a:masterClrMapping/>
  </p:clrMapOvr>
  <p:transition spd="slow">
    <p:wip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1_Closing_Photo">
    <p:spTree>
      <p:nvGrpSpPr>
        <p:cNvPr id="1" name=""/>
        <p:cNvGrpSpPr/>
        <p:nvPr/>
      </p:nvGrpSpPr>
      <p:grpSpPr>
        <a:xfrm>
          <a:off x="0" y="0"/>
          <a:ext cx="0" cy="0"/>
          <a:chOff x="0" y="0"/>
          <a:chExt cx="0" cy="0"/>
        </a:xfrm>
      </p:grpSpPr>
      <p:pic>
        <p:nvPicPr>
          <p:cNvPr id="16" name="Picture Placeholder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85" y="-3425"/>
            <a:ext cx="12200575" cy="6864857"/>
          </a:xfrm>
          <a:prstGeom prst="rect">
            <a:avLst/>
          </a:prstGeom>
        </p:spPr>
      </p:pic>
      <p:pic>
        <p:nvPicPr>
          <p:cNvPr id="17" name="Picture 16" descr="pref_1-line_logo+tagline-rt-white-CMYK.ai"/>
          <p:cNvPicPr>
            <a:picLocks noChangeAspect="1"/>
          </p:cNvPicPr>
          <p:nvPr userDrawn="1"/>
        </p:nvPicPr>
        <p:blipFill>
          <a:blip r:embed="rId3">
            <a:duotone>
              <a:prstClr val="black"/>
              <a:schemeClr val="accent3">
                <a:tint val="45000"/>
                <a:satMod val="400000"/>
              </a:schemeClr>
            </a:duotone>
            <a:lum bright="-100000" contrast="-100000"/>
            <a:alphaModFix amt="60000"/>
            <a:extLst>
              <a:ext uri="{28A0092B-C50C-407E-A947-70E740481C1C}">
                <a14:useLocalDpi xmlns:a14="http://schemas.microsoft.com/office/drawing/2010/main"/>
              </a:ext>
            </a:extLst>
          </a:blip>
          <a:stretch>
            <a:fillRect/>
          </a:stretch>
        </p:blipFill>
        <p:spPr>
          <a:xfrm>
            <a:off x="255660" y="2191512"/>
            <a:ext cx="11680680" cy="2474976"/>
          </a:xfrm>
          <a:prstGeom prst="rect">
            <a:avLst/>
          </a:prstGeom>
        </p:spPr>
      </p:pic>
    </p:spTree>
    <p:extLst>
      <p:ext uri="{BB962C8B-B14F-4D97-AF65-F5344CB8AC3E}">
        <p14:creationId xmlns:p14="http://schemas.microsoft.com/office/powerpoint/2010/main" val="494864527"/>
      </p:ext>
    </p:extLst>
  </p:cSld>
  <p:clrMapOvr>
    <a:masterClrMapping/>
  </p:clrMapOvr>
  <p:transition spd="slow">
    <p:wip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2_Bullet_Title only">
    <p:spTree>
      <p:nvGrpSpPr>
        <p:cNvPr id="1" name=""/>
        <p:cNvGrpSpPr/>
        <p:nvPr/>
      </p:nvGrpSpPr>
      <p:grpSpPr>
        <a:xfrm>
          <a:off x="0" y="0"/>
          <a:ext cx="0" cy="0"/>
          <a:chOff x="0" y="0"/>
          <a:chExt cx="0" cy="0"/>
        </a:xfrm>
      </p:grpSpPr>
      <p:grpSp>
        <p:nvGrpSpPr>
          <p:cNvPr id="4" name="Group 3"/>
          <p:cNvGrpSpPr/>
          <p:nvPr userDrawn="1"/>
        </p:nvGrpSpPr>
        <p:grpSpPr>
          <a:xfrm>
            <a:off x="0" y="-85"/>
            <a:ext cx="12192000" cy="7061285"/>
            <a:chOff x="0" y="-64"/>
            <a:chExt cx="9144000" cy="5295964"/>
          </a:xfrm>
        </p:grpSpPr>
        <p:sp>
          <p:nvSpPr>
            <p:cNvPr id="5" name="Rectangle 4"/>
            <p:cNvSpPr/>
            <p:nvPr userDrawn="1"/>
          </p:nvSpPr>
          <p:spPr>
            <a:xfrm>
              <a:off x="0" y="0"/>
              <a:ext cx="9144000" cy="51435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307" fontAlgn="base">
                <a:spcBef>
                  <a:spcPct val="0"/>
                </a:spcBef>
                <a:spcAft>
                  <a:spcPct val="0"/>
                </a:spcAft>
              </a:pPr>
              <a:endParaRPr lang="en-US" sz="2400" dirty="0">
                <a:solidFill>
                  <a:srgbClr val="FFFFFF"/>
                </a:solidFill>
              </a:endParaRPr>
            </a:p>
          </p:txBody>
        </p:sp>
        <p:sp>
          <p:nvSpPr>
            <p:cNvPr id="6" name="Oval 5"/>
            <p:cNvSpPr/>
            <p:nvPr userDrawn="1"/>
          </p:nvSpPr>
          <p:spPr>
            <a:xfrm>
              <a:off x="341575" y="259428"/>
              <a:ext cx="8595609" cy="4884072"/>
            </a:xfrm>
            <a:prstGeom prst="ellipse">
              <a:avLst/>
            </a:prstGeom>
            <a:gradFill flip="none" rotWithShape="1">
              <a:gsLst>
                <a:gs pos="17000">
                  <a:schemeClr val="bg1"/>
                </a:gs>
                <a:gs pos="100000">
                  <a:schemeClr val="bg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307" fontAlgn="base">
                <a:spcBef>
                  <a:spcPct val="0"/>
                </a:spcBef>
                <a:spcAft>
                  <a:spcPct val="0"/>
                </a:spcAft>
              </a:pPr>
              <a:endParaRPr lang="en-US" sz="2400" dirty="0">
                <a:solidFill>
                  <a:srgbClr val="FFFFFF"/>
                </a:solidFill>
              </a:endParaRPr>
            </a:p>
          </p:txBody>
        </p:sp>
        <p:sp>
          <p:nvSpPr>
            <p:cNvPr id="7" name="Oval 6"/>
            <p:cNvSpPr/>
            <p:nvPr userDrawn="1"/>
          </p:nvSpPr>
          <p:spPr>
            <a:xfrm>
              <a:off x="493975" y="411828"/>
              <a:ext cx="8595609" cy="4884072"/>
            </a:xfrm>
            <a:prstGeom prst="ellipse">
              <a:avLst/>
            </a:prstGeom>
            <a:gradFill flip="none" rotWithShape="1">
              <a:gsLst>
                <a:gs pos="17000">
                  <a:schemeClr val="bg1"/>
                </a:gs>
                <a:gs pos="100000">
                  <a:schemeClr val="bg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307" fontAlgn="base">
                <a:spcBef>
                  <a:spcPct val="0"/>
                </a:spcBef>
                <a:spcAft>
                  <a:spcPct val="0"/>
                </a:spcAft>
              </a:pPr>
              <a:endParaRPr lang="en-US" sz="2400" dirty="0">
                <a:solidFill>
                  <a:srgbClr val="FFFFFF"/>
                </a:solidFill>
              </a:endParaRPr>
            </a:p>
          </p:txBody>
        </p:sp>
        <p:sp>
          <p:nvSpPr>
            <p:cNvPr id="8" name="Freeform 7"/>
            <p:cNvSpPr>
              <a:spLocks noChangeArrowheads="1"/>
            </p:cNvSpPr>
            <p:nvPr userDrawn="1"/>
          </p:nvSpPr>
          <p:spPr bwMode="auto">
            <a:xfrm flipV="1">
              <a:off x="0" y="-64"/>
              <a:ext cx="9144000" cy="5143500"/>
            </a:xfrm>
            <a:custGeom>
              <a:avLst/>
              <a:gdLst>
                <a:gd name="connsiteX0" fmla="*/ 1990457 w 9144000"/>
                <a:gd name="connsiteY0" fmla="*/ 175005 h 5143500"/>
                <a:gd name="connsiteX1" fmla="*/ 2025490 w 9144000"/>
                <a:gd name="connsiteY1" fmla="*/ 139857 h 5143500"/>
                <a:gd name="connsiteX2" fmla="*/ 1990457 w 9144000"/>
                <a:gd name="connsiteY2" fmla="*/ 104831 h 5143500"/>
                <a:gd name="connsiteX3" fmla="*/ 1956899 w 9144000"/>
                <a:gd name="connsiteY3" fmla="*/ 129902 h 5143500"/>
                <a:gd name="connsiteX4" fmla="*/ 1752476 w 9144000"/>
                <a:gd name="connsiteY4" fmla="*/ 129902 h 5143500"/>
                <a:gd name="connsiteX5" fmla="*/ 1687571 w 9144000"/>
                <a:gd name="connsiteY5" fmla="*/ 129902 h 5143500"/>
                <a:gd name="connsiteX6" fmla="*/ 1685974 w 9144000"/>
                <a:gd name="connsiteY6" fmla="*/ 124740 h 5143500"/>
                <a:gd name="connsiteX7" fmla="*/ 1229064 w 9144000"/>
                <a:gd name="connsiteY7" fmla="*/ 124740 h 5143500"/>
                <a:gd name="connsiteX8" fmla="*/ 1211240 w 9144000"/>
                <a:gd name="connsiteY8" fmla="*/ 106921 h 5143500"/>
                <a:gd name="connsiteX9" fmla="*/ 1104296 w 9144000"/>
                <a:gd name="connsiteY9" fmla="*/ 1 h 5143500"/>
                <a:gd name="connsiteX10" fmla="*/ 1087086 w 9144000"/>
                <a:gd name="connsiteY10" fmla="*/ 1 h 5143500"/>
                <a:gd name="connsiteX11" fmla="*/ 1193908 w 9144000"/>
                <a:gd name="connsiteY11" fmla="*/ 106921 h 5143500"/>
                <a:gd name="connsiteX12" fmla="*/ 1211240 w 9144000"/>
                <a:gd name="connsiteY12" fmla="*/ 124740 h 5143500"/>
                <a:gd name="connsiteX13" fmla="*/ 1234227 w 9144000"/>
                <a:gd name="connsiteY13" fmla="*/ 147722 h 5143500"/>
                <a:gd name="connsiteX14" fmla="*/ 1956407 w 9144000"/>
                <a:gd name="connsiteY14" fmla="*/ 147722 h 5143500"/>
                <a:gd name="connsiteX15" fmla="*/ 1990457 w 9144000"/>
                <a:gd name="connsiteY15" fmla="*/ 175005 h 5143500"/>
                <a:gd name="connsiteX16" fmla="*/ 0 w 9144000"/>
                <a:gd name="connsiteY16" fmla="*/ 272058 h 5143500"/>
                <a:gd name="connsiteX17" fmla="*/ 1 w 9144000"/>
                <a:gd name="connsiteY17" fmla="*/ 272058 h 5143500"/>
                <a:gd name="connsiteX18" fmla="*/ 4755 w 9144000"/>
                <a:gd name="connsiteY18" fmla="*/ 272058 h 5143500"/>
                <a:gd name="connsiteX19" fmla="*/ 1626 w 9144000"/>
                <a:gd name="connsiteY19" fmla="*/ 268925 h 5143500"/>
                <a:gd name="connsiteX20" fmla="*/ 0 w 9144000"/>
                <a:gd name="connsiteY20" fmla="*/ 272058 h 5143500"/>
                <a:gd name="connsiteX21" fmla="*/ 239055 w 9144000"/>
                <a:gd name="connsiteY21" fmla="*/ 299165 h 5143500"/>
                <a:gd name="connsiteX22" fmla="*/ 274224 w 9144000"/>
                <a:gd name="connsiteY22" fmla="*/ 264046 h 5143500"/>
                <a:gd name="connsiteX23" fmla="*/ 239055 w 9144000"/>
                <a:gd name="connsiteY23" fmla="*/ 228804 h 5143500"/>
                <a:gd name="connsiteX24" fmla="*/ 204992 w 9144000"/>
                <a:gd name="connsiteY24" fmla="*/ 254558 h 5143500"/>
                <a:gd name="connsiteX25" fmla="*/ 36489 w 9144000"/>
                <a:gd name="connsiteY25" fmla="*/ 254558 h 5143500"/>
                <a:gd name="connsiteX26" fmla="*/ 16572 w 9144000"/>
                <a:gd name="connsiteY26" fmla="*/ 254558 h 5143500"/>
                <a:gd name="connsiteX27" fmla="*/ 13344 w 9144000"/>
                <a:gd name="connsiteY27" fmla="*/ 250388 h 5143500"/>
                <a:gd name="connsiteX28" fmla="*/ 8345 w 9144000"/>
                <a:gd name="connsiteY28" fmla="*/ 248866 h 5143500"/>
                <a:gd name="connsiteX29" fmla="*/ 2 w 9144000"/>
                <a:gd name="connsiteY29" fmla="*/ 254706 h 5143500"/>
                <a:gd name="connsiteX30" fmla="*/ 262 w 9144000"/>
                <a:gd name="connsiteY30" fmla="*/ 254706 h 5143500"/>
                <a:gd name="connsiteX31" fmla="*/ 464 w 9144000"/>
                <a:gd name="connsiteY31" fmla="*/ 254706 h 5143500"/>
                <a:gd name="connsiteX32" fmla="*/ 385 w 9144000"/>
                <a:gd name="connsiteY32" fmla="*/ 255122 h 5143500"/>
                <a:gd name="connsiteX33" fmla="*/ 434 w 9144000"/>
                <a:gd name="connsiteY33" fmla="*/ 254829 h 5143500"/>
                <a:gd name="connsiteX34" fmla="*/ 1 w 9144000"/>
                <a:gd name="connsiteY34" fmla="*/ 254829 h 5143500"/>
                <a:gd name="connsiteX35" fmla="*/ 1 w 9144000"/>
                <a:gd name="connsiteY35" fmla="*/ 255152 h 5143500"/>
                <a:gd name="connsiteX36" fmla="*/ 1 w 9144000"/>
                <a:gd name="connsiteY36" fmla="*/ 257144 h 5143500"/>
                <a:gd name="connsiteX37" fmla="*/ 0 w 9144000"/>
                <a:gd name="connsiteY37" fmla="*/ 257145 h 5143500"/>
                <a:gd name="connsiteX38" fmla="*/ 0 w 9144000"/>
                <a:gd name="connsiteY38" fmla="*/ 264046 h 5143500"/>
                <a:gd name="connsiteX39" fmla="*/ 0 w 9144000"/>
                <a:gd name="connsiteY39" fmla="*/ 265032 h 5143500"/>
                <a:gd name="connsiteX40" fmla="*/ 0 w 9144000"/>
                <a:gd name="connsiteY40" fmla="*/ 271932 h 5143500"/>
                <a:gd name="connsiteX41" fmla="*/ 1599 w 9144000"/>
                <a:gd name="connsiteY41" fmla="*/ 268728 h 5143500"/>
                <a:gd name="connsiteX42" fmla="*/ 4673 w 9144000"/>
                <a:gd name="connsiteY42" fmla="*/ 271932 h 5143500"/>
                <a:gd name="connsiteX43" fmla="*/ 8854 w 9144000"/>
                <a:gd name="connsiteY43" fmla="*/ 272918 h 5143500"/>
                <a:gd name="connsiteX44" fmla="*/ 13158 w 9144000"/>
                <a:gd name="connsiteY44" fmla="*/ 271932 h 5143500"/>
                <a:gd name="connsiteX45" fmla="*/ 204500 w 9144000"/>
                <a:gd name="connsiteY45" fmla="*/ 271932 h 5143500"/>
                <a:gd name="connsiteX46" fmla="*/ 239055 w 9144000"/>
                <a:gd name="connsiteY46" fmla="*/ 299165 h 5143500"/>
                <a:gd name="connsiteX47" fmla="*/ 1234548 w 9144000"/>
                <a:gd name="connsiteY47" fmla="*/ 403807 h 5143500"/>
                <a:gd name="connsiteX48" fmla="*/ 1270223 w 9144000"/>
                <a:gd name="connsiteY48" fmla="*/ 368630 h 5143500"/>
                <a:gd name="connsiteX49" fmla="*/ 1234548 w 9144000"/>
                <a:gd name="connsiteY49" fmla="*/ 333452 h 5143500"/>
                <a:gd name="connsiteX50" fmla="*/ 1220402 w 9144000"/>
                <a:gd name="connsiteY50" fmla="*/ 336650 h 5143500"/>
                <a:gd name="connsiteX51" fmla="*/ 1008570 w 9144000"/>
                <a:gd name="connsiteY51" fmla="*/ 124845 h 5143500"/>
                <a:gd name="connsiteX52" fmla="*/ 990733 w 9144000"/>
                <a:gd name="connsiteY52" fmla="*/ 107010 h 5143500"/>
                <a:gd name="connsiteX53" fmla="*/ 883710 w 9144000"/>
                <a:gd name="connsiteY53" fmla="*/ 1 h 5143500"/>
                <a:gd name="connsiteX54" fmla="*/ 865874 w 9144000"/>
                <a:gd name="connsiteY54" fmla="*/ 1 h 5143500"/>
                <a:gd name="connsiteX55" fmla="*/ 973388 w 9144000"/>
                <a:gd name="connsiteY55" fmla="*/ 107010 h 5143500"/>
                <a:gd name="connsiteX56" fmla="*/ 990733 w 9144000"/>
                <a:gd name="connsiteY56" fmla="*/ 124845 h 5143500"/>
                <a:gd name="connsiteX57" fmla="*/ 1209945 w 9144000"/>
                <a:gd name="connsiteY57" fmla="*/ 344029 h 5143500"/>
                <a:gd name="connsiteX58" fmla="*/ 1199489 w 9144000"/>
                <a:gd name="connsiteY58" fmla="*/ 368630 h 5143500"/>
                <a:gd name="connsiteX59" fmla="*/ 1234548 w 9144000"/>
                <a:gd name="connsiteY59" fmla="*/ 403807 h 5143500"/>
                <a:gd name="connsiteX60" fmla="*/ 1850434 w 9144000"/>
                <a:gd name="connsiteY60" fmla="*/ 421699 h 5143500"/>
                <a:gd name="connsiteX61" fmla="*/ 1885606 w 9144000"/>
                <a:gd name="connsiteY61" fmla="*/ 386517 h 5143500"/>
                <a:gd name="connsiteX62" fmla="*/ 1850434 w 9144000"/>
                <a:gd name="connsiteY62" fmla="*/ 351334 h 5143500"/>
                <a:gd name="connsiteX63" fmla="*/ 1835799 w 9144000"/>
                <a:gd name="connsiteY63" fmla="*/ 354533 h 5143500"/>
                <a:gd name="connsiteX64" fmla="*/ 1656986 w 9144000"/>
                <a:gd name="connsiteY64" fmla="*/ 175175 h 5143500"/>
                <a:gd name="connsiteX65" fmla="*/ 1234426 w 9144000"/>
                <a:gd name="connsiteY65" fmla="*/ 175175 h 5143500"/>
                <a:gd name="connsiteX66" fmla="*/ 1184127 w 9144000"/>
                <a:gd name="connsiteY66" fmla="*/ 124862 h 5143500"/>
                <a:gd name="connsiteX67" fmla="*/ 1166910 w 9144000"/>
                <a:gd name="connsiteY67" fmla="*/ 107024 h 5143500"/>
                <a:gd name="connsiteX68" fmla="*/ 1059917 w 9144000"/>
                <a:gd name="connsiteY68" fmla="*/ 0 h 5143500"/>
                <a:gd name="connsiteX69" fmla="*/ 1042085 w 9144000"/>
                <a:gd name="connsiteY69" fmla="*/ 0 h 5143500"/>
                <a:gd name="connsiteX70" fmla="*/ 1149078 w 9144000"/>
                <a:gd name="connsiteY70" fmla="*/ 107024 h 5143500"/>
                <a:gd name="connsiteX71" fmla="*/ 1166910 w 9144000"/>
                <a:gd name="connsiteY71" fmla="*/ 124862 h 5143500"/>
                <a:gd name="connsiteX72" fmla="*/ 1234426 w 9144000"/>
                <a:gd name="connsiteY72" fmla="*/ 193013 h 5143500"/>
                <a:gd name="connsiteX73" fmla="*/ 1656986 w 9144000"/>
                <a:gd name="connsiteY73" fmla="*/ 193013 h 5143500"/>
                <a:gd name="connsiteX74" fmla="*/ 1825346 w 9144000"/>
                <a:gd name="connsiteY74" fmla="*/ 361298 h 5143500"/>
                <a:gd name="connsiteX75" fmla="*/ 1815384 w 9144000"/>
                <a:gd name="connsiteY75" fmla="*/ 386517 h 5143500"/>
                <a:gd name="connsiteX76" fmla="*/ 1850434 w 9144000"/>
                <a:gd name="connsiteY76" fmla="*/ 421699 h 5143500"/>
                <a:gd name="connsiteX77" fmla="*/ 342635 w 9144000"/>
                <a:gd name="connsiteY77" fmla="*/ 422785 h 5143500"/>
                <a:gd name="connsiteX78" fmla="*/ 377784 w 9144000"/>
                <a:gd name="connsiteY78" fmla="*/ 387542 h 5143500"/>
                <a:gd name="connsiteX79" fmla="*/ 342635 w 9144000"/>
                <a:gd name="connsiteY79" fmla="*/ 352423 h 5143500"/>
                <a:gd name="connsiteX80" fmla="*/ 308593 w 9144000"/>
                <a:gd name="connsiteY80" fmla="*/ 378177 h 5143500"/>
                <a:gd name="connsiteX81" fmla="*/ 2 w 9144000"/>
                <a:gd name="connsiteY81" fmla="*/ 378177 h 5143500"/>
                <a:gd name="connsiteX82" fmla="*/ 2 w 9144000"/>
                <a:gd name="connsiteY82" fmla="*/ 395429 h 5143500"/>
                <a:gd name="connsiteX83" fmla="*/ 4815 w 9144000"/>
                <a:gd name="connsiteY83" fmla="*/ 395429 h 5143500"/>
                <a:gd name="connsiteX84" fmla="*/ 5625 w 9144000"/>
                <a:gd name="connsiteY84" fmla="*/ 395429 h 5143500"/>
                <a:gd name="connsiteX85" fmla="*/ 9095 w 9144000"/>
                <a:gd name="connsiteY85" fmla="*/ 396232 h 5143500"/>
                <a:gd name="connsiteX86" fmla="*/ 12668 w 9144000"/>
                <a:gd name="connsiteY86" fmla="*/ 395429 h 5143500"/>
                <a:gd name="connsiteX87" fmla="*/ 16249 w 9144000"/>
                <a:gd name="connsiteY87" fmla="*/ 395429 h 5143500"/>
                <a:gd name="connsiteX88" fmla="*/ 308101 w 9144000"/>
                <a:gd name="connsiteY88" fmla="*/ 395429 h 5143500"/>
                <a:gd name="connsiteX89" fmla="*/ 342635 w 9144000"/>
                <a:gd name="connsiteY89" fmla="*/ 422785 h 5143500"/>
                <a:gd name="connsiteX90" fmla="*/ 2413262 w 9144000"/>
                <a:gd name="connsiteY90" fmla="*/ 491642 h 5143500"/>
                <a:gd name="connsiteX91" fmla="*/ 2448397 w 9144000"/>
                <a:gd name="connsiteY91" fmla="*/ 456481 h 5143500"/>
                <a:gd name="connsiteX92" fmla="*/ 2422721 w 9144000"/>
                <a:gd name="connsiteY92" fmla="*/ 422427 h 5143500"/>
                <a:gd name="connsiteX93" fmla="*/ 2422721 w 9144000"/>
                <a:gd name="connsiteY93" fmla="*/ 69708 h 5143500"/>
                <a:gd name="connsiteX94" fmla="*/ 2353558 w 9144000"/>
                <a:gd name="connsiteY94" fmla="*/ 1 h 5143500"/>
                <a:gd name="connsiteX95" fmla="*/ 2335745 w 9144000"/>
                <a:gd name="connsiteY95" fmla="*/ 1 h 5143500"/>
                <a:gd name="connsiteX96" fmla="*/ 2405400 w 9144000"/>
                <a:gd name="connsiteY96" fmla="*/ 69708 h 5143500"/>
                <a:gd name="connsiteX97" fmla="*/ 2405400 w 9144000"/>
                <a:gd name="connsiteY97" fmla="*/ 421935 h 5143500"/>
                <a:gd name="connsiteX98" fmla="*/ 2378127 w 9144000"/>
                <a:gd name="connsiteY98" fmla="*/ 456481 h 5143500"/>
                <a:gd name="connsiteX99" fmla="*/ 2413262 w 9144000"/>
                <a:gd name="connsiteY99" fmla="*/ 491642 h 5143500"/>
                <a:gd name="connsiteX100" fmla="*/ 1745375 w 9144000"/>
                <a:gd name="connsiteY100" fmla="*/ 508992 h 5143500"/>
                <a:gd name="connsiteX101" fmla="*/ 1780421 w 9144000"/>
                <a:gd name="connsiteY101" fmla="*/ 473944 h 5143500"/>
                <a:gd name="connsiteX102" fmla="*/ 1745375 w 9144000"/>
                <a:gd name="connsiteY102" fmla="*/ 438773 h 5143500"/>
                <a:gd name="connsiteX103" fmla="*/ 1730619 w 9144000"/>
                <a:gd name="connsiteY103" fmla="*/ 441971 h 5143500"/>
                <a:gd name="connsiteX104" fmla="*/ 1534113 w 9144000"/>
                <a:gd name="connsiteY104" fmla="*/ 245334 h 5143500"/>
                <a:gd name="connsiteX105" fmla="*/ 1234682 w 9144000"/>
                <a:gd name="connsiteY105" fmla="*/ 245334 h 5143500"/>
                <a:gd name="connsiteX106" fmla="*/ 1114173 w 9144000"/>
                <a:gd name="connsiteY106" fmla="*/ 124820 h 5143500"/>
                <a:gd name="connsiteX107" fmla="*/ 1096833 w 9144000"/>
                <a:gd name="connsiteY107" fmla="*/ 106988 h 5143500"/>
                <a:gd name="connsiteX108" fmla="*/ 989358 w 9144000"/>
                <a:gd name="connsiteY108" fmla="*/ 0 h 5143500"/>
                <a:gd name="connsiteX109" fmla="*/ 972142 w 9144000"/>
                <a:gd name="connsiteY109" fmla="*/ 0 h 5143500"/>
                <a:gd name="connsiteX110" fmla="*/ 1079003 w 9144000"/>
                <a:gd name="connsiteY110" fmla="*/ 106988 h 5143500"/>
                <a:gd name="connsiteX111" fmla="*/ 1096833 w 9144000"/>
                <a:gd name="connsiteY111" fmla="*/ 124820 h 5143500"/>
                <a:gd name="connsiteX112" fmla="*/ 1234682 w 9144000"/>
                <a:gd name="connsiteY112" fmla="*/ 263166 h 5143500"/>
                <a:gd name="connsiteX113" fmla="*/ 1534113 w 9144000"/>
                <a:gd name="connsiteY113" fmla="*/ 263166 h 5143500"/>
                <a:gd name="connsiteX114" fmla="*/ 1720166 w 9144000"/>
                <a:gd name="connsiteY114" fmla="*/ 449349 h 5143500"/>
                <a:gd name="connsiteX115" fmla="*/ 1709714 w 9144000"/>
                <a:gd name="connsiteY115" fmla="*/ 473944 h 5143500"/>
                <a:gd name="connsiteX116" fmla="*/ 1745375 w 9144000"/>
                <a:gd name="connsiteY116" fmla="*/ 508992 h 5143500"/>
                <a:gd name="connsiteX117" fmla="*/ 3075274 w 9144000"/>
                <a:gd name="connsiteY117" fmla="*/ 532306 h 5143500"/>
                <a:gd name="connsiteX118" fmla="*/ 3110408 w 9144000"/>
                <a:gd name="connsiteY118" fmla="*/ 497278 h 5143500"/>
                <a:gd name="connsiteX119" fmla="*/ 3075274 w 9144000"/>
                <a:gd name="connsiteY119" fmla="*/ 462127 h 5143500"/>
                <a:gd name="connsiteX120" fmla="*/ 3050705 w 9144000"/>
                <a:gd name="connsiteY120" fmla="*/ 472574 h 5143500"/>
                <a:gd name="connsiteX121" fmla="*/ 2864226 w 9144000"/>
                <a:gd name="connsiteY121" fmla="*/ 286618 h 5143500"/>
                <a:gd name="connsiteX122" fmla="*/ 2864226 w 9144000"/>
                <a:gd name="connsiteY122" fmla="*/ 2 h 5143500"/>
                <a:gd name="connsiteX123" fmla="*/ 2847027 w 9144000"/>
                <a:gd name="connsiteY123" fmla="*/ 2 h 5143500"/>
                <a:gd name="connsiteX124" fmla="*/ 2847027 w 9144000"/>
                <a:gd name="connsiteY124" fmla="*/ 286618 h 5143500"/>
                <a:gd name="connsiteX125" fmla="*/ 3043334 w 9144000"/>
                <a:gd name="connsiteY125" fmla="*/ 483144 h 5143500"/>
                <a:gd name="connsiteX126" fmla="*/ 3040263 w 9144000"/>
                <a:gd name="connsiteY126" fmla="*/ 497278 h 5143500"/>
                <a:gd name="connsiteX127" fmla="*/ 3075274 w 9144000"/>
                <a:gd name="connsiteY127" fmla="*/ 532306 h 5143500"/>
                <a:gd name="connsiteX128" fmla="*/ 342635 w 9144000"/>
                <a:gd name="connsiteY128" fmla="*/ 545861 h 5143500"/>
                <a:gd name="connsiteX129" fmla="*/ 377784 w 9144000"/>
                <a:gd name="connsiteY129" fmla="*/ 510619 h 5143500"/>
                <a:gd name="connsiteX130" fmla="*/ 342635 w 9144000"/>
                <a:gd name="connsiteY130" fmla="*/ 475500 h 5143500"/>
                <a:gd name="connsiteX131" fmla="*/ 308593 w 9144000"/>
                <a:gd name="connsiteY131" fmla="*/ 501131 h 5143500"/>
                <a:gd name="connsiteX132" fmla="*/ 239403 w 9144000"/>
                <a:gd name="connsiteY132" fmla="*/ 500638 h 5143500"/>
                <a:gd name="connsiteX133" fmla="*/ 2 w 9144000"/>
                <a:gd name="connsiteY133" fmla="*/ 500638 h 5143500"/>
                <a:gd name="connsiteX134" fmla="*/ 2 w 9144000"/>
                <a:gd name="connsiteY134" fmla="*/ 518505 h 5143500"/>
                <a:gd name="connsiteX135" fmla="*/ 4815 w 9144000"/>
                <a:gd name="connsiteY135" fmla="*/ 518505 h 5143500"/>
                <a:gd name="connsiteX136" fmla="*/ 5626 w 9144000"/>
                <a:gd name="connsiteY136" fmla="*/ 518505 h 5143500"/>
                <a:gd name="connsiteX137" fmla="*/ 9095 w 9144000"/>
                <a:gd name="connsiteY137" fmla="*/ 519309 h 5143500"/>
                <a:gd name="connsiteX138" fmla="*/ 12667 w 9144000"/>
                <a:gd name="connsiteY138" fmla="*/ 518505 h 5143500"/>
                <a:gd name="connsiteX139" fmla="*/ 16249 w 9144000"/>
                <a:gd name="connsiteY139" fmla="*/ 518505 h 5143500"/>
                <a:gd name="connsiteX140" fmla="*/ 308101 w 9144000"/>
                <a:gd name="connsiteY140" fmla="*/ 518505 h 5143500"/>
                <a:gd name="connsiteX141" fmla="*/ 342635 w 9144000"/>
                <a:gd name="connsiteY141" fmla="*/ 545861 h 5143500"/>
                <a:gd name="connsiteX142" fmla="*/ 1217000 w 9144000"/>
                <a:gd name="connsiteY142" fmla="*/ 614719 h 5143500"/>
                <a:gd name="connsiteX143" fmla="*/ 1430799 w 9144000"/>
                <a:gd name="connsiteY143" fmla="*/ 400348 h 5143500"/>
                <a:gd name="connsiteX144" fmla="*/ 1445430 w 9144000"/>
                <a:gd name="connsiteY144" fmla="*/ 403544 h 5143500"/>
                <a:gd name="connsiteX145" fmla="*/ 1480592 w 9144000"/>
                <a:gd name="connsiteY145" fmla="*/ 368389 h 5143500"/>
                <a:gd name="connsiteX146" fmla="*/ 1445430 w 9144000"/>
                <a:gd name="connsiteY146" fmla="*/ 333234 h 5143500"/>
                <a:gd name="connsiteX147" fmla="*/ 1410391 w 9144000"/>
                <a:gd name="connsiteY147" fmla="*/ 368389 h 5143500"/>
                <a:gd name="connsiteX148" fmla="*/ 1420841 w 9144000"/>
                <a:gd name="connsiteY148" fmla="*/ 393587 h 5143500"/>
                <a:gd name="connsiteX149" fmla="*/ 1217000 w 9144000"/>
                <a:gd name="connsiteY149" fmla="*/ 596895 h 5143500"/>
                <a:gd name="connsiteX150" fmla="*/ 742067 w 9144000"/>
                <a:gd name="connsiteY150" fmla="*/ 122059 h 5143500"/>
                <a:gd name="connsiteX151" fmla="*/ 742067 w 9144000"/>
                <a:gd name="connsiteY151" fmla="*/ 1 h 5143500"/>
                <a:gd name="connsiteX152" fmla="*/ 724363 w 9144000"/>
                <a:gd name="connsiteY152" fmla="*/ 1 h 5143500"/>
                <a:gd name="connsiteX153" fmla="*/ 724363 w 9144000"/>
                <a:gd name="connsiteY153" fmla="*/ 122059 h 5143500"/>
                <a:gd name="connsiteX154" fmla="*/ 1217000 w 9144000"/>
                <a:gd name="connsiteY154" fmla="*/ 614719 h 5143500"/>
                <a:gd name="connsiteX155" fmla="*/ 2987933 w 9144000"/>
                <a:gd name="connsiteY155" fmla="*/ 638575 h 5143500"/>
                <a:gd name="connsiteX156" fmla="*/ 3023115 w 9144000"/>
                <a:gd name="connsiteY156" fmla="*/ 603523 h 5143500"/>
                <a:gd name="connsiteX157" fmla="*/ 2987933 w 9144000"/>
                <a:gd name="connsiteY157" fmla="*/ 568347 h 5143500"/>
                <a:gd name="connsiteX158" fmla="*/ 2963330 w 9144000"/>
                <a:gd name="connsiteY158" fmla="*/ 578309 h 5143500"/>
                <a:gd name="connsiteX159" fmla="*/ 2794431 w 9144000"/>
                <a:gd name="connsiteY159" fmla="*/ 410056 h 5143500"/>
                <a:gd name="connsiteX160" fmla="*/ 2794431 w 9144000"/>
                <a:gd name="connsiteY160" fmla="*/ 2 h 5143500"/>
                <a:gd name="connsiteX161" fmla="*/ 2777085 w 9144000"/>
                <a:gd name="connsiteY161" fmla="*/ 2 h 5143500"/>
                <a:gd name="connsiteX162" fmla="*/ 2777085 w 9144000"/>
                <a:gd name="connsiteY162" fmla="*/ 410056 h 5143500"/>
                <a:gd name="connsiteX163" fmla="*/ 2955949 w 9144000"/>
                <a:gd name="connsiteY163" fmla="*/ 588763 h 5143500"/>
                <a:gd name="connsiteX164" fmla="*/ 2952751 w 9144000"/>
                <a:gd name="connsiteY164" fmla="*/ 603523 h 5143500"/>
                <a:gd name="connsiteX165" fmla="*/ 2987933 w 9144000"/>
                <a:gd name="connsiteY165" fmla="*/ 638575 h 5143500"/>
                <a:gd name="connsiteX166" fmla="*/ 342635 w 9144000"/>
                <a:gd name="connsiteY166" fmla="*/ 668938 h 5143500"/>
                <a:gd name="connsiteX167" fmla="*/ 377783 w 9144000"/>
                <a:gd name="connsiteY167" fmla="*/ 633757 h 5143500"/>
                <a:gd name="connsiteX168" fmla="*/ 342635 w 9144000"/>
                <a:gd name="connsiteY168" fmla="*/ 598577 h 5143500"/>
                <a:gd name="connsiteX169" fmla="*/ 308593 w 9144000"/>
                <a:gd name="connsiteY169" fmla="*/ 623794 h 5143500"/>
                <a:gd name="connsiteX170" fmla="*/ 2 w 9144000"/>
                <a:gd name="connsiteY170" fmla="*/ 623794 h 5143500"/>
                <a:gd name="connsiteX171" fmla="*/ 2 w 9144000"/>
                <a:gd name="connsiteY171" fmla="*/ 641630 h 5143500"/>
                <a:gd name="connsiteX172" fmla="*/ 4672 w 9144000"/>
                <a:gd name="connsiteY172" fmla="*/ 641630 h 5143500"/>
                <a:gd name="connsiteX173" fmla="*/ 5732 w 9144000"/>
                <a:gd name="connsiteY173" fmla="*/ 641630 h 5143500"/>
                <a:gd name="connsiteX174" fmla="*/ 5824 w 9144000"/>
                <a:gd name="connsiteY174" fmla="*/ 641630 h 5143500"/>
                <a:gd name="connsiteX175" fmla="*/ 9095 w 9144000"/>
                <a:gd name="connsiteY175" fmla="*/ 642388 h 5143500"/>
                <a:gd name="connsiteX176" fmla="*/ 12462 w 9144000"/>
                <a:gd name="connsiteY176" fmla="*/ 641630 h 5143500"/>
                <a:gd name="connsiteX177" fmla="*/ 13152 w 9144000"/>
                <a:gd name="connsiteY177" fmla="*/ 641630 h 5143500"/>
                <a:gd name="connsiteX178" fmla="*/ 213718 w 9144000"/>
                <a:gd name="connsiteY178" fmla="*/ 641630 h 5143500"/>
                <a:gd name="connsiteX179" fmla="*/ 308101 w 9144000"/>
                <a:gd name="connsiteY179" fmla="*/ 641630 h 5143500"/>
                <a:gd name="connsiteX180" fmla="*/ 342635 w 9144000"/>
                <a:gd name="connsiteY180" fmla="*/ 668938 h 5143500"/>
                <a:gd name="connsiteX181" fmla="*/ 3849606 w 9144000"/>
                <a:gd name="connsiteY181" fmla="*/ 677070 h 5143500"/>
                <a:gd name="connsiteX182" fmla="*/ 3884652 w 9144000"/>
                <a:gd name="connsiteY182" fmla="*/ 641914 h 5143500"/>
                <a:gd name="connsiteX183" fmla="*/ 3849606 w 9144000"/>
                <a:gd name="connsiteY183" fmla="*/ 606880 h 5143500"/>
                <a:gd name="connsiteX184" fmla="*/ 3824889 w 9144000"/>
                <a:gd name="connsiteY184" fmla="*/ 617329 h 5143500"/>
                <a:gd name="connsiteX185" fmla="*/ 3251365 w 9144000"/>
                <a:gd name="connsiteY185" fmla="*/ 44008 h 5143500"/>
                <a:gd name="connsiteX186" fmla="*/ 3251365 w 9144000"/>
                <a:gd name="connsiteY186" fmla="*/ 2 h 5143500"/>
                <a:gd name="connsiteX187" fmla="*/ 3234150 w 9144000"/>
                <a:gd name="connsiteY187" fmla="*/ 2 h 5143500"/>
                <a:gd name="connsiteX188" fmla="*/ 3234150 w 9144000"/>
                <a:gd name="connsiteY188" fmla="*/ 44008 h 5143500"/>
                <a:gd name="connsiteX189" fmla="*/ 3817634 w 9144000"/>
                <a:gd name="connsiteY189" fmla="*/ 627778 h 5143500"/>
                <a:gd name="connsiteX190" fmla="*/ 3814437 w 9144000"/>
                <a:gd name="connsiteY190" fmla="*/ 641914 h 5143500"/>
                <a:gd name="connsiteX191" fmla="*/ 3849606 w 9144000"/>
                <a:gd name="connsiteY191" fmla="*/ 677070 h 5143500"/>
                <a:gd name="connsiteX192" fmla="*/ 4387996 w 9144000"/>
                <a:gd name="connsiteY192" fmla="*/ 677071 h 5143500"/>
                <a:gd name="connsiteX193" fmla="*/ 4423044 w 9144000"/>
                <a:gd name="connsiteY193" fmla="*/ 641915 h 5143500"/>
                <a:gd name="connsiteX194" fmla="*/ 4387996 w 9144000"/>
                <a:gd name="connsiteY194" fmla="*/ 606881 h 5143500"/>
                <a:gd name="connsiteX195" fmla="*/ 4362785 w 9144000"/>
                <a:gd name="connsiteY195" fmla="*/ 617330 h 5143500"/>
                <a:gd name="connsiteX196" fmla="*/ 3789832 w 9144000"/>
                <a:gd name="connsiteY196" fmla="*/ 44008 h 5143500"/>
                <a:gd name="connsiteX197" fmla="*/ 3789832 w 9144000"/>
                <a:gd name="connsiteY197" fmla="*/ 2 h 5143500"/>
                <a:gd name="connsiteX198" fmla="*/ 3772000 w 9144000"/>
                <a:gd name="connsiteY198" fmla="*/ 2 h 5143500"/>
                <a:gd name="connsiteX199" fmla="*/ 3772000 w 9144000"/>
                <a:gd name="connsiteY199" fmla="*/ 44008 h 5143500"/>
                <a:gd name="connsiteX200" fmla="*/ 4356021 w 9144000"/>
                <a:gd name="connsiteY200" fmla="*/ 627778 h 5143500"/>
                <a:gd name="connsiteX201" fmla="*/ 4352824 w 9144000"/>
                <a:gd name="connsiteY201" fmla="*/ 641915 h 5143500"/>
                <a:gd name="connsiteX202" fmla="*/ 4387996 w 9144000"/>
                <a:gd name="connsiteY202" fmla="*/ 677071 h 5143500"/>
                <a:gd name="connsiteX203" fmla="*/ 1270292 w 9144000"/>
                <a:gd name="connsiteY203" fmla="*/ 755145 h 5143500"/>
                <a:gd name="connsiteX204" fmla="*/ 1537070 w 9144000"/>
                <a:gd name="connsiteY204" fmla="*/ 488392 h 5143500"/>
                <a:gd name="connsiteX205" fmla="*/ 1551208 w 9144000"/>
                <a:gd name="connsiteY205" fmla="*/ 491588 h 5143500"/>
                <a:gd name="connsiteX206" fmla="*/ 1586860 w 9144000"/>
                <a:gd name="connsiteY206" fmla="*/ 456431 h 5143500"/>
                <a:gd name="connsiteX207" fmla="*/ 1551208 w 9144000"/>
                <a:gd name="connsiteY207" fmla="*/ 421397 h 5143500"/>
                <a:gd name="connsiteX208" fmla="*/ 1516170 w 9144000"/>
                <a:gd name="connsiteY208" fmla="*/ 456431 h 5143500"/>
                <a:gd name="connsiteX209" fmla="*/ 1526620 w 9144000"/>
                <a:gd name="connsiteY209" fmla="*/ 481139 h 5143500"/>
                <a:gd name="connsiteX210" fmla="*/ 1270292 w 9144000"/>
                <a:gd name="connsiteY210" fmla="*/ 737936 h 5143500"/>
                <a:gd name="connsiteX211" fmla="*/ 689648 w 9144000"/>
                <a:gd name="connsiteY211" fmla="*/ 157225 h 5143500"/>
                <a:gd name="connsiteX212" fmla="*/ 689648 w 9144000"/>
                <a:gd name="connsiteY212" fmla="*/ 1 h 5143500"/>
                <a:gd name="connsiteX213" fmla="*/ 672313 w 9144000"/>
                <a:gd name="connsiteY213" fmla="*/ 1 h 5143500"/>
                <a:gd name="connsiteX214" fmla="*/ 672313 w 9144000"/>
                <a:gd name="connsiteY214" fmla="*/ 157225 h 5143500"/>
                <a:gd name="connsiteX215" fmla="*/ 1270292 w 9144000"/>
                <a:gd name="connsiteY215" fmla="*/ 755145 h 5143500"/>
                <a:gd name="connsiteX216" fmla="*/ 2741325 w 9144000"/>
                <a:gd name="connsiteY216" fmla="*/ 779002 h 5143500"/>
                <a:gd name="connsiteX217" fmla="*/ 2776962 w 9144000"/>
                <a:gd name="connsiteY217" fmla="*/ 743834 h 5143500"/>
                <a:gd name="connsiteX218" fmla="*/ 2749094 w 9144000"/>
                <a:gd name="connsiteY218" fmla="*/ 709771 h 5143500"/>
                <a:gd name="connsiteX219" fmla="*/ 2749094 w 9144000"/>
                <a:gd name="connsiteY219" fmla="*/ 2 h 5143500"/>
                <a:gd name="connsiteX220" fmla="*/ 2731830 w 9144000"/>
                <a:gd name="connsiteY220" fmla="*/ 2 h 5143500"/>
                <a:gd name="connsiteX221" fmla="*/ 2731830 w 9144000"/>
                <a:gd name="connsiteY221" fmla="*/ 710263 h 5143500"/>
                <a:gd name="connsiteX222" fmla="*/ 2706059 w 9144000"/>
                <a:gd name="connsiteY222" fmla="*/ 743834 h 5143500"/>
                <a:gd name="connsiteX223" fmla="*/ 2741325 w 9144000"/>
                <a:gd name="connsiteY223" fmla="*/ 779002 h 5143500"/>
                <a:gd name="connsiteX224" fmla="*/ 2618680 w 9144000"/>
                <a:gd name="connsiteY224" fmla="*/ 779003 h 5143500"/>
                <a:gd name="connsiteX225" fmla="*/ 2653886 w 9144000"/>
                <a:gd name="connsiteY225" fmla="*/ 743834 h 5143500"/>
                <a:gd name="connsiteX226" fmla="*/ 2626066 w 9144000"/>
                <a:gd name="connsiteY226" fmla="*/ 709772 h 5143500"/>
                <a:gd name="connsiteX227" fmla="*/ 2626066 w 9144000"/>
                <a:gd name="connsiteY227" fmla="*/ 2 h 5143500"/>
                <a:gd name="connsiteX228" fmla="*/ 2608709 w 9144000"/>
                <a:gd name="connsiteY228" fmla="*/ 2 h 5143500"/>
                <a:gd name="connsiteX229" fmla="*/ 2608709 w 9144000"/>
                <a:gd name="connsiteY229" fmla="*/ 710264 h 5143500"/>
                <a:gd name="connsiteX230" fmla="*/ 2582982 w 9144000"/>
                <a:gd name="connsiteY230" fmla="*/ 743834 h 5143500"/>
                <a:gd name="connsiteX231" fmla="*/ 2618680 w 9144000"/>
                <a:gd name="connsiteY231" fmla="*/ 779003 h 5143500"/>
                <a:gd name="connsiteX232" fmla="*/ 3849080 w 9144000"/>
                <a:gd name="connsiteY232" fmla="*/ 800689 h 5143500"/>
                <a:gd name="connsiteX233" fmla="*/ 3884110 w 9144000"/>
                <a:gd name="connsiteY233" fmla="*/ 765513 h 5143500"/>
                <a:gd name="connsiteX234" fmla="*/ 3849080 w 9144000"/>
                <a:gd name="connsiteY234" fmla="*/ 730460 h 5143500"/>
                <a:gd name="connsiteX235" fmla="*/ 3824376 w 9144000"/>
                <a:gd name="connsiteY235" fmla="*/ 740914 h 5143500"/>
                <a:gd name="connsiteX236" fmla="*/ 3180945 w 9144000"/>
                <a:gd name="connsiteY236" fmla="*/ 97043 h 5143500"/>
                <a:gd name="connsiteX237" fmla="*/ 3180945 w 9144000"/>
                <a:gd name="connsiteY237" fmla="*/ 2 h 5143500"/>
                <a:gd name="connsiteX238" fmla="*/ 3163123 w 9144000"/>
                <a:gd name="connsiteY238" fmla="*/ 2 h 5143500"/>
                <a:gd name="connsiteX239" fmla="*/ 3163123 w 9144000"/>
                <a:gd name="connsiteY239" fmla="*/ 97043 h 5143500"/>
                <a:gd name="connsiteX240" fmla="*/ 3817124 w 9144000"/>
                <a:gd name="connsiteY240" fmla="*/ 751369 h 5143500"/>
                <a:gd name="connsiteX241" fmla="*/ 3813929 w 9144000"/>
                <a:gd name="connsiteY241" fmla="*/ 765513 h 5143500"/>
                <a:gd name="connsiteX242" fmla="*/ 3849080 w 9144000"/>
                <a:gd name="connsiteY242" fmla="*/ 800689 h 5143500"/>
                <a:gd name="connsiteX243" fmla="*/ 4387473 w 9144000"/>
                <a:gd name="connsiteY243" fmla="*/ 800690 h 5143500"/>
                <a:gd name="connsiteX244" fmla="*/ 4422502 w 9144000"/>
                <a:gd name="connsiteY244" fmla="*/ 765514 h 5143500"/>
                <a:gd name="connsiteX245" fmla="*/ 4387473 w 9144000"/>
                <a:gd name="connsiteY245" fmla="*/ 730460 h 5143500"/>
                <a:gd name="connsiteX246" fmla="*/ 4362276 w 9144000"/>
                <a:gd name="connsiteY246" fmla="*/ 740915 h 5143500"/>
                <a:gd name="connsiteX247" fmla="*/ 3719337 w 9144000"/>
                <a:gd name="connsiteY247" fmla="*/ 97043 h 5143500"/>
                <a:gd name="connsiteX248" fmla="*/ 3719337 w 9144000"/>
                <a:gd name="connsiteY248" fmla="*/ 2 h 5143500"/>
                <a:gd name="connsiteX249" fmla="*/ 3701515 w 9144000"/>
                <a:gd name="connsiteY249" fmla="*/ 2 h 5143500"/>
                <a:gd name="connsiteX250" fmla="*/ 3701515 w 9144000"/>
                <a:gd name="connsiteY250" fmla="*/ 97043 h 5143500"/>
                <a:gd name="connsiteX251" fmla="*/ 4355516 w 9144000"/>
                <a:gd name="connsiteY251" fmla="*/ 751369 h 5143500"/>
                <a:gd name="connsiteX252" fmla="*/ 4352321 w 9144000"/>
                <a:gd name="connsiteY252" fmla="*/ 765514 h 5143500"/>
                <a:gd name="connsiteX253" fmla="*/ 4387473 w 9144000"/>
                <a:gd name="connsiteY253" fmla="*/ 800690 h 5143500"/>
                <a:gd name="connsiteX254" fmla="*/ 1322558 w 9144000"/>
                <a:gd name="connsiteY254" fmla="*/ 878764 h 5143500"/>
                <a:gd name="connsiteX255" fmla="*/ 1624856 w 9144000"/>
                <a:gd name="connsiteY255" fmla="*/ 576823 h 5143500"/>
                <a:gd name="connsiteX256" fmla="*/ 1638993 w 9144000"/>
                <a:gd name="connsiteY256" fmla="*/ 579898 h 5143500"/>
                <a:gd name="connsiteX257" fmla="*/ 1674153 w 9144000"/>
                <a:gd name="connsiteY257" fmla="*/ 544723 h 5143500"/>
                <a:gd name="connsiteX258" fmla="*/ 1638993 w 9144000"/>
                <a:gd name="connsiteY258" fmla="*/ 509056 h 5143500"/>
                <a:gd name="connsiteX259" fmla="*/ 1603957 w 9144000"/>
                <a:gd name="connsiteY259" fmla="*/ 544723 h 5143500"/>
                <a:gd name="connsiteX260" fmla="*/ 1614406 w 9144000"/>
                <a:gd name="connsiteY260" fmla="*/ 569444 h 5143500"/>
                <a:gd name="connsiteX261" fmla="*/ 1322558 w 9144000"/>
                <a:gd name="connsiteY261" fmla="*/ 861422 h 5143500"/>
                <a:gd name="connsiteX262" fmla="*/ 654282 w 9144000"/>
                <a:gd name="connsiteY262" fmla="*/ 192480 h 5143500"/>
                <a:gd name="connsiteX263" fmla="*/ 654282 w 9144000"/>
                <a:gd name="connsiteY263" fmla="*/ 1 h 5143500"/>
                <a:gd name="connsiteX264" fmla="*/ 637070 w 9144000"/>
                <a:gd name="connsiteY264" fmla="*/ 1 h 5143500"/>
                <a:gd name="connsiteX265" fmla="*/ 637070 w 9144000"/>
                <a:gd name="connsiteY265" fmla="*/ 192480 h 5143500"/>
                <a:gd name="connsiteX266" fmla="*/ 1322558 w 9144000"/>
                <a:gd name="connsiteY266" fmla="*/ 878764 h 5143500"/>
                <a:gd name="connsiteX267" fmla="*/ 4388002 w 9144000"/>
                <a:gd name="connsiteY267" fmla="*/ 923766 h 5143500"/>
                <a:gd name="connsiteX268" fmla="*/ 4423044 w 9144000"/>
                <a:gd name="connsiteY268" fmla="*/ 888596 h 5143500"/>
                <a:gd name="connsiteX269" fmla="*/ 4388002 w 9144000"/>
                <a:gd name="connsiteY269" fmla="*/ 853426 h 5143500"/>
                <a:gd name="connsiteX270" fmla="*/ 4362796 w 9144000"/>
                <a:gd name="connsiteY270" fmla="*/ 864002 h 5143500"/>
                <a:gd name="connsiteX271" fmla="*/ 3648910 w 9144000"/>
                <a:gd name="connsiteY271" fmla="*/ 149904 h 5143500"/>
                <a:gd name="connsiteX272" fmla="*/ 3648910 w 9144000"/>
                <a:gd name="connsiteY272" fmla="*/ 2 h 5143500"/>
                <a:gd name="connsiteX273" fmla="*/ 3631573 w 9144000"/>
                <a:gd name="connsiteY273" fmla="*/ 2 h 5143500"/>
                <a:gd name="connsiteX274" fmla="*/ 3631573 w 9144000"/>
                <a:gd name="connsiteY274" fmla="*/ 149904 h 5143500"/>
                <a:gd name="connsiteX275" fmla="*/ 4356033 w 9144000"/>
                <a:gd name="connsiteY275" fmla="*/ 873963 h 5143500"/>
                <a:gd name="connsiteX276" fmla="*/ 4352836 w 9144000"/>
                <a:gd name="connsiteY276" fmla="*/ 888596 h 5143500"/>
                <a:gd name="connsiteX277" fmla="*/ 4388002 w 9144000"/>
                <a:gd name="connsiteY277" fmla="*/ 923766 h 5143500"/>
                <a:gd name="connsiteX278" fmla="*/ 3849609 w 9144000"/>
                <a:gd name="connsiteY278" fmla="*/ 923766 h 5143500"/>
                <a:gd name="connsiteX279" fmla="*/ 3884652 w 9144000"/>
                <a:gd name="connsiteY279" fmla="*/ 888596 h 5143500"/>
                <a:gd name="connsiteX280" fmla="*/ 3849609 w 9144000"/>
                <a:gd name="connsiteY280" fmla="*/ 853426 h 5143500"/>
                <a:gd name="connsiteX281" fmla="*/ 3824895 w 9144000"/>
                <a:gd name="connsiteY281" fmla="*/ 864002 h 5143500"/>
                <a:gd name="connsiteX282" fmla="*/ 3111009 w 9144000"/>
                <a:gd name="connsiteY282" fmla="*/ 149904 h 5143500"/>
                <a:gd name="connsiteX283" fmla="*/ 3111009 w 9144000"/>
                <a:gd name="connsiteY283" fmla="*/ 2 h 5143500"/>
                <a:gd name="connsiteX284" fmla="*/ 3093180 w 9144000"/>
                <a:gd name="connsiteY284" fmla="*/ 2 h 5143500"/>
                <a:gd name="connsiteX285" fmla="*/ 3093180 w 9144000"/>
                <a:gd name="connsiteY285" fmla="*/ 149904 h 5143500"/>
                <a:gd name="connsiteX286" fmla="*/ 3817640 w 9144000"/>
                <a:gd name="connsiteY286" fmla="*/ 873962 h 5143500"/>
                <a:gd name="connsiteX287" fmla="*/ 3814443 w 9144000"/>
                <a:gd name="connsiteY287" fmla="*/ 888596 h 5143500"/>
                <a:gd name="connsiteX288" fmla="*/ 3849609 w 9144000"/>
                <a:gd name="connsiteY288" fmla="*/ 923766 h 5143500"/>
                <a:gd name="connsiteX289" fmla="*/ 1257336 w 9144000"/>
                <a:gd name="connsiteY289" fmla="*/ 948706 h 5143500"/>
                <a:gd name="connsiteX290" fmla="*/ 1644114 w 9144000"/>
                <a:gd name="connsiteY290" fmla="*/ 948706 h 5143500"/>
                <a:gd name="connsiteX291" fmla="*/ 1960691 w 9144000"/>
                <a:gd name="connsiteY291" fmla="*/ 632132 h 5143500"/>
                <a:gd name="connsiteX292" fmla="*/ 2118919 w 9144000"/>
                <a:gd name="connsiteY292" fmla="*/ 632132 h 5143500"/>
                <a:gd name="connsiteX293" fmla="*/ 2262516 w 9144000"/>
                <a:gd name="connsiteY293" fmla="*/ 488536 h 5143500"/>
                <a:gd name="connsiteX294" fmla="*/ 2277269 w 9144000"/>
                <a:gd name="connsiteY294" fmla="*/ 491732 h 5143500"/>
                <a:gd name="connsiteX295" fmla="*/ 2312307 w 9144000"/>
                <a:gd name="connsiteY295" fmla="*/ 456571 h 5143500"/>
                <a:gd name="connsiteX296" fmla="*/ 2277269 w 9144000"/>
                <a:gd name="connsiteY296" fmla="*/ 421533 h 5143500"/>
                <a:gd name="connsiteX297" fmla="*/ 2242107 w 9144000"/>
                <a:gd name="connsiteY297" fmla="*/ 456571 h 5143500"/>
                <a:gd name="connsiteX298" fmla="*/ 2252558 w 9144000"/>
                <a:gd name="connsiteY298" fmla="*/ 481282 h 5143500"/>
                <a:gd name="connsiteX299" fmla="*/ 2118919 w 9144000"/>
                <a:gd name="connsiteY299" fmla="*/ 614920 h 5143500"/>
                <a:gd name="connsiteX300" fmla="*/ 1960691 w 9144000"/>
                <a:gd name="connsiteY300" fmla="*/ 614920 h 5143500"/>
                <a:gd name="connsiteX301" fmla="*/ 1644114 w 9144000"/>
                <a:gd name="connsiteY301" fmla="*/ 931494 h 5143500"/>
                <a:gd name="connsiteX302" fmla="*/ 1257336 w 9144000"/>
                <a:gd name="connsiteY302" fmla="*/ 931494 h 5143500"/>
                <a:gd name="connsiteX303" fmla="*/ 518327 w 9144000"/>
                <a:gd name="connsiteY303" fmla="*/ 192492 h 5143500"/>
                <a:gd name="connsiteX304" fmla="*/ 518327 w 9144000"/>
                <a:gd name="connsiteY304" fmla="*/ 16809 h 5143500"/>
                <a:gd name="connsiteX305" fmla="*/ 1 w 9144000"/>
                <a:gd name="connsiteY305" fmla="*/ 16809 h 5143500"/>
                <a:gd name="connsiteX306" fmla="*/ 1 w 9144000"/>
                <a:gd name="connsiteY306" fmla="*/ 34635 h 5143500"/>
                <a:gd name="connsiteX307" fmla="*/ 500992 w 9144000"/>
                <a:gd name="connsiteY307" fmla="*/ 34635 h 5143500"/>
                <a:gd name="connsiteX308" fmla="*/ 500992 w 9144000"/>
                <a:gd name="connsiteY308" fmla="*/ 192492 h 5143500"/>
                <a:gd name="connsiteX309" fmla="*/ 1257336 w 9144000"/>
                <a:gd name="connsiteY309" fmla="*/ 948706 h 5143500"/>
                <a:gd name="connsiteX310" fmla="*/ 1274671 w 9144000"/>
                <a:gd name="connsiteY310" fmla="*/ 1044674 h 5143500"/>
                <a:gd name="connsiteX311" fmla="*/ 1661940 w 9144000"/>
                <a:gd name="connsiteY311" fmla="*/ 1044674 h 5143500"/>
                <a:gd name="connsiteX312" fmla="*/ 1995853 w 9144000"/>
                <a:gd name="connsiteY312" fmla="*/ 710799 h 5143500"/>
                <a:gd name="connsiteX313" fmla="*/ 2243214 w 9144000"/>
                <a:gd name="connsiteY313" fmla="*/ 710799 h 5143500"/>
                <a:gd name="connsiteX314" fmla="*/ 2277269 w 9144000"/>
                <a:gd name="connsiteY314" fmla="*/ 738099 h 5143500"/>
                <a:gd name="connsiteX315" fmla="*/ 2312307 w 9144000"/>
                <a:gd name="connsiteY315" fmla="*/ 702929 h 5143500"/>
                <a:gd name="connsiteX316" fmla="*/ 2277269 w 9144000"/>
                <a:gd name="connsiteY316" fmla="*/ 667759 h 5143500"/>
                <a:gd name="connsiteX317" fmla="*/ 2243706 w 9144000"/>
                <a:gd name="connsiteY317" fmla="*/ 692968 h 5143500"/>
                <a:gd name="connsiteX318" fmla="*/ 1995853 w 9144000"/>
                <a:gd name="connsiteY318" fmla="*/ 692968 h 5143500"/>
                <a:gd name="connsiteX319" fmla="*/ 1661940 w 9144000"/>
                <a:gd name="connsiteY319" fmla="*/ 1027457 h 5143500"/>
                <a:gd name="connsiteX320" fmla="*/ 1274671 w 9144000"/>
                <a:gd name="connsiteY320" fmla="*/ 1027457 h 5143500"/>
                <a:gd name="connsiteX321" fmla="*/ 448127 w 9144000"/>
                <a:gd name="connsiteY321" fmla="*/ 200211 h 5143500"/>
                <a:gd name="connsiteX322" fmla="*/ 448127 w 9144000"/>
                <a:gd name="connsiteY322" fmla="*/ 77484 h 5143500"/>
                <a:gd name="connsiteX323" fmla="*/ 239493 w 9144000"/>
                <a:gd name="connsiteY323" fmla="*/ 76992 h 5143500"/>
                <a:gd name="connsiteX324" fmla="*/ 1 w 9144000"/>
                <a:gd name="connsiteY324" fmla="*/ 76992 h 5143500"/>
                <a:gd name="connsiteX325" fmla="*/ 1 w 9144000"/>
                <a:gd name="connsiteY325" fmla="*/ 94822 h 5143500"/>
                <a:gd name="connsiteX326" fmla="*/ 430792 w 9144000"/>
                <a:gd name="connsiteY326" fmla="*/ 94822 h 5143500"/>
                <a:gd name="connsiteX327" fmla="*/ 430792 w 9144000"/>
                <a:gd name="connsiteY327" fmla="*/ 200211 h 5143500"/>
                <a:gd name="connsiteX328" fmla="*/ 1274671 w 9144000"/>
                <a:gd name="connsiteY328" fmla="*/ 1044674 h 5143500"/>
                <a:gd name="connsiteX329" fmla="*/ 3849078 w 9144000"/>
                <a:gd name="connsiteY329" fmla="*/ 1046843 h 5143500"/>
                <a:gd name="connsiteX330" fmla="*/ 3884110 w 9144000"/>
                <a:gd name="connsiteY330" fmla="*/ 1011796 h 5143500"/>
                <a:gd name="connsiteX331" fmla="*/ 3849078 w 9144000"/>
                <a:gd name="connsiteY331" fmla="*/ 976627 h 5143500"/>
                <a:gd name="connsiteX332" fmla="*/ 3824371 w 9144000"/>
                <a:gd name="connsiteY332" fmla="*/ 986588 h 5143500"/>
                <a:gd name="connsiteX333" fmla="*/ 3039905 w 9144000"/>
                <a:gd name="connsiteY333" fmla="*/ 202410 h 5143500"/>
                <a:gd name="connsiteX334" fmla="*/ 3039905 w 9144000"/>
                <a:gd name="connsiteY334" fmla="*/ 2 h 5143500"/>
                <a:gd name="connsiteX335" fmla="*/ 3022696 w 9144000"/>
                <a:gd name="connsiteY335" fmla="*/ 2 h 5143500"/>
                <a:gd name="connsiteX336" fmla="*/ 3022696 w 9144000"/>
                <a:gd name="connsiteY336" fmla="*/ 202410 h 5143500"/>
                <a:gd name="connsiteX337" fmla="*/ 3817119 w 9144000"/>
                <a:gd name="connsiteY337" fmla="*/ 997040 h 5143500"/>
                <a:gd name="connsiteX338" fmla="*/ 3813923 w 9144000"/>
                <a:gd name="connsiteY338" fmla="*/ 1011796 h 5143500"/>
                <a:gd name="connsiteX339" fmla="*/ 3849078 w 9144000"/>
                <a:gd name="connsiteY339" fmla="*/ 1046843 h 5143500"/>
                <a:gd name="connsiteX340" fmla="*/ 4387470 w 9144000"/>
                <a:gd name="connsiteY340" fmla="*/ 1046843 h 5143500"/>
                <a:gd name="connsiteX341" fmla="*/ 4422502 w 9144000"/>
                <a:gd name="connsiteY341" fmla="*/ 1011796 h 5143500"/>
                <a:gd name="connsiteX342" fmla="*/ 4387470 w 9144000"/>
                <a:gd name="connsiteY342" fmla="*/ 976627 h 5143500"/>
                <a:gd name="connsiteX343" fmla="*/ 4362272 w 9144000"/>
                <a:gd name="connsiteY343" fmla="*/ 986588 h 5143500"/>
                <a:gd name="connsiteX344" fmla="*/ 3578420 w 9144000"/>
                <a:gd name="connsiteY344" fmla="*/ 202410 h 5143500"/>
                <a:gd name="connsiteX345" fmla="*/ 3578420 w 9144000"/>
                <a:gd name="connsiteY345" fmla="*/ 2 h 5143500"/>
                <a:gd name="connsiteX346" fmla="*/ 3561089 w 9144000"/>
                <a:gd name="connsiteY346" fmla="*/ 2 h 5143500"/>
                <a:gd name="connsiteX347" fmla="*/ 3561089 w 9144000"/>
                <a:gd name="connsiteY347" fmla="*/ 202410 h 5143500"/>
                <a:gd name="connsiteX348" fmla="*/ 4355511 w 9144000"/>
                <a:gd name="connsiteY348" fmla="*/ 997040 h 5143500"/>
                <a:gd name="connsiteX349" fmla="*/ 4352315 w 9144000"/>
                <a:gd name="connsiteY349" fmla="*/ 1011796 h 5143500"/>
                <a:gd name="connsiteX350" fmla="*/ 4387470 w 9144000"/>
                <a:gd name="connsiteY350" fmla="*/ 1046843 h 5143500"/>
                <a:gd name="connsiteX351" fmla="*/ 1029022 w 9144000"/>
                <a:gd name="connsiteY351" fmla="*/ 1062025 h 5143500"/>
                <a:gd name="connsiteX352" fmla="*/ 1064192 w 9144000"/>
                <a:gd name="connsiteY352" fmla="*/ 1027001 h 5143500"/>
                <a:gd name="connsiteX353" fmla="*/ 1029022 w 9144000"/>
                <a:gd name="connsiteY353" fmla="*/ 991855 h 5143500"/>
                <a:gd name="connsiteX354" fmla="*/ 1014388 w 9144000"/>
                <a:gd name="connsiteY354" fmla="*/ 995050 h 5143500"/>
                <a:gd name="connsiteX355" fmla="*/ 782712 w 9144000"/>
                <a:gd name="connsiteY355" fmla="*/ 763402 h 5143500"/>
                <a:gd name="connsiteX356" fmla="*/ 342845 w 9144000"/>
                <a:gd name="connsiteY356" fmla="*/ 763402 h 5143500"/>
                <a:gd name="connsiteX357" fmla="*/ 219628 w 9144000"/>
                <a:gd name="connsiteY357" fmla="*/ 886538 h 5143500"/>
                <a:gd name="connsiteX358" fmla="*/ 2 w 9144000"/>
                <a:gd name="connsiteY358" fmla="*/ 886538 h 5143500"/>
                <a:gd name="connsiteX359" fmla="*/ 2 w 9144000"/>
                <a:gd name="connsiteY359" fmla="*/ 903865 h 5143500"/>
                <a:gd name="connsiteX360" fmla="*/ 219628 w 9144000"/>
                <a:gd name="connsiteY360" fmla="*/ 903865 h 5143500"/>
                <a:gd name="connsiteX361" fmla="*/ 342845 w 9144000"/>
                <a:gd name="connsiteY361" fmla="*/ 780730 h 5143500"/>
                <a:gd name="connsiteX362" fmla="*/ 782712 w 9144000"/>
                <a:gd name="connsiteY362" fmla="*/ 780730 h 5143500"/>
                <a:gd name="connsiteX363" fmla="*/ 1003935 w 9144000"/>
                <a:gd name="connsiteY363" fmla="*/ 1002300 h 5143500"/>
                <a:gd name="connsiteX364" fmla="*/ 993360 w 9144000"/>
                <a:gd name="connsiteY364" fmla="*/ 1027001 h 5143500"/>
                <a:gd name="connsiteX365" fmla="*/ 1029022 w 9144000"/>
                <a:gd name="connsiteY365" fmla="*/ 1062025 h 5143500"/>
                <a:gd name="connsiteX366" fmla="*/ 905418 w 9144000"/>
                <a:gd name="connsiteY366" fmla="*/ 1062566 h 5143500"/>
                <a:gd name="connsiteX367" fmla="*/ 940573 w 9144000"/>
                <a:gd name="connsiteY367" fmla="*/ 1027497 h 5143500"/>
                <a:gd name="connsiteX368" fmla="*/ 905418 w 9144000"/>
                <a:gd name="connsiteY368" fmla="*/ 992304 h 5143500"/>
                <a:gd name="connsiteX369" fmla="*/ 890792 w 9144000"/>
                <a:gd name="connsiteY369" fmla="*/ 995503 h 5143500"/>
                <a:gd name="connsiteX370" fmla="*/ 747223 w 9144000"/>
                <a:gd name="connsiteY370" fmla="*/ 851779 h 5143500"/>
                <a:gd name="connsiteX371" fmla="*/ 342699 w 9144000"/>
                <a:gd name="connsiteY371" fmla="*/ 851779 h 5143500"/>
                <a:gd name="connsiteX372" fmla="*/ 254689 w 9144000"/>
                <a:gd name="connsiteY372" fmla="*/ 939392 h 5143500"/>
                <a:gd name="connsiteX373" fmla="*/ 2 w 9144000"/>
                <a:gd name="connsiteY373" fmla="*/ 939392 h 5143500"/>
                <a:gd name="connsiteX374" fmla="*/ 2 w 9144000"/>
                <a:gd name="connsiteY374" fmla="*/ 957111 h 5143500"/>
                <a:gd name="connsiteX375" fmla="*/ 254689 w 9144000"/>
                <a:gd name="connsiteY375" fmla="*/ 957111 h 5143500"/>
                <a:gd name="connsiteX376" fmla="*/ 342699 w 9144000"/>
                <a:gd name="connsiteY376" fmla="*/ 869006 h 5143500"/>
                <a:gd name="connsiteX377" fmla="*/ 747223 w 9144000"/>
                <a:gd name="connsiteY377" fmla="*/ 869006 h 5143500"/>
                <a:gd name="connsiteX378" fmla="*/ 880343 w 9144000"/>
                <a:gd name="connsiteY378" fmla="*/ 1002763 h 5143500"/>
                <a:gd name="connsiteX379" fmla="*/ 870387 w 9144000"/>
                <a:gd name="connsiteY379" fmla="*/ 1027497 h 5143500"/>
                <a:gd name="connsiteX380" fmla="*/ 905418 w 9144000"/>
                <a:gd name="connsiteY380" fmla="*/ 1062566 h 5143500"/>
                <a:gd name="connsiteX381" fmla="*/ 1151612 w 9144000"/>
                <a:gd name="connsiteY381" fmla="*/ 1062567 h 5143500"/>
                <a:gd name="connsiteX382" fmla="*/ 1187269 w 9144000"/>
                <a:gd name="connsiteY382" fmla="*/ 1027514 h 5143500"/>
                <a:gd name="connsiteX383" fmla="*/ 1151612 w 9144000"/>
                <a:gd name="connsiteY383" fmla="*/ 992337 h 5143500"/>
                <a:gd name="connsiteX384" fmla="*/ 1137471 w 9144000"/>
                <a:gd name="connsiteY384" fmla="*/ 995535 h 5143500"/>
                <a:gd name="connsiteX385" fmla="*/ 834999 w 9144000"/>
                <a:gd name="connsiteY385" fmla="*/ 693460 h 5143500"/>
                <a:gd name="connsiteX386" fmla="*/ 307639 w 9144000"/>
                <a:gd name="connsiteY386" fmla="*/ 693460 h 5143500"/>
                <a:gd name="connsiteX387" fmla="*/ 166730 w 9144000"/>
                <a:gd name="connsiteY387" fmla="*/ 834043 h 5143500"/>
                <a:gd name="connsiteX388" fmla="*/ 2 w 9144000"/>
                <a:gd name="connsiteY388" fmla="*/ 834043 h 5143500"/>
                <a:gd name="connsiteX389" fmla="*/ 2 w 9144000"/>
                <a:gd name="connsiteY389" fmla="*/ 851877 h 5143500"/>
                <a:gd name="connsiteX390" fmla="*/ 166730 w 9144000"/>
                <a:gd name="connsiteY390" fmla="*/ 851877 h 5143500"/>
                <a:gd name="connsiteX391" fmla="*/ 307639 w 9144000"/>
                <a:gd name="connsiteY391" fmla="*/ 710803 h 5143500"/>
                <a:gd name="connsiteX392" fmla="*/ 834999 w 9144000"/>
                <a:gd name="connsiteY392" fmla="*/ 710803 h 5143500"/>
                <a:gd name="connsiteX393" fmla="*/ 1127020 w 9144000"/>
                <a:gd name="connsiteY393" fmla="*/ 1002791 h 5143500"/>
                <a:gd name="connsiteX394" fmla="*/ 1116446 w 9144000"/>
                <a:gd name="connsiteY394" fmla="*/ 1027514 h 5143500"/>
                <a:gd name="connsiteX395" fmla="*/ 1151612 w 9144000"/>
                <a:gd name="connsiteY395" fmla="*/ 1062567 h 5143500"/>
                <a:gd name="connsiteX396" fmla="*/ 782462 w 9144000"/>
                <a:gd name="connsiteY396" fmla="*/ 1062567 h 5143500"/>
                <a:gd name="connsiteX397" fmla="*/ 817497 w 9144000"/>
                <a:gd name="connsiteY397" fmla="*/ 1027535 h 5143500"/>
                <a:gd name="connsiteX398" fmla="*/ 782462 w 9144000"/>
                <a:gd name="connsiteY398" fmla="*/ 992380 h 5143500"/>
                <a:gd name="connsiteX399" fmla="*/ 767710 w 9144000"/>
                <a:gd name="connsiteY399" fmla="*/ 995576 h 5143500"/>
                <a:gd name="connsiteX400" fmla="*/ 676618 w 9144000"/>
                <a:gd name="connsiteY400" fmla="*/ 904371 h 5143500"/>
                <a:gd name="connsiteX401" fmla="*/ 412929 w 9144000"/>
                <a:gd name="connsiteY401" fmla="*/ 904371 h 5143500"/>
                <a:gd name="connsiteX402" fmla="*/ 324910 w 9144000"/>
                <a:gd name="connsiteY402" fmla="*/ 992380 h 5143500"/>
                <a:gd name="connsiteX403" fmla="*/ 2 w 9144000"/>
                <a:gd name="connsiteY403" fmla="*/ 992380 h 5143500"/>
                <a:gd name="connsiteX404" fmla="*/ 2 w 9144000"/>
                <a:gd name="connsiteY404" fmla="*/ 1010203 h 5143500"/>
                <a:gd name="connsiteX405" fmla="*/ 324910 w 9144000"/>
                <a:gd name="connsiteY405" fmla="*/ 1010203 h 5143500"/>
                <a:gd name="connsiteX406" fmla="*/ 412929 w 9144000"/>
                <a:gd name="connsiteY406" fmla="*/ 922194 h 5143500"/>
                <a:gd name="connsiteX407" fmla="*/ 676618 w 9144000"/>
                <a:gd name="connsiteY407" fmla="*/ 922194 h 5143500"/>
                <a:gd name="connsiteX408" fmla="*/ 757260 w 9144000"/>
                <a:gd name="connsiteY408" fmla="*/ 1002828 h 5143500"/>
                <a:gd name="connsiteX409" fmla="*/ 747304 w 9144000"/>
                <a:gd name="connsiteY409" fmla="*/ 1027535 h 5143500"/>
                <a:gd name="connsiteX410" fmla="*/ 782462 w 9144000"/>
                <a:gd name="connsiteY410" fmla="*/ 1062567 h 5143500"/>
                <a:gd name="connsiteX411" fmla="*/ 2 w 9144000"/>
                <a:gd name="connsiteY411" fmla="*/ 1088050 h 5143500"/>
                <a:gd name="connsiteX412" fmla="*/ 395777 w 9144000"/>
                <a:gd name="connsiteY412" fmla="*/ 1088050 h 5143500"/>
                <a:gd name="connsiteX413" fmla="*/ 465980 w 9144000"/>
                <a:gd name="connsiteY413" fmla="*/ 1035212 h 5143500"/>
                <a:gd name="connsiteX414" fmla="*/ 624832 w 9144000"/>
                <a:gd name="connsiteY414" fmla="*/ 1035212 h 5143500"/>
                <a:gd name="connsiteX415" fmla="*/ 659380 w 9144000"/>
                <a:gd name="connsiteY415" fmla="*/ 1062368 h 5143500"/>
                <a:gd name="connsiteX416" fmla="*/ 694422 w 9144000"/>
                <a:gd name="connsiteY416" fmla="*/ 1027348 h 5143500"/>
                <a:gd name="connsiteX417" fmla="*/ 659380 w 9144000"/>
                <a:gd name="connsiteY417" fmla="*/ 992205 h 5143500"/>
                <a:gd name="connsiteX418" fmla="*/ 625323 w 9144000"/>
                <a:gd name="connsiteY418" fmla="*/ 1017887 h 5143500"/>
                <a:gd name="connsiteX419" fmla="*/ 465980 w 9144000"/>
                <a:gd name="connsiteY419" fmla="*/ 1017395 h 5143500"/>
                <a:gd name="connsiteX420" fmla="*/ 395777 w 9144000"/>
                <a:gd name="connsiteY420" fmla="*/ 1070232 h 5143500"/>
                <a:gd name="connsiteX421" fmla="*/ 213811 w 9144000"/>
                <a:gd name="connsiteY421" fmla="*/ 1070232 h 5143500"/>
                <a:gd name="connsiteX422" fmla="*/ 2 w 9144000"/>
                <a:gd name="connsiteY422" fmla="*/ 1070232 h 5143500"/>
                <a:gd name="connsiteX423" fmla="*/ 2 w 9144000"/>
                <a:gd name="connsiteY423" fmla="*/ 1088050 h 5143500"/>
                <a:gd name="connsiteX424" fmla="*/ 2 w 9144000"/>
                <a:gd name="connsiteY424" fmla="*/ 1119497 h 5143500"/>
                <a:gd name="connsiteX425" fmla="*/ 741184 w 9144000"/>
                <a:gd name="connsiteY425" fmla="*/ 1119497 h 5143500"/>
                <a:gd name="connsiteX426" fmla="*/ 2145962 w 9144000"/>
                <a:gd name="connsiteY426" fmla="*/ 1119497 h 5143500"/>
                <a:gd name="connsiteX427" fmla="*/ 2322036 w 9144000"/>
                <a:gd name="connsiteY427" fmla="*/ 943834 h 5143500"/>
                <a:gd name="connsiteX428" fmla="*/ 2831937 w 9144000"/>
                <a:gd name="connsiteY428" fmla="*/ 943834 h 5143500"/>
                <a:gd name="connsiteX429" fmla="*/ 2982928 w 9144000"/>
                <a:gd name="connsiteY429" fmla="*/ 792774 h 5143500"/>
                <a:gd name="connsiteX430" fmla="*/ 3008011 w 9144000"/>
                <a:gd name="connsiteY430" fmla="*/ 802738 h 5143500"/>
                <a:gd name="connsiteX431" fmla="*/ 3043176 w 9144000"/>
                <a:gd name="connsiteY431" fmla="*/ 767556 h 5143500"/>
                <a:gd name="connsiteX432" fmla="*/ 3008011 w 9144000"/>
                <a:gd name="connsiteY432" fmla="*/ 732498 h 5143500"/>
                <a:gd name="connsiteX433" fmla="*/ 2972477 w 9144000"/>
                <a:gd name="connsiteY433" fmla="*/ 767556 h 5143500"/>
                <a:gd name="connsiteX434" fmla="*/ 2975550 w 9144000"/>
                <a:gd name="connsiteY434" fmla="*/ 782318 h 5143500"/>
                <a:gd name="connsiteX435" fmla="*/ 2831937 w 9144000"/>
                <a:gd name="connsiteY435" fmla="*/ 925997 h 5143500"/>
                <a:gd name="connsiteX436" fmla="*/ 2322036 w 9144000"/>
                <a:gd name="connsiteY436" fmla="*/ 925997 h 5143500"/>
                <a:gd name="connsiteX437" fmla="*/ 2145962 w 9144000"/>
                <a:gd name="connsiteY437" fmla="*/ 1102152 h 5143500"/>
                <a:gd name="connsiteX438" fmla="*/ 2 w 9144000"/>
                <a:gd name="connsiteY438" fmla="*/ 1102152 h 5143500"/>
                <a:gd name="connsiteX439" fmla="*/ 2 w 9144000"/>
                <a:gd name="connsiteY439" fmla="*/ 1119497 h 5143500"/>
                <a:gd name="connsiteX440" fmla="*/ 2 w 9144000"/>
                <a:gd name="connsiteY440" fmla="*/ 1167751 h 5143500"/>
                <a:gd name="connsiteX441" fmla="*/ 1372839 w 9144000"/>
                <a:gd name="connsiteY441" fmla="*/ 1167751 h 5143500"/>
                <a:gd name="connsiteX442" fmla="*/ 1398538 w 9144000"/>
                <a:gd name="connsiteY442" fmla="*/ 1167751 h 5143500"/>
                <a:gd name="connsiteX443" fmla="*/ 2785885 w 9144000"/>
                <a:gd name="connsiteY443" fmla="*/ 1167751 h 5143500"/>
                <a:gd name="connsiteX444" fmla="*/ 3102504 w 9144000"/>
                <a:gd name="connsiteY444" fmla="*/ 851295 h 5143500"/>
                <a:gd name="connsiteX445" fmla="*/ 3402279 w 9144000"/>
                <a:gd name="connsiteY445" fmla="*/ 851295 h 5143500"/>
                <a:gd name="connsiteX446" fmla="*/ 3436338 w 9144000"/>
                <a:gd name="connsiteY446" fmla="*/ 878578 h 5143500"/>
                <a:gd name="connsiteX447" fmla="*/ 3471505 w 9144000"/>
                <a:gd name="connsiteY447" fmla="*/ 843430 h 5143500"/>
                <a:gd name="connsiteX448" fmla="*/ 3436338 w 9144000"/>
                <a:gd name="connsiteY448" fmla="*/ 808405 h 5143500"/>
                <a:gd name="connsiteX449" fmla="*/ 3402771 w 9144000"/>
                <a:gd name="connsiteY449" fmla="*/ 833475 h 5143500"/>
                <a:gd name="connsiteX450" fmla="*/ 3102504 w 9144000"/>
                <a:gd name="connsiteY450" fmla="*/ 833475 h 5143500"/>
                <a:gd name="connsiteX451" fmla="*/ 2785885 w 9144000"/>
                <a:gd name="connsiteY451" fmla="*/ 1149932 h 5143500"/>
                <a:gd name="connsiteX452" fmla="*/ 1398538 w 9144000"/>
                <a:gd name="connsiteY452" fmla="*/ 1149932 h 5143500"/>
                <a:gd name="connsiteX453" fmla="*/ 2 w 9144000"/>
                <a:gd name="connsiteY453" fmla="*/ 1149932 h 5143500"/>
                <a:gd name="connsiteX454" fmla="*/ 2 w 9144000"/>
                <a:gd name="connsiteY454" fmla="*/ 1167751 h 5143500"/>
                <a:gd name="connsiteX455" fmla="*/ 2 w 9144000"/>
                <a:gd name="connsiteY455" fmla="*/ 1238236 h 5143500"/>
                <a:gd name="connsiteX456" fmla="*/ 1372839 w 9144000"/>
                <a:gd name="connsiteY456" fmla="*/ 1238236 h 5143500"/>
                <a:gd name="connsiteX457" fmla="*/ 2785885 w 9144000"/>
                <a:gd name="connsiteY457" fmla="*/ 1238236 h 5143500"/>
                <a:gd name="connsiteX458" fmla="*/ 3031680 w 9144000"/>
                <a:gd name="connsiteY458" fmla="*/ 991878 h 5143500"/>
                <a:gd name="connsiteX459" fmla="*/ 3402279 w 9144000"/>
                <a:gd name="connsiteY459" fmla="*/ 991878 h 5143500"/>
                <a:gd name="connsiteX460" fmla="*/ 3436338 w 9144000"/>
                <a:gd name="connsiteY460" fmla="*/ 1019675 h 5143500"/>
                <a:gd name="connsiteX461" fmla="*/ 3471505 w 9144000"/>
                <a:gd name="connsiteY461" fmla="*/ 984499 h 5143500"/>
                <a:gd name="connsiteX462" fmla="*/ 3436338 w 9144000"/>
                <a:gd name="connsiteY462" fmla="*/ 948831 h 5143500"/>
                <a:gd name="connsiteX463" fmla="*/ 3402771 w 9144000"/>
                <a:gd name="connsiteY463" fmla="*/ 974536 h 5143500"/>
                <a:gd name="connsiteX464" fmla="*/ 3031680 w 9144000"/>
                <a:gd name="connsiteY464" fmla="*/ 974536 h 5143500"/>
                <a:gd name="connsiteX465" fmla="*/ 2785885 w 9144000"/>
                <a:gd name="connsiteY465" fmla="*/ 1221017 h 5143500"/>
                <a:gd name="connsiteX466" fmla="*/ 1398538 w 9144000"/>
                <a:gd name="connsiteY466" fmla="*/ 1221017 h 5143500"/>
                <a:gd name="connsiteX467" fmla="*/ 2 w 9144000"/>
                <a:gd name="connsiteY467" fmla="*/ 1221017 h 5143500"/>
                <a:gd name="connsiteX468" fmla="*/ 2 w 9144000"/>
                <a:gd name="connsiteY468" fmla="*/ 1238236 h 5143500"/>
                <a:gd name="connsiteX469" fmla="*/ 2 w 9144000"/>
                <a:gd name="connsiteY469" fmla="*/ 1326071 h 5143500"/>
                <a:gd name="connsiteX470" fmla="*/ 2838059 w 9144000"/>
                <a:gd name="connsiteY470" fmla="*/ 1326071 h 5143500"/>
                <a:gd name="connsiteX471" fmla="*/ 2996418 w 9144000"/>
                <a:gd name="connsiteY471" fmla="*/ 1167721 h 5143500"/>
                <a:gd name="connsiteX472" fmla="*/ 3524120 w 9144000"/>
                <a:gd name="connsiteY472" fmla="*/ 1167721 h 5143500"/>
                <a:gd name="connsiteX473" fmla="*/ 3612276 w 9144000"/>
                <a:gd name="connsiteY473" fmla="*/ 1079695 h 5143500"/>
                <a:gd name="connsiteX474" fmla="*/ 3630595 w 9144000"/>
                <a:gd name="connsiteY474" fmla="*/ 1079695 h 5143500"/>
                <a:gd name="connsiteX475" fmla="*/ 3664652 w 9144000"/>
                <a:gd name="connsiteY475" fmla="*/ 1106988 h 5143500"/>
                <a:gd name="connsiteX476" fmla="*/ 3700308 w 9144000"/>
                <a:gd name="connsiteY476" fmla="*/ 1071827 h 5143500"/>
                <a:gd name="connsiteX477" fmla="*/ 3664652 w 9144000"/>
                <a:gd name="connsiteY477" fmla="*/ 1036665 h 5143500"/>
                <a:gd name="connsiteX478" fmla="*/ 3631087 w 9144000"/>
                <a:gd name="connsiteY478" fmla="*/ 1062360 h 5143500"/>
                <a:gd name="connsiteX479" fmla="*/ 3612276 w 9144000"/>
                <a:gd name="connsiteY479" fmla="*/ 1062360 h 5143500"/>
                <a:gd name="connsiteX480" fmla="*/ 3524120 w 9144000"/>
                <a:gd name="connsiteY480" fmla="*/ 1149895 h 5143500"/>
                <a:gd name="connsiteX481" fmla="*/ 2996418 w 9144000"/>
                <a:gd name="connsiteY481" fmla="*/ 1149895 h 5143500"/>
                <a:gd name="connsiteX482" fmla="*/ 2838059 w 9144000"/>
                <a:gd name="connsiteY482" fmla="*/ 1308244 h 5143500"/>
                <a:gd name="connsiteX483" fmla="*/ 2 w 9144000"/>
                <a:gd name="connsiteY483" fmla="*/ 1308244 h 5143500"/>
                <a:gd name="connsiteX484" fmla="*/ 2 w 9144000"/>
                <a:gd name="connsiteY484" fmla="*/ 1326071 h 5143500"/>
                <a:gd name="connsiteX485" fmla="*/ 2 w 9144000"/>
                <a:gd name="connsiteY485" fmla="*/ 1378663 h 5143500"/>
                <a:gd name="connsiteX486" fmla="*/ 1372739 w 9144000"/>
                <a:gd name="connsiteY486" fmla="*/ 1378663 h 5143500"/>
                <a:gd name="connsiteX487" fmla="*/ 1398436 w 9144000"/>
                <a:gd name="connsiteY487" fmla="*/ 1378663 h 5143500"/>
                <a:gd name="connsiteX488" fmla="*/ 2855886 w 9144000"/>
                <a:gd name="connsiteY488" fmla="*/ 1378663 h 5143500"/>
                <a:gd name="connsiteX489" fmla="*/ 3014246 w 9144000"/>
                <a:gd name="connsiteY489" fmla="*/ 1220615 h 5143500"/>
                <a:gd name="connsiteX490" fmla="*/ 3630595 w 9144000"/>
                <a:gd name="connsiteY490" fmla="*/ 1220615 h 5143500"/>
                <a:gd name="connsiteX491" fmla="*/ 3664652 w 9144000"/>
                <a:gd name="connsiteY491" fmla="*/ 1247754 h 5143500"/>
                <a:gd name="connsiteX492" fmla="*/ 3700308 w 9144000"/>
                <a:gd name="connsiteY492" fmla="*/ 1212756 h 5143500"/>
                <a:gd name="connsiteX493" fmla="*/ 3664652 w 9144000"/>
                <a:gd name="connsiteY493" fmla="*/ 1177634 h 5143500"/>
                <a:gd name="connsiteX494" fmla="*/ 3631087 w 9144000"/>
                <a:gd name="connsiteY494" fmla="*/ 1202808 h 5143500"/>
                <a:gd name="connsiteX495" fmla="*/ 3014246 w 9144000"/>
                <a:gd name="connsiteY495" fmla="*/ 1202808 h 5143500"/>
                <a:gd name="connsiteX496" fmla="*/ 2855886 w 9144000"/>
                <a:gd name="connsiteY496" fmla="*/ 1360856 h 5143500"/>
                <a:gd name="connsiteX497" fmla="*/ 1398436 w 9144000"/>
                <a:gd name="connsiteY497" fmla="*/ 1360856 h 5143500"/>
                <a:gd name="connsiteX498" fmla="*/ 1372739 w 9144000"/>
                <a:gd name="connsiteY498" fmla="*/ 1360856 h 5143500"/>
                <a:gd name="connsiteX499" fmla="*/ 2 w 9144000"/>
                <a:gd name="connsiteY499" fmla="*/ 1360856 h 5143500"/>
                <a:gd name="connsiteX500" fmla="*/ 2 w 9144000"/>
                <a:gd name="connsiteY500" fmla="*/ 1378663 h 5143500"/>
                <a:gd name="connsiteX501" fmla="*/ 2 w 9144000"/>
                <a:gd name="connsiteY501" fmla="*/ 1431255 h 5143500"/>
                <a:gd name="connsiteX502" fmla="*/ 1372739 w 9144000"/>
                <a:gd name="connsiteY502" fmla="*/ 1431255 h 5143500"/>
                <a:gd name="connsiteX503" fmla="*/ 2891050 w 9144000"/>
                <a:gd name="connsiteY503" fmla="*/ 1431255 h 5143500"/>
                <a:gd name="connsiteX504" fmla="*/ 3031459 w 9144000"/>
                <a:gd name="connsiteY504" fmla="*/ 1290882 h 5143500"/>
                <a:gd name="connsiteX505" fmla="*/ 3330719 w 9144000"/>
                <a:gd name="connsiteY505" fmla="*/ 1290882 h 5143500"/>
                <a:gd name="connsiteX506" fmla="*/ 3401047 w 9144000"/>
                <a:gd name="connsiteY506" fmla="*/ 1361069 h 5143500"/>
                <a:gd name="connsiteX507" fmla="*/ 3630595 w 9144000"/>
                <a:gd name="connsiteY507" fmla="*/ 1361069 h 5143500"/>
                <a:gd name="connsiteX508" fmla="*/ 3664652 w 9144000"/>
                <a:gd name="connsiteY508" fmla="*/ 1388356 h 5143500"/>
                <a:gd name="connsiteX509" fmla="*/ 3700308 w 9144000"/>
                <a:gd name="connsiteY509" fmla="*/ 1353202 h 5143500"/>
                <a:gd name="connsiteX510" fmla="*/ 3664652 w 9144000"/>
                <a:gd name="connsiteY510" fmla="*/ 1318170 h 5143500"/>
                <a:gd name="connsiteX511" fmla="*/ 3631087 w 9144000"/>
                <a:gd name="connsiteY511" fmla="*/ 1343860 h 5143500"/>
                <a:gd name="connsiteX512" fmla="*/ 3401047 w 9144000"/>
                <a:gd name="connsiteY512" fmla="*/ 1343860 h 5143500"/>
                <a:gd name="connsiteX513" fmla="*/ 3330719 w 9144000"/>
                <a:gd name="connsiteY513" fmla="*/ 1273059 h 5143500"/>
                <a:gd name="connsiteX514" fmla="*/ 3031459 w 9144000"/>
                <a:gd name="connsiteY514" fmla="*/ 1273059 h 5143500"/>
                <a:gd name="connsiteX515" fmla="*/ 2891050 w 9144000"/>
                <a:gd name="connsiteY515" fmla="*/ 1414047 h 5143500"/>
                <a:gd name="connsiteX516" fmla="*/ 2 w 9144000"/>
                <a:gd name="connsiteY516" fmla="*/ 1414047 h 5143500"/>
                <a:gd name="connsiteX517" fmla="*/ 2 w 9144000"/>
                <a:gd name="connsiteY517" fmla="*/ 1431255 h 5143500"/>
                <a:gd name="connsiteX518" fmla="*/ 3664652 w 9144000"/>
                <a:gd name="connsiteY518" fmla="*/ 1529391 h 5143500"/>
                <a:gd name="connsiteX519" fmla="*/ 3700308 w 9144000"/>
                <a:gd name="connsiteY519" fmla="*/ 1494149 h 5143500"/>
                <a:gd name="connsiteX520" fmla="*/ 3664652 w 9144000"/>
                <a:gd name="connsiteY520" fmla="*/ 1459030 h 5143500"/>
                <a:gd name="connsiteX521" fmla="*/ 3631087 w 9144000"/>
                <a:gd name="connsiteY521" fmla="*/ 1484168 h 5143500"/>
                <a:gd name="connsiteX522" fmla="*/ 1371141 w 9144000"/>
                <a:gd name="connsiteY522" fmla="*/ 1484168 h 5143500"/>
                <a:gd name="connsiteX523" fmla="*/ 2 w 9144000"/>
                <a:gd name="connsiteY523" fmla="*/ 1484168 h 5143500"/>
                <a:gd name="connsiteX524" fmla="*/ 2 w 9144000"/>
                <a:gd name="connsiteY524" fmla="*/ 1501543 h 5143500"/>
                <a:gd name="connsiteX525" fmla="*/ 1371141 w 9144000"/>
                <a:gd name="connsiteY525" fmla="*/ 1501543 h 5143500"/>
                <a:gd name="connsiteX526" fmla="*/ 1400526 w 9144000"/>
                <a:gd name="connsiteY526" fmla="*/ 1501543 h 5143500"/>
                <a:gd name="connsiteX527" fmla="*/ 3630595 w 9144000"/>
                <a:gd name="connsiteY527" fmla="*/ 1502036 h 5143500"/>
                <a:gd name="connsiteX528" fmla="*/ 3664652 w 9144000"/>
                <a:gd name="connsiteY528" fmla="*/ 1529391 h 5143500"/>
                <a:gd name="connsiteX529" fmla="*/ 3299711 w 9144000"/>
                <a:gd name="connsiteY529" fmla="*/ 1687710 h 5143500"/>
                <a:gd name="connsiteX530" fmla="*/ 3334873 w 9144000"/>
                <a:gd name="connsiteY530" fmla="*/ 1652614 h 5143500"/>
                <a:gd name="connsiteX531" fmla="*/ 3299711 w 9144000"/>
                <a:gd name="connsiteY531" fmla="*/ 1617395 h 5143500"/>
                <a:gd name="connsiteX532" fmla="*/ 3265655 w 9144000"/>
                <a:gd name="connsiteY532" fmla="*/ 1642639 h 5143500"/>
                <a:gd name="connsiteX533" fmla="*/ 2930263 w 9144000"/>
                <a:gd name="connsiteY533" fmla="*/ 1642639 h 5143500"/>
                <a:gd name="connsiteX534" fmla="*/ 2824899 w 9144000"/>
                <a:gd name="connsiteY534" fmla="*/ 1537105 h 5143500"/>
                <a:gd name="connsiteX535" fmla="*/ 855327 w 9144000"/>
                <a:gd name="connsiteY535" fmla="*/ 1537105 h 5143500"/>
                <a:gd name="connsiteX536" fmla="*/ 2 w 9144000"/>
                <a:gd name="connsiteY536" fmla="*/ 1537105 h 5143500"/>
                <a:gd name="connsiteX537" fmla="*/ 2 w 9144000"/>
                <a:gd name="connsiteY537" fmla="*/ 1554345 h 5143500"/>
                <a:gd name="connsiteX538" fmla="*/ 1023638 w 9144000"/>
                <a:gd name="connsiteY538" fmla="*/ 1554345 h 5143500"/>
                <a:gd name="connsiteX539" fmla="*/ 2824899 w 9144000"/>
                <a:gd name="connsiteY539" fmla="*/ 1554345 h 5143500"/>
                <a:gd name="connsiteX540" fmla="*/ 2930263 w 9144000"/>
                <a:gd name="connsiteY540" fmla="*/ 1660495 h 5143500"/>
                <a:gd name="connsiteX541" fmla="*/ 3265164 w 9144000"/>
                <a:gd name="connsiteY541" fmla="*/ 1660495 h 5143500"/>
                <a:gd name="connsiteX542" fmla="*/ 3299711 w 9144000"/>
                <a:gd name="connsiteY542" fmla="*/ 1687710 h 5143500"/>
                <a:gd name="connsiteX543" fmla="*/ 201711 w 9144000"/>
                <a:gd name="connsiteY543" fmla="*/ 1706687 h 5143500"/>
                <a:gd name="connsiteX544" fmla="*/ 237357 w 9144000"/>
                <a:gd name="connsiteY544" fmla="*/ 1671506 h 5143500"/>
                <a:gd name="connsiteX545" fmla="*/ 201711 w 9144000"/>
                <a:gd name="connsiteY545" fmla="*/ 1636326 h 5143500"/>
                <a:gd name="connsiteX546" fmla="*/ 167662 w 9144000"/>
                <a:gd name="connsiteY546" fmla="*/ 1663634 h 5143500"/>
                <a:gd name="connsiteX547" fmla="*/ 29515 w 9144000"/>
                <a:gd name="connsiteY547" fmla="*/ 1663634 h 5143500"/>
                <a:gd name="connsiteX548" fmla="*/ 12428 w 9144000"/>
                <a:gd name="connsiteY548" fmla="*/ 1663634 h 5143500"/>
                <a:gd name="connsiteX549" fmla="*/ 9095 w 9144000"/>
                <a:gd name="connsiteY549" fmla="*/ 1662893 h 5143500"/>
                <a:gd name="connsiteX550" fmla="*/ 5858 w 9144000"/>
                <a:gd name="connsiteY550" fmla="*/ 1663634 h 5143500"/>
                <a:gd name="connsiteX551" fmla="*/ 2 w 9144000"/>
                <a:gd name="connsiteY551" fmla="*/ 1663634 h 5143500"/>
                <a:gd name="connsiteX552" fmla="*/ 2 w 9144000"/>
                <a:gd name="connsiteY552" fmla="*/ 1681470 h 5143500"/>
                <a:gd name="connsiteX553" fmla="*/ 168154 w 9144000"/>
                <a:gd name="connsiteY553" fmla="*/ 1681470 h 5143500"/>
                <a:gd name="connsiteX554" fmla="*/ 201711 w 9144000"/>
                <a:gd name="connsiteY554" fmla="*/ 1706687 h 5143500"/>
                <a:gd name="connsiteX555" fmla="*/ 2131958 w 9144000"/>
                <a:gd name="connsiteY555" fmla="*/ 1846027 h 5143500"/>
                <a:gd name="connsiteX556" fmla="*/ 2167001 w 9144000"/>
                <a:gd name="connsiteY556" fmla="*/ 1810889 h 5143500"/>
                <a:gd name="connsiteX557" fmla="*/ 2131958 w 9144000"/>
                <a:gd name="connsiteY557" fmla="*/ 1775258 h 5143500"/>
                <a:gd name="connsiteX558" fmla="*/ 2097281 w 9144000"/>
                <a:gd name="connsiteY558" fmla="*/ 1803026 h 5143500"/>
                <a:gd name="connsiteX559" fmla="*/ 1797494 w 9144000"/>
                <a:gd name="connsiteY559" fmla="*/ 1803026 h 5143500"/>
                <a:gd name="connsiteX560" fmla="*/ 1604071 w 9144000"/>
                <a:gd name="connsiteY560" fmla="*/ 1609758 h 5143500"/>
                <a:gd name="connsiteX561" fmla="*/ 530962 w 9144000"/>
                <a:gd name="connsiteY561" fmla="*/ 1609758 h 5143500"/>
                <a:gd name="connsiteX562" fmla="*/ 372706 w 9144000"/>
                <a:gd name="connsiteY562" fmla="*/ 1767886 h 5143500"/>
                <a:gd name="connsiteX563" fmla="*/ 2 w 9144000"/>
                <a:gd name="connsiteY563" fmla="*/ 1767886 h 5143500"/>
                <a:gd name="connsiteX564" fmla="*/ 2 w 9144000"/>
                <a:gd name="connsiteY564" fmla="*/ 1785210 h 5143500"/>
                <a:gd name="connsiteX565" fmla="*/ 372706 w 9144000"/>
                <a:gd name="connsiteY565" fmla="*/ 1785210 h 5143500"/>
                <a:gd name="connsiteX566" fmla="*/ 530962 w 9144000"/>
                <a:gd name="connsiteY566" fmla="*/ 1627082 h 5143500"/>
                <a:gd name="connsiteX567" fmla="*/ 1604071 w 9144000"/>
                <a:gd name="connsiteY567" fmla="*/ 1627082 h 5143500"/>
                <a:gd name="connsiteX568" fmla="*/ 1797494 w 9144000"/>
                <a:gd name="connsiteY568" fmla="*/ 1820349 h 5143500"/>
                <a:gd name="connsiteX569" fmla="*/ 2097896 w 9144000"/>
                <a:gd name="connsiteY569" fmla="*/ 1820349 h 5143500"/>
                <a:gd name="connsiteX570" fmla="*/ 2131958 w 9144000"/>
                <a:gd name="connsiteY570" fmla="*/ 1846027 h 5143500"/>
                <a:gd name="connsiteX571" fmla="*/ 2 w 9144000"/>
                <a:gd name="connsiteY571" fmla="*/ 1969103 h 5143500"/>
                <a:gd name="connsiteX572" fmla="*/ 370072 w 9144000"/>
                <a:gd name="connsiteY572" fmla="*/ 1969103 h 5143500"/>
                <a:gd name="connsiteX573" fmla="*/ 510969 w 9144000"/>
                <a:gd name="connsiteY573" fmla="*/ 1828398 h 5143500"/>
                <a:gd name="connsiteX574" fmla="*/ 924069 w 9144000"/>
                <a:gd name="connsiteY574" fmla="*/ 1828398 h 5143500"/>
                <a:gd name="connsiteX575" fmla="*/ 958126 w 9144000"/>
                <a:gd name="connsiteY575" fmla="*/ 1855532 h 5143500"/>
                <a:gd name="connsiteX576" fmla="*/ 993165 w 9144000"/>
                <a:gd name="connsiteY576" fmla="*/ 1820541 h 5143500"/>
                <a:gd name="connsiteX577" fmla="*/ 958126 w 9144000"/>
                <a:gd name="connsiteY577" fmla="*/ 1785427 h 5143500"/>
                <a:gd name="connsiteX578" fmla="*/ 924561 w 9144000"/>
                <a:gd name="connsiteY578" fmla="*/ 1811088 h 5143500"/>
                <a:gd name="connsiteX579" fmla="*/ 510969 w 9144000"/>
                <a:gd name="connsiteY579" fmla="*/ 1811088 h 5143500"/>
                <a:gd name="connsiteX580" fmla="*/ 370072 w 9144000"/>
                <a:gd name="connsiteY580" fmla="*/ 1951300 h 5143500"/>
                <a:gd name="connsiteX581" fmla="*/ 2 w 9144000"/>
                <a:gd name="connsiteY581" fmla="*/ 1951300 h 5143500"/>
                <a:gd name="connsiteX582" fmla="*/ 2 w 9144000"/>
                <a:gd name="connsiteY582" fmla="*/ 1969103 h 5143500"/>
                <a:gd name="connsiteX583" fmla="*/ 2374861 w 9144000"/>
                <a:gd name="connsiteY583" fmla="*/ 1986453 h 5143500"/>
                <a:gd name="connsiteX584" fmla="*/ 2409901 w 9144000"/>
                <a:gd name="connsiteY584" fmla="*/ 1951273 h 5143500"/>
                <a:gd name="connsiteX585" fmla="*/ 2374861 w 9144000"/>
                <a:gd name="connsiteY585" fmla="*/ 1916217 h 5143500"/>
                <a:gd name="connsiteX586" fmla="*/ 2341296 w 9144000"/>
                <a:gd name="connsiteY586" fmla="*/ 1941433 h 5143500"/>
                <a:gd name="connsiteX587" fmla="*/ 1776844 w 9144000"/>
                <a:gd name="connsiteY587" fmla="*/ 1941433 h 5143500"/>
                <a:gd name="connsiteX588" fmla="*/ 1530455 w 9144000"/>
                <a:gd name="connsiteY588" fmla="*/ 1695424 h 5143500"/>
                <a:gd name="connsiteX589" fmla="*/ 580684 w 9144000"/>
                <a:gd name="connsiteY589" fmla="*/ 1695424 h 5143500"/>
                <a:gd name="connsiteX590" fmla="*/ 370075 w 9144000"/>
                <a:gd name="connsiteY590" fmla="*/ 1906253 h 5143500"/>
                <a:gd name="connsiteX591" fmla="*/ 2 w 9144000"/>
                <a:gd name="connsiteY591" fmla="*/ 1906253 h 5143500"/>
                <a:gd name="connsiteX592" fmla="*/ 2 w 9144000"/>
                <a:gd name="connsiteY592" fmla="*/ 1924089 h 5143500"/>
                <a:gd name="connsiteX593" fmla="*/ 276265 w 9144000"/>
                <a:gd name="connsiteY593" fmla="*/ 1924089 h 5143500"/>
                <a:gd name="connsiteX594" fmla="*/ 370075 w 9144000"/>
                <a:gd name="connsiteY594" fmla="*/ 1924089 h 5143500"/>
                <a:gd name="connsiteX595" fmla="*/ 580684 w 9144000"/>
                <a:gd name="connsiteY595" fmla="*/ 1712768 h 5143500"/>
                <a:gd name="connsiteX596" fmla="*/ 1530455 w 9144000"/>
                <a:gd name="connsiteY596" fmla="*/ 1712768 h 5143500"/>
                <a:gd name="connsiteX597" fmla="*/ 1776844 w 9144000"/>
                <a:gd name="connsiteY597" fmla="*/ 1959146 h 5143500"/>
                <a:gd name="connsiteX598" fmla="*/ 2340805 w 9144000"/>
                <a:gd name="connsiteY598" fmla="*/ 1959146 h 5143500"/>
                <a:gd name="connsiteX599" fmla="*/ 2374861 w 9144000"/>
                <a:gd name="connsiteY599" fmla="*/ 1986453 h 5143500"/>
                <a:gd name="connsiteX600" fmla="*/ 2 w 9144000"/>
                <a:gd name="connsiteY600" fmla="*/ 2081878 h 5143500"/>
                <a:gd name="connsiteX601" fmla="*/ 342800 w 9144000"/>
                <a:gd name="connsiteY601" fmla="*/ 2081878 h 5143500"/>
                <a:gd name="connsiteX602" fmla="*/ 483337 w 9144000"/>
                <a:gd name="connsiteY602" fmla="*/ 1941172 h 5143500"/>
                <a:gd name="connsiteX603" fmla="*/ 818759 w 9144000"/>
                <a:gd name="connsiteY603" fmla="*/ 1941172 h 5143500"/>
                <a:gd name="connsiteX604" fmla="*/ 852816 w 9144000"/>
                <a:gd name="connsiteY604" fmla="*/ 1968798 h 5143500"/>
                <a:gd name="connsiteX605" fmla="*/ 887981 w 9144000"/>
                <a:gd name="connsiteY605" fmla="*/ 1933315 h 5143500"/>
                <a:gd name="connsiteX606" fmla="*/ 852816 w 9144000"/>
                <a:gd name="connsiteY606" fmla="*/ 1898200 h 5143500"/>
                <a:gd name="connsiteX607" fmla="*/ 819250 w 9144000"/>
                <a:gd name="connsiteY607" fmla="*/ 1923861 h 5143500"/>
                <a:gd name="connsiteX608" fmla="*/ 483337 w 9144000"/>
                <a:gd name="connsiteY608" fmla="*/ 1923861 h 5143500"/>
                <a:gd name="connsiteX609" fmla="*/ 342800 w 9144000"/>
                <a:gd name="connsiteY609" fmla="*/ 2064075 h 5143500"/>
                <a:gd name="connsiteX610" fmla="*/ 2 w 9144000"/>
                <a:gd name="connsiteY610" fmla="*/ 2064075 h 5143500"/>
                <a:gd name="connsiteX611" fmla="*/ 2 w 9144000"/>
                <a:gd name="connsiteY611" fmla="*/ 2081878 h 5143500"/>
                <a:gd name="connsiteX612" fmla="*/ 2 w 9144000"/>
                <a:gd name="connsiteY612" fmla="*/ 2170255 h 5143500"/>
                <a:gd name="connsiteX613" fmla="*/ 518504 w 9144000"/>
                <a:gd name="connsiteY613" fmla="*/ 2170255 h 5143500"/>
                <a:gd name="connsiteX614" fmla="*/ 518504 w 9144000"/>
                <a:gd name="connsiteY614" fmla="*/ 2029549 h 5143500"/>
                <a:gd name="connsiteX615" fmla="*/ 713066 w 9144000"/>
                <a:gd name="connsiteY615" fmla="*/ 2029549 h 5143500"/>
                <a:gd name="connsiteX616" fmla="*/ 747624 w 9144000"/>
                <a:gd name="connsiteY616" fmla="*/ 2056683 h 5143500"/>
                <a:gd name="connsiteX617" fmla="*/ 782798 w 9144000"/>
                <a:gd name="connsiteY617" fmla="*/ 2021691 h 5143500"/>
                <a:gd name="connsiteX618" fmla="*/ 747624 w 9144000"/>
                <a:gd name="connsiteY618" fmla="*/ 1986576 h 5143500"/>
                <a:gd name="connsiteX619" fmla="*/ 713558 w 9144000"/>
                <a:gd name="connsiteY619" fmla="*/ 2012237 h 5143500"/>
                <a:gd name="connsiteX620" fmla="*/ 501164 w 9144000"/>
                <a:gd name="connsiteY620" fmla="*/ 2012237 h 5143500"/>
                <a:gd name="connsiteX621" fmla="*/ 501164 w 9144000"/>
                <a:gd name="connsiteY621" fmla="*/ 2152452 h 5143500"/>
                <a:gd name="connsiteX622" fmla="*/ 2 w 9144000"/>
                <a:gd name="connsiteY622" fmla="*/ 2152452 h 5143500"/>
                <a:gd name="connsiteX623" fmla="*/ 2 w 9144000"/>
                <a:gd name="connsiteY623" fmla="*/ 2170255 h 5143500"/>
                <a:gd name="connsiteX624" fmla="*/ 2 w 9144000"/>
                <a:gd name="connsiteY624" fmla="*/ 2293331 h 5143500"/>
                <a:gd name="connsiteX625" fmla="*/ 712295 w 9144000"/>
                <a:gd name="connsiteY625" fmla="*/ 2293331 h 5143500"/>
                <a:gd name="connsiteX626" fmla="*/ 1064074 w 9144000"/>
                <a:gd name="connsiteY626" fmla="*/ 1941229 h 5143500"/>
                <a:gd name="connsiteX627" fmla="*/ 1257979 w 9144000"/>
                <a:gd name="connsiteY627" fmla="*/ 1941229 h 5143500"/>
                <a:gd name="connsiteX628" fmla="*/ 1292653 w 9144000"/>
                <a:gd name="connsiteY628" fmla="*/ 1968890 h 5143500"/>
                <a:gd name="connsiteX629" fmla="*/ 1327696 w 9144000"/>
                <a:gd name="connsiteY629" fmla="*/ 1933853 h 5143500"/>
                <a:gd name="connsiteX630" fmla="*/ 1292653 w 9144000"/>
                <a:gd name="connsiteY630" fmla="*/ 1898200 h 5143500"/>
                <a:gd name="connsiteX631" fmla="*/ 1258470 w 9144000"/>
                <a:gd name="connsiteY631" fmla="*/ 1923894 h 5143500"/>
                <a:gd name="connsiteX632" fmla="*/ 1064074 w 9144000"/>
                <a:gd name="connsiteY632" fmla="*/ 1923894 h 5143500"/>
                <a:gd name="connsiteX633" fmla="*/ 712295 w 9144000"/>
                <a:gd name="connsiteY633" fmla="*/ 2275505 h 5143500"/>
                <a:gd name="connsiteX634" fmla="*/ 2 w 9144000"/>
                <a:gd name="connsiteY634" fmla="*/ 2275505 h 5143500"/>
                <a:gd name="connsiteX635" fmla="*/ 2 w 9144000"/>
                <a:gd name="connsiteY635" fmla="*/ 2293331 h 5143500"/>
                <a:gd name="connsiteX636" fmla="*/ 2 w 9144000"/>
                <a:gd name="connsiteY636" fmla="*/ 2399058 h 5143500"/>
                <a:gd name="connsiteX637" fmla="*/ 239477 w 9144000"/>
                <a:gd name="connsiteY637" fmla="*/ 2399058 h 5143500"/>
                <a:gd name="connsiteX638" fmla="*/ 764651 w 9144000"/>
                <a:gd name="connsiteY638" fmla="*/ 2399058 h 5143500"/>
                <a:gd name="connsiteX639" fmla="*/ 1046046 w 9144000"/>
                <a:gd name="connsiteY639" fmla="*/ 2117467 h 5143500"/>
                <a:gd name="connsiteX640" fmla="*/ 1328549 w 9144000"/>
                <a:gd name="connsiteY640" fmla="*/ 2117467 h 5143500"/>
                <a:gd name="connsiteX641" fmla="*/ 1362602 w 9144000"/>
                <a:gd name="connsiteY641" fmla="*/ 2144777 h 5143500"/>
                <a:gd name="connsiteX642" fmla="*/ 1397638 w 9144000"/>
                <a:gd name="connsiteY642" fmla="*/ 2109594 h 5143500"/>
                <a:gd name="connsiteX643" fmla="*/ 1362602 w 9144000"/>
                <a:gd name="connsiteY643" fmla="*/ 2074410 h 5143500"/>
                <a:gd name="connsiteX644" fmla="*/ 1329040 w 9144000"/>
                <a:gd name="connsiteY644" fmla="*/ 2099629 h 5143500"/>
                <a:gd name="connsiteX645" fmla="*/ 1046046 w 9144000"/>
                <a:gd name="connsiteY645" fmla="*/ 2099629 h 5143500"/>
                <a:gd name="connsiteX646" fmla="*/ 764651 w 9144000"/>
                <a:gd name="connsiteY646" fmla="*/ 2381220 h 5143500"/>
                <a:gd name="connsiteX647" fmla="*/ 2 w 9144000"/>
                <a:gd name="connsiteY647" fmla="*/ 2381220 h 5143500"/>
                <a:gd name="connsiteX648" fmla="*/ 2 w 9144000"/>
                <a:gd name="connsiteY648" fmla="*/ 2399058 h 5143500"/>
                <a:gd name="connsiteX649" fmla="*/ 2 w 9144000"/>
                <a:gd name="connsiteY649" fmla="*/ 2487434 h 5143500"/>
                <a:gd name="connsiteX650" fmla="*/ 213815 w 9144000"/>
                <a:gd name="connsiteY650" fmla="*/ 2487434 h 5143500"/>
                <a:gd name="connsiteX651" fmla="*/ 817629 w 9144000"/>
                <a:gd name="connsiteY651" fmla="*/ 2487434 h 5143500"/>
                <a:gd name="connsiteX652" fmla="*/ 1099064 w 9144000"/>
                <a:gd name="connsiteY652" fmla="*/ 2205844 h 5143500"/>
                <a:gd name="connsiteX653" fmla="*/ 1240705 w 9144000"/>
                <a:gd name="connsiteY653" fmla="*/ 2205844 h 5143500"/>
                <a:gd name="connsiteX654" fmla="*/ 1274762 w 9144000"/>
                <a:gd name="connsiteY654" fmla="*/ 2233154 h 5143500"/>
                <a:gd name="connsiteX655" fmla="*/ 1309804 w 9144000"/>
                <a:gd name="connsiteY655" fmla="*/ 2197970 h 5143500"/>
                <a:gd name="connsiteX656" fmla="*/ 1274762 w 9144000"/>
                <a:gd name="connsiteY656" fmla="*/ 2162787 h 5143500"/>
                <a:gd name="connsiteX657" fmla="*/ 1241197 w 9144000"/>
                <a:gd name="connsiteY657" fmla="*/ 2188006 h 5143500"/>
                <a:gd name="connsiteX658" fmla="*/ 1099064 w 9144000"/>
                <a:gd name="connsiteY658" fmla="*/ 2188006 h 5143500"/>
                <a:gd name="connsiteX659" fmla="*/ 817629 w 9144000"/>
                <a:gd name="connsiteY659" fmla="*/ 2469597 h 5143500"/>
                <a:gd name="connsiteX660" fmla="*/ 2 w 9144000"/>
                <a:gd name="connsiteY660" fmla="*/ 2469597 h 5143500"/>
                <a:gd name="connsiteX661" fmla="*/ 2 w 9144000"/>
                <a:gd name="connsiteY661" fmla="*/ 2487434 h 5143500"/>
                <a:gd name="connsiteX662" fmla="*/ 2 w 9144000"/>
                <a:gd name="connsiteY662" fmla="*/ 2560630 h 5143500"/>
                <a:gd name="connsiteX663" fmla="*/ 896490 w 9144000"/>
                <a:gd name="connsiteY663" fmla="*/ 2560630 h 5143500"/>
                <a:gd name="connsiteX664" fmla="*/ 1093004 w 9144000"/>
                <a:gd name="connsiteY664" fmla="*/ 2364323 h 5143500"/>
                <a:gd name="connsiteX665" fmla="*/ 1107761 w 9144000"/>
                <a:gd name="connsiteY665" fmla="*/ 2367394 h 5143500"/>
                <a:gd name="connsiteX666" fmla="*/ 1142810 w 9144000"/>
                <a:gd name="connsiteY666" fmla="*/ 2332383 h 5143500"/>
                <a:gd name="connsiteX667" fmla="*/ 1107761 w 9144000"/>
                <a:gd name="connsiteY667" fmla="*/ 2297249 h 5143500"/>
                <a:gd name="connsiteX668" fmla="*/ 1072591 w 9144000"/>
                <a:gd name="connsiteY668" fmla="*/ 2332383 h 5143500"/>
                <a:gd name="connsiteX669" fmla="*/ 1082551 w 9144000"/>
                <a:gd name="connsiteY669" fmla="*/ 2357444 h 5143500"/>
                <a:gd name="connsiteX670" fmla="*/ 896490 w 9144000"/>
                <a:gd name="connsiteY670" fmla="*/ 2543432 h 5143500"/>
                <a:gd name="connsiteX671" fmla="*/ 2 w 9144000"/>
                <a:gd name="connsiteY671" fmla="*/ 2543432 h 5143500"/>
                <a:gd name="connsiteX672" fmla="*/ 2 w 9144000"/>
                <a:gd name="connsiteY672" fmla="*/ 2560630 h 5143500"/>
                <a:gd name="connsiteX673" fmla="*/ 2 w 9144000"/>
                <a:gd name="connsiteY673" fmla="*/ 2645211 h 5143500"/>
                <a:gd name="connsiteX674" fmla="*/ 301839 w 9144000"/>
                <a:gd name="connsiteY674" fmla="*/ 2645211 h 5143500"/>
                <a:gd name="connsiteX675" fmla="*/ 985304 w 9144000"/>
                <a:gd name="connsiteY675" fmla="*/ 2645211 h 5143500"/>
                <a:gd name="connsiteX676" fmla="*/ 1231692 w 9144000"/>
                <a:gd name="connsiteY676" fmla="*/ 2398887 h 5143500"/>
                <a:gd name="connsiteX677" fmla="*/ 1425089 w 9144000"/>
                <a:gd name="connsiteY677" fmla="*/ 2398887 h 5143500"/>
                <a:gd name="connsiteX678" fmla="*/ 1723853 w 9144000"/>
                <a:gd name="connsiteY678" fmla="*/ 2099560 h 5143500"/>
                <a:gd name="connsiteX679" fmla="*/ 2340805 w 9144000"/>
                <a:gd name="connsiteY679" fmla="*/ 2099560 h 5143500"/>
                <a:gd name="connsiteX680" fmla="*/ 2374861 w 9144000"/>
                <a:gd name="connsiteY680" fmla="*/ 2127353 h 5143500"/>
                <a:gd name="connsiteX681" fmla="*/ 2409901 w 9144000"/>
                <a:gd name="connsiteY681" fmla="*/ 2092182 h 5143500"/>
                <a:gd name="connsiteX682" fmla="*/ 2374861 w 9144000"/>
                <a:gd name="connsiteY682" fmla="*/ 2056518 h 5143500"/>
                <a:gd name="connsiteX683" fmla="*/ 2341296 w 9144000"/>
                <a:gd name="connsiteY683" fmla="*/ 2082220 h 5143500"/>
                <a:gd name="connsiteX684" fmla="*/ 1723853 w 9144000"/>
                <a:gd name="connsiteY684" fmla="*/ 2082220 h 5143500"/>
                <a:gd name="connsiteX685" fmla="*/ 1425089 w 9144000"/>
                <a:gd name="connsiteY685" fmla="*/ 2381055 h 5143500"/>
                <a:gd name="connsiteX686" fmla="*/ 1231692 w 9144000"/>
                <a:gd name="connsiteY686" fmla="*/ 2381055 h 5143500"/>
                <a:gd name="connsiteX687" fmla="*/ 985304 w 9144000"/>
                <a:gd name="connsiteY687" fmla="*/ 2627379 h 5143500"/>
                <a:gd name="connsiteX688" fmla="*/ 2 w 9144000"/>
                <a:gd name="connsiteY688" fmla="*/ 2627379 h 5143500"/>
                <a:gd name="connsiteX689" fmla="*/ 2 w 9144000"/>
                <a:gd name="connsiteY689" fmla="*/ 2645211 h 5143500"/>
                <a:gd name="connsiteX690" fmla="*/ 2 w 9144000"/>
                <a:gd name="connsiteY690" fmla="*/ 2760155 h 5143500"/>
                <a:gd name="connsiteX691" fmla="*/ 196581 w 9144000"/>
                <a:gd name="connsiteY691" fmla="*/ 2760155 h 5143500"/>
                <a:gd name="connsiteX692" fmla="*/ 1046084 w 9144000"/>
                <a:gd name="connsiteY692" fmla="*/ 2760155 h 5143500"/>
                <a:gd name="connsiteX693" fmla="*/ 1242663 w 9144000"/>
                <a:gd name="connsiteY693" fmla="*/ 2563810 h 5143500"/>
                <a:gd name="connsiteX694" fmla="*/ 1257293 w 9144000"/>
                <a:gd name="connsiteY694" fmla="*/ 2567005 h 5143500"/>
                <a:gd name="connsiteX695" fmla="*/ 1292453 w 9144000"/>
                <a:gd name="connsiteY695" fmla="*/ 2531373 h 5143500"/>
                <a:gd name="connsiteX696" fmla="*/ 1257293 w 9144000"/>
                <a:gd name="connsiteY696" fmla="*/ 2496232 h 5143500"/>
                <a:gd name="connsiteX697" fmla="*/ 1222132 w 9144000"/>
                <a:gd name="connsiteY697" fmla="*/ 2531373 h 5143500"/>
                <a:gd name="connsiteX698" fmla="*/ 1232090 w 9144000"/>
                <a:gd name="connsiteY698" fmla="*/ 2556438 h 5143500"/>
                <a:gd name="connsiteX699" fmla="*/ 1046084 w 9144000"/>
                <a:gd name="connsiteY699" fmla="*/ 2742339 h 5143500"/>
                <a:gd name="connsiteX700" fmla="*/ 256820 w 9144000"/>
                <a:gd name="connsiteY700" fmla="*/ 2742339 h 5143500"/>
                <a:gd name="connsiteX701" fmla="*/ 196581 w 9144000"/>
                <a:gd name="connsiteY701" fmla="*/ 2742339 h 5143500"/>
                <a:gd name="connsiteX702" fmla="*/ 2 w 9144000"/>
                <a:gd name="connsiteY702" fmla="*/ 2742339 h 5143500"/>
                <a:gd name="connsiteX703" fmla="*/ 2 w 9144000"/>
                <a:gd name="connsiteY703" fmla="*/ 2760155 h 5143500"/>
                <a:gd name="connsiteX704" fmla="*/ 2 w 9144000"/>
                <a:gd name="connsiteY704" fmla="*/ 2820880 h 5143500"/>
                <a:gd name="connsiteX705" fmla="*/ 319174 w 9144000"/>
                <a:gd name="connsiteY705" fmla="*/ 2820880 h 5143500"/>
                <a:gd name="connsiteX706" fmla="*/ 1196529 w 9144000"/>
                <a:gd name="connsiteY706" fmla="*/ 2820880 h 5143500"/>
                <a:gd name="connsiteX707" fmla="*/ 1776844 w 9144000"/>
                <a:gd name="connsiteY707" fmla="*/ 2240539 h 5143500"/>
                <a:gd name="connsiteX708" fmla="*/ 2340805 w 9144000"/>
                <a:gd name="connsiteY708" fmla="*/ 2240539 h 5143500"/>
                <a:gd name="connsiteX709" fmla="*/ 2374861 w 9144000"/>
                <a:gd name="connsiteY709" fmla="*/ 2267723 h 5143500"/>
                <a:gd name="connsiteX710" fmla="*/ 2409901 w 9144000"/>
                <a:gd name="connsiteY710" fmla="*/ 2232666 h 5143500"/>
                <a:gd name="connsiteX711" fmla="*/ 2374861 w 9144000"/>
                <a:gd name="connsiteY711" fmla="*/ 2197487 h 5143500"/>
                <a:gd name="connsiteX712" fmla="*/ 2341296 w 9144000"/>
                <a:gd name="connsiteY712" fmla="*/ 2222703 h 5143500"/>
                <a:gd name="connsiteX713" fmla="*/ 1776844 w 9144000"/>
                <a:gd name="connsiteY713" fmla="*/ 2222703 h 5143500"/>
                <a:gd name="connsiteX714" fmla="*/ 1196529 w 9144000"/>
                <a:gd name="connsiteY714" fmla="*/ 2803536 h 5143500"/>
                <a:gd name="connsiteX715" fmla="*/ 2 w 9144000"/>
                <a:gd name="connsiteY715" fmla="*/ 2803536 h 5143500"/>
                <a:gd name="connsiteX716" fmla="*/ 2 w 9144000"/>
                <a:gd name="connsiteY716" fmla="*/ 2820880 h 5143500"/>
                <a:gd name="connsiteX717" fmla="*/ 2 w 9144000"/>
                <a:gd name="connsiteY717" fmla="*/ 2974861 h 5143500"/>
                <a:gd name="connsiteX718" fmla="*/ 1179260 w 9144000"/>
                <a:gd name="connsiteY718" fmla="*/ 2974861 h 5143500"/>
                <a:gd name="connsiteX719" fmla="*/ 1762620 w 9144000"/>
                <a:gd name="connsiteY719" fmla="*/ 2391389 h 5143500"/>
                <a:gd name="connsiteX720" fmla="*/ 1777250 w 9144000"/>
                <a:gd name="connsiteY720" fmla="*/ 2394587 h 5143500"/>
                <a:gd name="connsiteX721" fmla="*/ 1812411 w 9144000"/>
                <a:gd name="connsiteY721" fmla="*/ 2359411 h 5143500"/>
                <a:gd name="connsiteX722" fmla="*/ 1777250 w 9144000"/>
                <a:gd name="connsiteY722" fmla="*/ 2324359 h 5143500"/>
                <a:gd name="connsiteX723" fmla="*/ 1742089 w 9144000"/>
                <a:gd name="connsiteY723" fmla="*/ 2359411 h 5143500"/>
                <a:gd name="connsiteX724" fmla="*/ 1752539 w 9144000"/>
                <a:gd name="connsiteY724" fmla="*/ 2384133 h 5143500"/>
                <a:gd name="connsiteX725" fmla="*/ 1179260 w 9144000"/>
                <a:gd name="connsiteY725" fmla="*/ 2957642 h 5143500"/>
                <a:gd name="connsiteX726" fmla="*/ 2 w 9144000"/>
                <a:gd name="connsiteY726" fmla="*/ 2957642 h 5143500"/>
                <a:gd name="connsiteX727" fmla="*/ 2 w 9144000"/>
                <a:gd name="connsiteY727" fmla="*/ 2974861 h 5143500"/>
                <a:gd name="connsiteX728" fmla="*/ 2 w 9144000"/>
                <a:gd name="connsiteY728" fmla="*/ 3044803 h 5143500"/>
                <a:gd name="connsiteX729" fmla="*/ 1232133 w 9144000"/>
                <a:gd name="connsiteY729" fmla="*/ 3044803 h 5143500"/>
                <a:gd name="connsiteX730" fmla="*/ 1885696 w 9144000"/>
                <a:gd name="connsiteY730" fmla="*/ 2391363 h 5143500"/>
                <a:gd name="connsiteX731" fmla="*/ 1900449 w 9144000"/>
                <a:gd name="connsiteY731" fmla="*/ 2394559 h 5143500"/>
                <a:gd name="connsiteX732" fmla="*/ 1935488 w 9144000"/>
                <a:gd name="connsiteY732" fmla="*/ 2359398 h 5143500"/>
                <a:gd name="connsiteX733" fmla="*/ 1900449 w 9144000"/>
                <a:gd name="connsiteY733" fmla="*/ 2324359 h 5143500"/>
                <a:gd name="connsiteX734" fmla="*/ 1865288 w 9144000"/>
                <a:gd name="connsiteY734" fmla="*/ 2359398 h 5143500"/>
                <a:gd name="connsiteX735" fmla="*/ 1875246 w 9144000"/>
                <a:gd name="connsiteY735" fmla="*/ 2384109 h 5143500"/>
                <a:gd name="connsiteX736" fmla="*/ 1232133 w 9144000"/>
                <a:gd name="connsiteY736" fmla="*/ 3027591 h 5143500"/>
                <a:gd name="connsiteX737" fmla="*/ 2 w 9144000"/>
                <a:gd name="connsiteY737" fmla="*/ 3027591 h 5143500"/>
                <a:gd name="connsiteX738" fmla="*/ 2 w 9144000"/>
                <a:gd name="connsiteY738" fmla="*/ 3044803 h 5143500"/>
                <a:gd name="connsiteX739" fmla="*/ 2 w 9144000"/>
                <a:gd name="connsiteY739" fmla="*/ 3115830 h 5143500"/>
                <a:gd name="connsiteX740" fmla="*/ 1284897 w 9144000"/>
                <a:gd name="connsiteY740" fmla="*/ 3115830 h 5143500"/>
                <a:gd name="connsiteX741" fmla="*/ 2009304 w 9144000"/>
                <a:gd name="connsiteY741" fmla="*/ 2391381 h 5143500"/>
                <a:gd name="connsiteX742" fmla="*/ 2023938 w 9144000"/>
                <a:gd name="connsiteY742" fmla="*/ 2394578 h 5143500"/>
                <a:gd name="connsiteX743" fmla="*/ 2059106 w 9144000"/>
                <a:gd name="connsiteY743" fmla="*/ 2359407 h 5143500"/>
                <a:gd name="connsiteX744" fmla="*/ 2023938 w 9144000"/>
                <a:gd name="connsiteY744" fmla="*/ 2324359 h 5143500"/>
                <a:gd name="connsiteX745" fmla="*/ 1988892 w 9144000"/>
                <a:gd name="connsiteY745" fmla="*/ 2359407 h 5143500"/>
                <a:gd name="connsiteX746" fmla="*/ 1998852 w 9144000"/>
                <a:gd name="connsiteY746" fmla="*/ 2384125 h 5143500"/>
                <a:gd name="connsiteX747" fmla="*/ 1284897 w 9144000"/>
                <a:gd name="connsiteY747" fmla="*/ 3097998 h 5143500"/>
                <a:gd name="connsiteX748" fmla="*/ 2 w 9144000"/>
                <a:gd name="connsiteY748" fmla="*/ 3097998 h 5143500"/>
                <a:gd name="connsiteX749" fmla="*/ 2 w 9144000"/>
                <a:gd name="connsiteY749" fmla="*/ 3115830 h 5143500"/>
                <a:gd name="connsiteX750" fmla="*/ 2 w 9144000"/>
                <a:gd name="connsiteY750" fmla="*/ 3185772 h 5143500"/>
                <a:gd name="connsiteX751" fmla="*/ 1337689 w 9144000"/>
                <a:gd name="connsiteY751" fmla="*/ 3185772 h 5143500"/>
                <a:gd name="connsiteX752" fmla="*/ 2132384 w 9144000"/>
                <a:gd name="connsiteY752" fmla="*/ 2391359 h 5143500"/>
                <a:gd name="connsiteX753" fmla="*/ 2147016 w 9144000"/>
                <a:gd name="connsiteY753" fmla="*/ 2394555 h 5143500"/>
                <a:gd name="connsiteX754" fmla="*/ 2182182 w 9144000"/>
                <a:gd name="connsiteY754" fmla="*/ 2359395 h 5143500"/>
                <a:gd name="connsiteX755" fmla="*/ 2147016 w 9144000"/>
                <a:gd name="connsiteY755" fmla="*/ 2324359 h 5143500"/>
                <a:gd name="connsiteX756" fmla="*/ 2111358 w 9144000"/>
                <a:gd name="connsiteY756" fmla="*/ 2359395 h 5143500"/>
                <a:gd name="connsiteX757" fmla="*/ 2121933 w 9144000"/>
                <a:gd name="connsiteY757" fmla="*/ 2384106 h 5143500"/>
                <a:gd name="connsiteX758" fmla="*/ 1337689 w 9144000"/>
                <a:gd name="connsiteY758" fmla="*/ 3167946 h 5143500"/>
                <a:gd name="connsiteX759" fmla="*/ 2 w 9144000"/>
                <a:gd name="connsiteY759" fmla="*/ 3167946 h 5143500"/>
                <a:gd name="connsiteX760" fmla="*/ 2 w 9144000"/>
                <a:gd name="connsiteY760" fmla="*/ 3185772 h 5143500"/>
                <a:gd name="connsiteX761" fmla="*/ 1154880 w 9144000"/>
                <a:gd name="connsiteY761" fmla="*/ 3350991 h 5143500"/>
                <a:gd name="connsiteX762" fmla="*/ 1179588 w 9144000"/>
                <a:gd name="connsiteY762" fmla="*/ 3340785 h 5143500"/>
                <a:gd name="connsiteX763" fmla="*/ 1179588 w 9144000"/>
                <a:gd name="connsiteY763" fmla="*/ 3291133 h 5143500"/>
                <a:gd name="connsiteX764" fmla="*/ 1154880 w 9144000"/>
                <a:gd name="connsiteY764" fmla="*/ 3280927 h 5143500"/>
                <a:gd name="connsiteX765" fmla="*/ 1129803 w 9144000"/>
                <a:gd name="connsiteY765" fmla="*/ 3291133 h 5143500"/>
                <a:gd name="connsiteX766" fmla="*/ 1121936 w 9144000"/>
                <a:gd name="connsiteY766" fmla="*/ 3303638 h 5143500"/>
                <a:gd name="connsiteX767" fmla="*/ 2 w 9144000"/>
                <a:gd name="connsiteY767" fmla="*/ 3303638 h 5143500"/>
                <a:gd name="connsiteX768" fmla="*/ 2 w 9144000"/>
                <a:gd name="connsiteY768" fmla="*/ 3326686 h 5143500"/>
                <a:gd name="connsiteX769" fmla="*/ 10942 w 9144000"/>
                <a:gd name="connsiteY769" fmla="*/ 3316143 h 5143500"/>
                <a:gd name="connsiteX770" fmla="*/ 1119846 w 9144000"/>
                <a:gd name="connsiteY770" fmla="*/ 3316143 h 5143500"/>
                <a:gd name="connsiteX771" fmla="*/ 1129803 w 9144000"/>
                <a:gd name="connsiteY771" fmla="*/ 3340785 h 5143500"/>
                <a:gd name="connsiteX772" fmla="*/ 1154880 w 9144000"/>
                <a:gd name="connsiteY772" fmla="*/ 3350991 h 5143500"/>
                <a:gd name="connsiteX773" fmla="*/ 1067982 w 9144000"/>
                <a:gd name="connsiteY773" fmla="*/ 3437766 h 5143500"/>
                <a:gd name="connsiteX774" fmla="*/ 1092835 w 9144000"/>
                <a:gd name="connsiteY774" fmla="*/ 3427635 h 5143500"/>
                <a:gd name="connsiteX775" fmla="*/ 1092835 w 9144000"/>
                <a:gd name="connsiteY775" fmla="*/ 3377905 h 5143500"/>
                <a:gd name="connsiteX776" fmla="*/ 1067982 w 9144000"/>
                <a:gd name="connsiteY776" fmla="*/ 3367682 h 5143500"/>
                <a:gd name="connsiteX777" fmla="*/ 1043036 w 9144000"/>
                <a:gd name="connsiteY777" fmla="*/ 3377905 h 5143500"/>
                <a:gd name="connsiteX778" fmla="*/ 1035168 w 9144000"/>
                <a:gd name="connsiteY778" fmla="*/ 3390429 h 5143500"/>
                <a:gd name="connsiteX779" fmla="*/ 10946 w 9144000"/>
                <a:gd name="connsiteY779" fmla="*/ 3390429 h 5143500"/>
                <a:gd name="connsiteX780" fmla="*/ 2 w 9144000"/>
                <a:gd name="connsiteY780" fmla="*/ 3400867 h 5143500"/>
                <a:gd name="connsiteX781" fmla="*/ 2 w 9144000"/>
                <a:gd name="connsiteY781" fmla="*/ 3426039 h 5143500"/>
                <a:gd name="connsiteX782" fmla="*/ 23610 w 9144000"/>
                <a:gd name="connsiteY782" fmla="*/ 3402954 h 5143500"/>
                <a:gd name="connsiteX783" fmla="*/ 1033078 w 9144000"/>
                <a:gd name="connsiteY783" fmla="*/ 3402954 h 5143500"/>
                <a:gd name="connsiteX784" fmla="*/ 1043036 w 9144000"/>
                <a:gd name="connsiteY784" fmla="*/ 3427635 h 5143500"/>
                <a:gd name="connsiteX785" fmla="*/ 1067982 w 9144000"/>
                <a:gd name="connsiteY785" fmla="*/ 3437766 h 5143500"/>
                <a:gd name="connsiteX786" fmla="*/ 2 w 9144000"/>
                <a:gd name="connsiteY786" fmla="*/ 3525861 h 5143500"/>
                <a:gd name="connsiteX787" fmla="*/ 35665 w 9144000"/>
                <a:gd name="connsiteY787" fmla="*/ 3490308 h 5143500"/>
                <a:gd name="connsiteX788" fmla="*/ 946314 w 9144000"/>
                <a:gd name="connsiteY788" fmla="*/ 3490308 h 5143500"/>
                <a:gd name="connsiteX789" fmla="*/ 956275 w 9144000"/>
                <a:gd name="connsiteY789" fmla="*/ 3514827 h 5143500"/>
                <a:gd name="connsiteX790" fmla="*/ 1006082 w 9144000"/>
                <a:gd name="connsiteY790" fmla="*/ 3514827 h 5143500"/>
                <a:gd name="connsiteX791" fmla="*/ 1006082 w 9144000"/>
                <a:gd name="connsiteY791" fmla="*/ 3465175 h 5143500"/>
                <a:gd name="connsiteX792" fmla="*/ 981179 w 9144000"/>
                <a:gd name="connsiteY792" fmla="*/ 3454969 h 5143500"/>
                <a:gd name="connsiteX793" fmla="*/ 956275 w 9144000"/>
                <a:gd name="connsiteY793" fmla="*/ 3465175 h 5143500"/>
                <a:gd name="connsiteX794" fmla="*/ 948405 w 9144000"/>
                <a:gd name="connsiteY794" fmla="*/ 3477680 h 5143500"/>
                <a:gd name="connsiteX795" fmla="*/ 23614 w 9144000"/>
                <a:gd name="connsiteY795" fmla="*/ 3477680 h 5143500"/>
                <a:gd name="connsiteX796" fmla="*/ 2 w 9144000"/>
                <a:gd name="connsiteY796" fmla="*/ 3500728 h 5143500"/>
                <a:gd name="connsiteX797" fmla="*/ 2 w 9144000"/>
                <a:gd name="connsiteY797" fmla="*/ 3525861 h 5143500"/>
                <a:gd name="connsiteX798" fmla="*/ 8575308 w 9144000"/>
                <a:gd name="connsiteY798" fmla="*/ 3538083 h 5143500"/>
                <a:gd name="connsiteX799" fmla="*/ 8609382 w 9144000"/>
                <a:gd name="connsiteY799" fmla="*/ 3510727 h 5143500"/>
                <a:gd name="connsiteX800" fmla="*/ 8927125 w 9144000"/>
                <a:gd name="connsiteY800" fmla="*/ 3510727 h 5143500"/>
                <a:gd name="connsiteX801" fmla="*/ 8927125 w 9144000"/>
                <a:gd name="connsiteY801" fmla="*/ 3493475 h 5143500"/>
                <a:gd name="connsiteX802" fmla="*/ 8608890 w 9144000"/>
                <a:gd name="connsiteY802" fmla="*/ 3493475 h 5143500"/>
                <a:gd name="connsiteX803" fmla="*/ 8575308 w 9144000"/>
                <a:gd name="connsiteY803" fmla="*/ 3467721 h 5143500"/>
                <a:gd name="connsiteX804" fmla="*/ 8540126 w 9144000"/>
                <a:gd name="connsiteY804" fmla="*/ 3502840 h 5143500"/>
                <a:gd name="connsiteX805" fmla="*/ 8575308 w 9144000"/>
                <a:gd name="connsiteY805" fmla="*/ 3538083 h 5143500"/>
                <a:gd name="connsiteX806" fmla="*/ 2 w 9144000"/>
                <a:gd name="connsiteY806" fmla="*/ 3625486 h 5143500"/>
                <a:gd name="connsiteX807" fmla="*/ 48197 w 9144000"/>
                <a:gd name="connsiteY807" fmla="*/ 3577223 h 5143500"/>
                <a:gd name="connsiteX808" fmla="*/ 858549 w 9144000"/>
                <a:gd name="connsiteY808" fmla="*/ 3577223 h 5143500"/>
                <a:gd name="connsiteX809" fmla="*/ 869000 w 9144000"/>
                <a:gd name="connsiteY809" fmla="*/ 3601847 h 5143500"/>
                <a:gd name="connsiteX810" fmla="*/ 918793 w 9144000"/>
                <a:gd name="connsiteY810" fmla="*/ 3601847 h 5143500"/>
                <a:gd name="connsiteX811" fmla="*/ 918793 w 9144000"/>
                <a:gd name="connsiteY811" fmla="*/ 3551984 h 5143500"/>
                <a:gd name="connsiteX812" fmla="*/ 893896 w 9144000"/>
                <a:gd name="connsiteY812" fmla="*/ 3541734 h 5143500"/>
                <a:gd name="connsiteX813" fmla="*/ 869000 w 9144000"/>
                <a:gd name="connsiteY813" fmla="*/ 3551984 h 5143500"/>
                <a:gd name="connsiteX814" fmla="*/ 861131 w 9144000"/>
                <a:gd name="connsiteY814" fmla="*/ 3564542 h 5143500"/>
                <a:gd name="connsiteX815" fmla="*/ 35657 w 9144000"/>
                <a:gd name="connsiteY815" fmla="*/ 3564542 h 5143500"/>
                <a:gd name="connsiteX816" fmla="*/ 2 w 9144000"/>
                <a:gd name="connsiteY816" fmla="*/ 3600246 h 5143500"/>
                <a:gd name="connsiteX817" fmla="*/ 2 w 9144000"/>
                <a:gd name="connsiteY817" fmla="*/ 3625486 h 5143500"/>
                <a:gd name="connsiteX818" fmla="*/ 7296271 w 9144000"/>
                <a:gd name="connsiteY818" fmla="*/ 3675798 h 5143500"/>
                <a:gd name="connsiteX819" fmla="*/ 7331314 w 9144000"/>
                <a:gd name="connsiteY819" fmla="*/ 3640767 h 5143500"/>
                <a:gd name="connsiteX820" fmla="*/ 7321355 w 9144000"/>
                <a:gd name="connsiteY820" fmla="*/ 3615568 h 5143500"/>
                <a:gd name="connsiteX821" fmla="*/ 8105576 w 9144000"/>
                <a:gd name="connsiteY821" fmla="*/ 2831717 h 5143500"/>
                <a:gd name="connsiteX822" fmla="*/ 9143458 w 9144000"/>
                <a:gd name="connsiteY822" fmla="*/ 2831717 h 5143500"/>
                <a:gd name="connsiteX823" fmla="*/ 9143458 w 9144000"/>
                <a:gd name="connsiteY823" fmla="*/ 2814385 h 5143500"/>
                <a:gd name="connsiteX824" fmla="*/ 8105576 w 9144000"/>
                <a:gd name="connsiteY824" fmla="*/ 2814385 h 5143500"/>
                <a:gd name="connsiteX825" fmla="*/ 7310903 w 9144000"/>
                <a:gd name="connsiteY825" fmla="*/ 3608808 h 5143500"/>
                <a:gd name="connsiteX826" fmla="*/ 7296271 w 9144000"/>
                <a:gd name="connsiteY826" fmla="*/ 3605612 h 5143500"/>
                <a:gd name="connsiteX827" fmla="*/ 7261106 w 9144000"/>
                <a:gd name="connsiteY827" fmla="*/ 3640767 h 5143500"/>
                <a:gd name="connsiteX828" fmla="*/ 7296271 w 9144000"/>
                <a:gd name="connsiteY828" fmla="*/ 3675798 h 5143500"/>
                <a:gd name="connsiteX829" fmla="*/ 7665916 w 9144000"/>
                <a:gd name="connsiteY829" fmla="*/ 3676340 h 5143500"/>
                <a:gd name="connsiteX830" fmla="*/ 7701078 w 9144000"/>
                <a:gd name="connsiteY830" fmla="*/ 3641292 h 5143500"/>
                <a:gd name="connsiteX831" fmla="*/ 7690628 w 9144000"/>
                <a:gd name="connsiteY831" fmla="*/ 3616081 h 5143500"/>
                <a:gd name="connsiteX832" fmla="*/ 8263916 w 9144000"/>
                <a:gd name="connsiteY832" fmla="*/ 3043128 h 5143500"/>
                <a:gd name="connsiteX833" fmla="*/ 9143458 w 9144000"/>
                <a:gd name="connsiteY833" fmla="*/ 3043128 h 5143500"/>
                <a:gd name="connsiteX834" fmla="*/ 9143458 w 9144000"/>
                <a:gd name="connsiteY834" fmla="*/ 3025296 h 5143500"/>
                <a:gd name="connsiteX835" fmla="*/ 8263916 w 9144000"/>
                <a:gd name="connsiteY835" fmla="*/ 3025296 h 5143500"/>
                <a:gd name="connsiteX836" fmla="*/ 7680670 w 9144000"/>
                <a:gd name="connsiteY836" fmla="*/ 3609318 h 5143500"/>
                <a:gd name="connsiteX837" fmla="*/ 7665916 w 9144000"/>
                <a:gd name="connsiteY837" fmla="*/ 3606120 h 5143500"/>
                <a:gd name="connsiteX838" fmla="*/ 7630878 w 9144000"/>
                <a:gd name="connsiteY838" fmla="*/ 3641292 h 5143500"/>
                <a:gd name="connsiteX839" fmla="*/ 7665916 w 9144000"/>
                <a:gd name="connsiteY839" fmla="*/ 3676340 h 5143500"/>
                <a:gd name="connsiteX840" fmla="*/ 7542837 w 9144000"/>
                <a:gd name="connsiteY840" fmla="*/ 3676340 h 5143500"/>
                <a:gd name="connsiteX841" fmla="*/ 7577997 w 9144000"/>
                <a:gd name="connsiteY841" fmla="*/ 3641306 h 5143500"/>
                <a:gd name="connsiteX842" fmla="*/ 7567547 w 9144000"/>
                <a:gd name="connsiteY842" fmla="*/ 3616105 h 5143500"/>
                <a:gd name="connsiteX843" fmla="*/ 8211115 w 9144000"/>
                <a:gd name="connsiteY843" fmla="*/ 2973056 h 5143500"/>
                <a:gd name="connsiteX844" fmla="*/ 9143458 w 9144000"/>
                <a:gd name="connsiteY844" fmla="*/ 2973056 h 5143500"/>
                <a:gd name="connsiteX845" fmla="*/ 9143458 w 9144000"/>
                <a:gd name="connsiteY845" fmla="*/ 2955354 h 5143500"/>
                <a:gd name="connsiteX846" fmla="*/ 8211115 w 9144000"/>
                <a:gd name="connsiteY846" fmla="*/ 2955354 h 5143500"/>
                <a:gd name="connsiteX847" fmla="*/ 7557589 w 9144000"/>
                <a:gd name="connsiteY847" fmla="*/ 3609343 h 5143500"/>
                <a:gd name="connsiteX848" fmla="*/ 7542837 w 9144000"/>
                <a:gd name="connsiteY848" fmla="*/ 3606147 h 5143500"/>
                <a:gd name="connsiteX849" fmla="*/ 7507801 w 9144000"/>
                <a:gd name="connsiteY849" fmla="*/ 3641306 h 5143500"/>
                <a:gd name="connsiteX850" fmla="*/ 7542837 w 9144000"/>
                <a:gd name="connsiteY850" fmla="*/ 3676340 h 5143500"/>
                <a:gd name="connsiteX851" fmla="*/ 7419893 w 9144000"/>
                <a:gd name="connsiteY851" fmla="*/ 3676340 h 5143500"/>
                <a:gd name="connsiteX852" fmla="*/ 7454938 w 9144000"/>
                <a:gd name="connsiteY852" fmla="*/ 3641298 h 5143500"/>
                <a:gd name="connsiteX853" fmla="*/ 7444978 w 9144000"/>
                <a:gd name="connsiteY853" fmla="*/ 3616092 h 5143500"/>
                <a:gd name="connsiteX854" fmla="*/ 8158427 w 9144000"/>
                <a:gd name="connsiteY854" fmla="*/ 2902207 h 5143500"/>
                <a:gd name="connsiteX855" fmla="*/ 9144000 w 9144000"/>
                <a:gd name="connsiteY855" fmla="*/ 2902207 h 5143500"/>
                <a:gd name="connsiteX856" fmla="*/ 9144000 w 9144000"/>
                <a:gd name="connsiteY856" fmla="*/ 2884870 h 5143500"/>
                <a:gd name="connsiteX857" fmla="*/ 8158427 w 9144000"/>
                <a:gd name="connsiteY857" fmla="*/ 2884870 h 5143500"/>
                <a:gd name="connsiteX858" fmla="*/ 7434526 w 9144000"/>
                <a:gd name="connsiteY858" fmla="*/ 3609329 h 5143500"/>
                <a:gd name="connsiteX859" fmla="*/ 7419893 w 9144000"/>
                <a:gd name="connsiteY859" fmla="*/ 3606132 h 5143500"/>
                <a:gd name="connsiteX860" fmla="*/ 7384724 w 9144000"/>
                <a:gd name="connsiteY860" fmla="*/ 3641298 h 5143500"/>
                <a:gd name="connsiteX861" fmla="*/ 7419893 w 9144000"/>
                <a:gd name="connsiteY861" fmla="*/ 3676340 h 5143500"/>
                <a:gd name="connsiteX862" fmla="*/ 6909687 w 9144000"/>
                <a:gd name="connsiteY862" fmla="*/ 3764175 h 5143500"/>
                <a:gd name="connsiteX863" fmla="*/ 6943743 w 9144000"/>
                <a:gd name="connsiteY863" fmla="*/ 3736396 h 5143500"/>
                <a:gd name="connsiteX864" fmla="*/ 7701078 w 9144000"/>
                <a:gd name="connsiteY864" fmla="*/ 3736396 h 5143500"/>
                <a:gd name="connsiteX865" fmla="*/ 8316413 w 9144000"/>
                <a:gd name="connsiteY865" fmla="*/ 3121194 h 5143500"/>
                <a:gd name="connsiteX866" fmla="*/ 9143458 w 9144000"/>
                <a:gd name="connsiteY866" fmla="*/ 3121194 h 5143500"/>
                <a:gd name="connsiteX867" fmla="*/ 9143458 w 9144000"/>
                <a:gd name="connsiteY867" fmla="*/ 3103371 h 5143500"/>
                <a:gd name="connsiteX868" fmla="*/ 8316413 w 9144000"/>
                <a:gd name="connsiteY868" fmla="*/ 3103371 h 5143500"/>
                <a:gd name="connsiteX869" fmla="*/ 7701078 w 9144000"/>
                <a:gd name="connsiteY869" fmla="*/ 3719064 h 5143500"/>
                <a:gd name="connsiteX870" fmla="*/ 6943128 w 9144000"/>
                <a:gd name="connsiteY870" fmla="*/ 3719064 h 5143500"/>
                <a:gd name="connsiteX871" fmla="*/ 6909687 w 9144000"/>
                <a:gd name="connsiteY871" fmla="*/ 3693375 h 5143500"/>
                <a:gd name="connsiteX872" fmla="*/ 6874526 w 9144000"/>
                <a:gd name="connsiteY872" fmla="*/ 3729021 h 5143500"/>
                <a:gd name="connsiteX873" fmla="*/ 6909687 w 9144000"/>
                <a:gd name="connsiteY873" fmla="*/ 3764175 h 5143500"/>
                <a:gd name="connsiteX874" fmla="*/ 6909687 w 9144000"/>
                <a:gd name="connsiteY874" fmla="*/ 3887794 h 5143500"/>
                <a:gd name="connsiteX875" fmla="*/ 6943743 w 9144000"/>
                <a:gd name="connsiteY875" fmla="*/ 3859998 h 5143500"/>
                <a:gd name="connsiteX876" fmla="*/ 7665916 w 9144000"/>
                <a:gd name="connsiteY876" fmla="*/ 3859998 h 5143500"/>
                <a:gd name="connsiteX877" fmla="*/ 8352067 w 9144000"/>
                <a:gd name="connsiteY877" fmla="*/ 3174216 h 5143500"/>
                <a:gd name="connsiteX878" fmla="*/ 9143458 w 9144000"/>
                <a:gd name="connsiteY878" fmla="*/ 3174216 h 5143500"/>
                <a:gd name="connsiteX879" fmla="*/ 9143458 w 9144000"/>
                <a:gd name="connsiteY879" fmla="*/ 3156506 h 5143500"/>
                <a:gd name="connsiteX880" fmla="*/ 8352067 w 9144000"/>
                <a:gd name="connsiteY880" fmla="*/ 3156506 h 5143500"/>
                <a:gd name="connsiteX881" fmla="*/ 7665916 w 9144000"/>
                <a:gd name="connsiteY881" fmla="*/ 3842780 h 5143500"/>
                <a:gd name="connsiteX882" fmla="*/ 6943128 w 9144000"/>
                <a:gd name="connsiteY882" fmla="*/ 3842780 h 5143500"/>
                <a:gd name="connsiteX883" fmla="*/ 6909687 w 9144000"/>
                <a:gd name="connsiteY883" fmla="*/ 3817075 h 5143500"/>
                <a:gd name="connsiteX884" fmla="*/ 6874526 w 9144000"/>
                <a:gd name="connsiteY884" fmla="*/ 3852250 h 5143500"/>
                <a:gd name="connsiteX885" fmla="*/ 6909687 w 9144000"/>
                <a:gd name="connsiteY885" fmla="*/ 3887794 h 5143500"/>
                <a:gd name="connsiteX886" fmla="*/ 8562694 w 9144000"/>
                <a:gd name="connsiteY886" fmla="*/ 3905143 h 5143500"/>
                <a:gd name="connsiteX887" fmla="*/ 8597362 w 9144000"/>
                <a:gd name="connsiteY887" fmla="*/ 3877788 h 5143500"/>
                <a:gd name="connsiteX888" fmla="*/ 9143458 w 9144000"/>
                <a:gd name="connsiteY888" fmla="*/ 3877788 h 5143500"/>
                <a:gd name="connsiteX889" fmla="*/ 9143458 w 9144000"/>
                <a:gd name="connsiteY889" fmla="*/ 3859920 h 5143500"/>
                <a:gd name="connsiteX890" fmla="*/ 8596748 w 9144000"/>
                <a:gd name="connsiteY890" fmla="*/ 3859920 h 5143500"/>
                <a:gd name="connsiteX891" fmla="*/ 8562694 w 9144000"/>
                <a:gd name="connsiteY891" fmla="*/ 3834782 h 5143500"/>
                <a:gd name="connsiteX892" fmla="*/ 8527656 w 9144000"/>
                <a:gd name="connsiteY892" fmla="*/ 3869901 h 5143500"/>
                <a:gd name="connsiteX893" fmla="*/ 8562694 w 9144000"/>
                <a:gd name="connsiteY893" fmla="*/ 3905143 h 5143500"/>
                <a:gd name="connsiteX894" fmla="*/ 8562694 w 9144000"/>
                <a:gd name="connsiteY894" fmla="*/ 4028220 h 5143500"/>
                <a:gd name="connsiteX895" fmla="*/ 8597362 w 9144000"/>
                <a:gd name="connsiteY895" fmla="*/ 4000864 h 5143500"/>
                <a:gd name="connsiteX896" fmla="*/ 9143458 w 9144000"/>
                <a:gd name="connsiteY896" fmla="*/ 4000864 h 5143500"/>
                <a:gd name="connsiteX897" fmla="*/ 9143458 w 9144000"/>
                <a:gd name="connsiteY897" fmla="*/ 3982997 h 5143500"/>
                <a:gd name="connsiteX898" fmla="*/ 8596748 w 9144000"/>
                <a:gd name="connsiteY898" fmla="*/ 3982997 h 5143500"/>
                <a:gd name="connsiteX899" fmla="*/ 8562694 w 9144000"/>
                <a:gd name="connsiteY899" fmla="*/ 3957859 h 5143500"/>
                <a:gd name="connsiteX900" fmla="*/ 8527656 w 9144000"/>
                <a:gd name="connsiteY900" fmla="*/ 3992978 h 5143500"/>
                <a:gd name="connsiteX901" fmla="*/ 8562694 w 9144000"/>
                <a:gd name="connsiteY901" fmla="*/ 4028220 h 5143500"/>
                <a:gd name="connsiteX902" fmla="*/ 7665916 w 9144000"/>
                <a:gd name="connsiteY902" fmla="*/ 4116055 h 5143500"/>
                <a:gd name="connsiteX903" fmla="*/ 7701078 w 9144000"/>
                <a:gd name="connsiteY903" fmla="*/ 4080879 h 5143500"/>
                <a:gd name="connsiteX904" fmla="*/ 7690628 w 9144000"/>
                <a:gd name="connsiteY904" fmla="*/ 4055789 h 5143500"/>
                <a:gd name="connsiteX905" fmla="*/ 8316413 w 9144000"/>
                <a:gd name="connsiteY905" fmla="*/ 3429760 h 5143500"/>
                <a:gd name="connsiteX906" fmla="*/ 9143458 w 9144000"/>
                <a:gd name="connsiteY906" fmla="*/ 3429760 h 5143500"/>
                <a:gd name="connsiteX907" fmla="*/ 9143458 w 9144000"/>
                <a:gd name="connsiteY907" fmla="*/ 3412418 h 5143500"/>
                <a:gd name="connsiteX908" fmla="*/ 8316413 w 9144000"/>
                <a:gd name="connsiteY908" fmla="*/ 3412418 h 5143500"/>
                <a:gd name="connsiteX909" fmla="*/ 7680670 w 9144000"/>
                <a:gd name="connsiteY909" fmla="*/ 4048409 h 5143500"/>
                <a:gd name="connsiteX910" fmla="*/ 7665916 w 9144000"/>
                <a:gd name="connsiteY910" fmla="*/ 4045334 h 5143500"/>
                <a:gd name="connsiteX911" fmla="*/ 7630878 w 9144000"/>
                <a:gd name="connsiteY911" fmla="*/ 4080879 h 5143500"/>
                <a:gd name="connsiteX912" fmla="*/ 7665916 w 9144000"/>
                <a:gd name="connsiteY912" fmla="*/ 4116055 h 5143500"/>
                <a:gd name="connsiteX913" fmla="*/ 7050114 w 9144000"/>
                <a:gd name="connsiteY913" fmla="*/ 4133405 h 5143500"/>
                <a:gd name="connsiteX914" fmla="*/ 7085767 w 9144000"/>
                <a:gd name="connsiteY914" fmla="*/ 4098243 h 5143500"/>
                <a:gd name="connsiteX915" fmla="*/ 7075317 w 9144000"/>
                <a:gd name="connsiteY915" fmla="*/ 4073655 h 5143500"/>
                <a:gd name="connsiteX916" fmla="*/ 7244117 w 9144000"/>
                <a:gd name="connsiteY916" fmla="*/ 3904856 h 5143500"/>
                <a:gd name="connsiteX917" fmla="*/ 7665933 w 9144000"/>
                <a:gd name="connsiteY917" fmla="*/ 3904856 h 5143500"/>
                <a:gd name="connsiteX918" fmla="*/ 8352076 w 9144000"/>
                <a:gd name="connsiteY918" fmla="*/ 3218842 h 5143500"/>
                <a:gd name="connsiteX919" fmla="*/ 9143458 w 9144000"/>
                <a:gd name="connsiteY919" fmla="*/ 3218842 h 5143500"/>
                <a:gd name="connsiteX920" fmla="*/ 9143458 w 9144000"/>
                <a:gd name="connsiteY920" fmla="*/ 3201507 h 5143500"/>
                <a:gd name="connsiteX921" fmla="*/ 8352076 w 9144000"/>
                <a:gd name="connsiteY921" fmla="*/ 3201507 h 5143500"/>
                <a:gd name="connsiteX922" fmla="*/ 7665933 w 9144000"/>
                <a:gd name="connsiteY922" fmla="*/ 3887521 h 5143500"/>
                <a:gd name="connsiteX923" fmla="*/ 7244117 w 9144000"/>
                <a:gd name="connsiteY923" fmla="*/ 3887521 h 5143500"/>
                <a:gd name="connsiteX924" fmla="*/ 7064744 w 9144000"/>
                <a:gd name="connsiteY924" fmla="*/ 4066279 h 5143500"/>
                <a:gd name="connsiteX925" fmla="*/ 7050114 w 9144000"/>
                <a:gd name="connsiteY925" fmla="*/ 4063082 h 5143500"/>
                <a:gd name="connsiteX926" fmla="*/ 7014952 w 9144000"/>
                <a:gd name="connsiteY926" fmla="*/ 4098243 h 5143500"/>
                <a:gd name="connsiteX927" fmla="*/ 7050114 w 9144000"/>
                <a:gd name="connsiteY927" fmla="*/ 4133405 h 5143500"/>
                <a:gd name="connsiteX928" fmla="*/ 8562694 w 9144000"/>
                <a:gd name="connsiteY928" fmla="*/ 4151297 h 5143500"/>
                <a:gd name="connsiteX929" fmla="*/ 8597362 w 9144000"/>
                <a:gd name="connsiteY929" fmla="*/ 4123989 h 5143500"/>
                <a:gd name="connsiteX930" fmla="*/ 9143458 w 9144000"/>
                <a:gd name="connsiteY930" fmla="*/ 4123989 h 5143500"/>
                <a:gd name="connsiteX931" fmla="*/ 9143458 w 9144000"/>
                <a:gd name="connsiteY931" fmla="*/ 4106152 h 5143500"/>
                <a:gd name="connsiteX932" fmla="*/ 8596748 w 9144000"/>
                <a:gd name="connsiteY932" fmla="*/ 4106152 h 5143500"/>
                <a:gd name="connsiteX933" fmla="*/ 8562694 w 9144000"/>
                <a:gd name="connsiteY933" fmla="*/ 4080935 h 5143500"/>
                <a:gd name="connsiteX934" fmla="*/ 8527656 w 9144000"/>
                <a:gd name="connsiteY934" fmla="*/ 4116116 h 5143500"/>
                <a:gd name="connsiteX935" fmla="*/ 8562694 w 9144000"/>
                <a:gd name="connsiteY935" fmla="*/ 4151297 h 5143500"/>
                <a:gd name="connsiteX936" fmla="*/ 7155722 w 9144000"/>
                <a:gd name="connsiteY936" fmla="*/ 4221239 h 5143500"/>
                <a:gd name="connsiteX937" fmla="*/ 7190888 w 9144000"/>
                <a:gd name="connsiteY937" fmla="*/ 4186081 h 5143500"/>
                <a:gd name="connsiteX938" fmla="*/ 7180436 w 9144000"/>
                <a:gd name="connsiteY938" fmla="*/ 4161003 h 5143500"/>
                <a:gd name="connsiteX939" fmla="*/ 7366471 w 9144000"/>
                <a:gd name="connsiteY939" fmla="*/ 3974886 h 5143500"/>
                <a:gd name="connsiteX940" fmla="*/ 7665751 w 9144000"/>
                <a:gd name="connsiteY940" fmla="*/ 3974886 h 5143500"/>
                <a:gd name="connsiteX941" fmla="*/ 8298984 w 9144000"/>
                <a:gd name="connsiteY941" fmla="*/ 3341917 h 5143500"/>
                <a:gd name="connsiteX942" fmla="*/ 9143458 w 9144000"/>
                <a:gd name="connsiteY942" fmla="*/ 3341917 h 5143500"/>
                <a:gd name="connsiteX943" fmla="*/ 9143458 w 9144000"/>
                <a:gd name="connsiteY943" fmla="*/ 3324584 h 5143500"/>
                <a:gd name="connsiteX944" fmla="*/ 8298984 w 9144000"/>
                <a:gd name="connsiteY944" fmla="*/ 3324584 h 5143500"/>
                <a:gd name="connsiteX945" fmla="*/ 7665751 w 9144000"/>
                <a:gd name="connsiteY945" fmla="*/ 3957676 h 5143500"/>
                <a:gd name="connsiteX946" fmla="*/ 7366471 w 9144000"/>
                <a:gd name="connsiteY946" fmla="*/ 3957676 h 5143500"/>
                <a:gd name="connsiteX947" fmla="*/ 7169862 w 9144000"/>
                <a:gd name="connsiteY947" fmla="*/ 4154119 h 5143500"/>
                <a:gd name="connsiteX948" fmla="*/ 7155722 w 9144000"/>
                <a:gd name="connsiteY948" fmla="*/ 4151046 h 5143500"/>
                <a:gd name="connsiteX949" fmla="*/ 7120679 w 9144000"/>
                <a:gd name="connsiteY949" fmla="*/ 4186081 h 5143500"/>
                <a:gd name="connsiteX950" fmla="*/ 7155722 w 9144000"/>
                <a:gd name="connsiteY950" fmla="*/ 4221239 h 5143500"/>
                <a:gd name="connsiteX951" fmla="*/ 8562694 w 9144000"/>
                <a:gd name="connsiteY951" fmla="*/ 4274374 h 5143500"/>
                <a:gd name="connsiteX952" fmla="*/ 8597362 w 9144000"/>
                <a:gd name="connsiteY952" fmla="*/ 4247046 h 5143500"/>
                <a:gd name="connsiteX953" fmla="*/ 9143458 w 9144000"/>
                <a:gd name="connsiteY953" fmla="*/ 4247046 h 5143500"/>
                <a:gd name="connsiteX954" fmla="*/ 9143458 w 9144000"/>
                <a:gd name="connsiteY954" fmla="*/ 4229197 h 5143500"/>
                <a:gd name="connsiteX955" fmla="*/ 8596748 w 9144000"/>
                <a:gd name="connsiteY955" fmla="*/ 4229197 h 5143500"/>
                <a:gd name="connsiteX956" fmla="*/ 8562694 w 9144000"/>
                <a:gd name="connsiteY956" fmla="*/ 4203470 h 5143500"/>
                <a:gd name="connsiteX957" fmla="*/ 8527656 w 9144000"/>
                <a:gd name="connsiteY957" fmla="*/ 4239168 h 5143500"/>
                <a:gd name="connsiteX958" fmla="*/ 8562694 w 9144000"/>
                <a:gd name="connsiteY958" fmla="*/ 4274374 h 5143500"/>
                <a:gd name="connsiteX959" fmla="*/ 7684086 w 9144000"/>
                <a:gd name="connsiteY959" fmla="*/ 4326966 h 5143500"/>
                <a:gd name="connsiteX960" fmla="*/ 8176299 w 9144000"/>
                <a:gd name="connsiteY960" fmla="*/ 3834629 h 5143500"/>
                <a:gd name="connsiteX961" fmla="*/ 8176299 w 9144000"/>
                <a:gd name="connsiteY961" fmla="*/ 3641163 h 5143500"/>
                <a:gd name="connsiteX962" fmla="*/ 9144000 w 9144000"/>
                <a:gd name="connsiteY962" fmla="*/ 3641163 h 5143500"/>
                <a:gd name="connsiteX963" fmla="*/ 9144000 w 9144000"/>
                <a:gd name="connsiteY963" fmla="*/ 3623329 h 5143500"/>
                <a:gd name="connsiteX964" fmla="*/ 8158469 w 9144000"/>
                <a:gd name="connsiteY964" fmla="*/ 3623329 h 5143500"/>
                <a:gd name="connsiteX965" fmla="*/ 8158469 w 9144000"/>
                <a:gd name="connsiteY965" fmla="*/ 3834629 h 5143500"/>
                <a:gd name="connsiteX966" fmla="*/ 7684086 w 9144000"/>
                <a:gd name="connsiteY966" fmla="*/ 4309624 h 5143500"/>
                <a:gd name="connsiteX967" fmla="*/ 7480217 w 9144000"/>
                <a:gd name="connsiteY967" fmla="*/ 4105703 h 5143500"/>
                <a:gd name="connsiteX968" fmla="*/ 7490177 w 9144000"/>
                <a:gd name="connsiteY968" fmla="*/ 4080982 h 5143500"/>
                <a:gd name="connsiteX969" fmla="*/ 7455010 w 9144000"/>
                <a:gd name="connsiteY969" fmla="*/ 4045437 h 5143500"/>
                <a:gd name="connsiteX970" fmla="*/ 7419966 w 9144000"/>
                <a:gd name="connsiteY970" fmla="*/ 4080982 h 5143500"/>
                <a:gd name="connsiteX971" fmla="*/ 7455010 w 9144000"/>
                <a:gd name="connsiteY971" fmla="*/ 4116158 h 5143500"/>
                <a:gd name="connsiteX972" fmla="*/ 7469765 w 9144000"/>
                <a:gd name="connsiteY972" fmla="*/ 4112960 h 5143500"/>
                <a:gd name="connsiteX973" fmla="*/ 8562694 w 9144000"/>
                <a:gd name="connsiteY973" fmla="*/ 4397450 h 5143500"/>
                <a:gd name="connsiteX974" fmla="*/ 8597362 w 9144000"/>
                <a:gd name="connsiteY974" fmla="*/ 4369582 h 5143500"/>
                <a:gd name="connsiteX975" fmla="*/ 9143458 w 9144000"/>
                <a:gd name="connsiteY975" fmla="*/ 4369582 h 5143500"/>
                <a:gd name="connsiteX976" fmla="*/ 9143458 w 9144000"/>
                <a:gd name="connsiteY976" fmla="*/ 4352318 h 5143500"/>
                <a:gd name="connsiteX977" fmla="*/ 8596748 w 9144000"/>
                <a:gd name="connsiteY977" fmla="*/ 4352318 h 5143500"/>
                <a:gd name="connsiteX978" fmla="*/ 8562694 w 9144000"/>
                <a:gd name="connsiteY978" fmla="*/ 4326547 h 5143500"/>
                <a:gd name="connsiteX979" fmla="*/ 8527656 w 9144000"/>
                <a:gd name="connsiteY979" fmla="*/ 4362306 h 5143500"/>
                <a:gd name="connsiteX980" fmla="*/ 8562694 w 9144000"/>
                <a:gd name="connsiteY980" fmla="*/ 4397450 h 5143500"/>
                <a:gd name="connsiteX981" fmla="*/ 7630831 w 9144000"/>
                <a:gd name="connsiteY981" fmla="*/ 4467934 h 5143500"/>
                <a:gd name="connsiteX982" fmla="*/ 8228849 w 9144000"/>
                <a:gd name="connsiteY982" fmla="*/ 3869795 h 5143500"/>
                <a:gd name="connsiteX983" fmla="*/ 8228849 w 9144000"/>
                <a:gd name="connsiteY983" fmla="*/ 3676399 h 5143500"/>
                <a:gd name="connsiteX984" fmla="*/ 9143458 w 9144000"/>
                <a:gd name="connsiteY984" fmla="*/ 3676399 h 5143500"/>
                <a:gd name="connsiteX985" fmla="*/ 9143458 w 9144000"/>
                <a:gd name="connsiteY985" fmla="*/ 3658571 h 5143500"/>
                <a:gd name="connsiteX986" fmla="*/ 8211021 w 9144000"/>
                <a:gd name="connsiteY986" fmla="*/ 3658571 h 5143500"/>
                <a:gd name="connsiteX987" fmla="*/ 8211021 w 9144000"/>
                <a:gd name="connsiteY987" fmla="*/ 3869795 h 5143500"/>
                <a:gd name="connsiteX988" fmla="*/ 7630831 w 9144000"/>
                <a:gd name="connsiteY988" fmla="*/ 4450107 h 5143500"/>
                <a:gd name="connsiteX989" fmla="*/ 7373993 w 9144000"/>
                <a:gd name="connsiteY989" fmla="*/ 4193762 h 5143500"/>
                <a:gd name="connsiteX990" fmla="*/ 7384443 w 9144000"/>
                <a:gd name="connsiteY990" fmla="*/ 4168557 h 5143500"/>
                <a:gd name="connsiteX991" fmla="*/ 7349280 w 9144000"/>
                <a:gd name="connsiteY991" fmla="*/ 4133517 h 5143500"/>
                <a:gd name="connsiteX992" fmla="*/ 7314240 w 9144000"/>
                <a:gd name="connsiteY992" fmla="*/ 4168557 h 5143500"/>
                <a:gd name="connsiteX993" fmla="*/ 7349280 w 9144000"/>
                <a:gd name="connsiteY993" fmla="*/ 4203720 h 5143500"/>
                <a:gd name="connsiteX994" fmla="*/ 7364034 w 9144000"/>
                <a:gd name="connsiteY994" fmla="*/ 4201139 h 5143500"/>
                <a:gd name="connsiteX995" fmla="*/ 8791634 w 9144000"/>
                <a:gd name="connsiteY995" fmla="*/ 4485284 h 5143500"/>
                <a:gd name="connsiteX996" fmla="*/ 8826194 w 9144000"/>
                <a:gd name="connsiteY996" fmla="*/ 4458051 h 5143500"/>
                <a:gd name="connsiteX997" fmla="*/ 9116696 w 9144000"/>
                <a:gd name="connsiteY997" fmla="*/ 4458051 h 5143500"/>
                <a:gd name="connsiteX998" fmla="*/ 9144000 w 9144000"/>
                <a:gd name="connsiteY998" fmla="*/ 4484791 h 5143500"/>
                <a:gd name="connsiteX999" fmla="*/ 9144000 w 9144000"/>
                <a:gd name="connsiteY999" fmla="*/ 4455341 h 5143500"/>
                <a:gd name="connsiteX1000" fmla="*/ 9142401 w 9144000"/>
                <a:gd name="connsiteY1000" fmla="*/ 4450165 h 5143500"/>
                <a:gd name="connsiteX1001" fmla="*/ 9144000 w 9144000"/>
                <a:gd name="connsiteY1001" fmla="*/ 4444866 h 5143500"/>
                <a:gd name="connsiteX1002" fmla="*/ 9144000 w 9144000"/>
                <a:gd name="connsiteY1002" fmla="*/ 4416032 h 5143500"/>
                <a:gd name="connsiteX1003" fmla="*/ 9117188 w 9144000"/>
                <a:gd name="connsiteY1003" fmla="*/ 4440677 h 5143500"/>
                <a:gd name="connsiteX1004" fmla="*/ 8825702 w 9144000"/>
                <a:gd name="connsiteY1004" fmla="*/ 4440677 h 5143500"/>
                <a:gd name="connsiteX1005" fmla="*/ 8791634 w 9144000"/>
                <a:gd name="connsiteY1005" fmla="*/ 4414923 h 5143500"/>
                <a:gd name="connsiteX1006" fmla="*/ 8756459 w 9144000"/>
                <a:gd name="connsiteY1006" fmla="*/ 4450165 h 5143500"/>
                <a:gd name="connsiteX1007" fmla="*/ 8791634 w 9144000"/>
                <a:gd name="connsiteY1007" fmla="*/ 4485284 h 5143500"/>
                <a:gd name="connsiteX1008" fmla="*/ 7578200 w 9144000"/>
                <a:gd name="connsiteY1008" fmla="*/ 4591011 h 5143500"/>
                <a:gd name="connsiteX1009" fmla="*/ 8264329 w 9144000"/>
                <a:gd name="connsiteY1009" fmla="*/ 3905020 h 5143500"/>
                <a:gd name="connsiteX1010" fmla="*/ 8264329 w 9144000"/>
                <a:gd name="connsiteY1010" fmla="*/ 3711640 h 5143500"/>
                <a:gd name="connsiteX1011" fmla="*/ 9144000 w 9144000"/>
                <a:gd name="connsiteY1011" fmla="*/ 3711640 h 5143500"/>
                <a:gd name="connsiteX1012" fmla="*/ 9144000 w 9144000"/>
                <a:gd name="connsiteY1012" fmla="*/ 3693813 h 5143500"/>
                <a:gd name="connsiteX1013" fmla="*/ 8246499 w 9144000"/>
                <a:gd name="connsiteY1013" fmla="*/ 3693813 h 5143500"/>
                <a:gd name="connsiteX1014" fmla="*/ 8246499 w 9144000"/>
                <a:gd name="connsiteY1014" fmla="*/ 3905020 h 5143500"/>
                <a:gd name="connsiteX1015" fmla="*/ 7578200 w 9144000"/>
                <a:gd name="connsiteY1015" fmla="*/ 4573185 h 5143500"/>
                <a:gd name="connsiteX1016" fmla="*/ 7286780 w 9144000"/>
                <a:gd name="connsiteY1016" fmla="*/ 4281824 h 5143500"/>
                <a:gd name="connsiteX1017" fmla="*/ 7296740 w 9144000"/>
                <a:gd name="connsiteY1017" fmla="*/ 4256744 h 5143500"/>
                <a:gd name="connsiteX1018" fmla="*/ 7261573 w 9144000"/>
                <a:gd name="connsiteY1018" fmla="*/ 4221584 h 5143500"/>
                <a:gd name="connsiteX1019" fmla="*/ 7226406 w 9144000"/>
                <a:gd name="connsiteY1019" fmla="*/ 4256744 h 5143500"/>
                <a:gd name="connsiteX1020" fmla="*/ 7261573 w 9144000"/>
                <a:gd name="connsiteY1020" fmla="*/ 4291781 h 5143500"/>
                <a:gd name="connsiteX1021" fmla="*/ 7276328 w 9144000"/>
                <a:gd name="connsiteY1021" fmla="*/ 4288708 h 5143500"/>
                <a:gd name="connsiteX1022" fmla="*/ 7261325 w 9144000"/>
                <a:gd name="connsiteY1022" fmla="*/ 4660953 h 5143500"/>
                <a:gd name="connsiteX1023" fmla="*/ 7648104 w 9144000"/>
                <a:gd name="connsiteY1023" fmla="*/ 4660953 h 5143500"/>
                <a:gd name="connsiteX1024" fmla="*/ 8404448 w 9144000"/>
                <a:gd name="connsiteY1024" fmla="*/ 3904616 h 5143500"/>
                <a:gd name="connsiteX1025" fmla="*/ 8404448 w 9144000"/>
                <a:gd name="connsiteY1025" fmla="*/ 3746390 h 5143500"/>
                <a:gd name="connsiteX1026" fmla="*/ 9143458 w 9144000"/>
                <a:gd name="connsiteY1026" fmla="*/ 3746390 h 5143500"/>
                <a:gd name="connsiteX1027" fmla="*/ 9143458 w 9144000"/>
                <a:gd name="connsiteY1027" fmla="*/ 3729056 h 5143500"/>
                <a:gd name="connsiteX1028" fmla="*/ 8387113 w 9144000"/>
                <a:gd name="connsiteY1028" fmla="*/ 3729056 h 5143500"/>
                <a:gd name="connsiteX1029" fmla="*/ 8387113 w 9144000"/>
                <a:gd name="connsiteY1029" fmla="*/ 3904616 h 5143500"/>
                <a:gd name="connsiteX1030" fmla="*/ 7648104 w 9144000"/>
                <a:gd name="connsiteY1030" fmla="*/ 4643127 h 5143500"/>
                <a:gd name="connsiteX1031" fmla="*/ 7261325 w 9144000"/>
                <a:gd name="connsiteY1031" fmla="*/ 4643127 h 5143500"/>
                <a:gd name="connsiteX1032" fmla="*/ 6944747 w 9144000"/>
                <a:gd name="connsiteY1032" fmla="*/ 4326552 h 5143500"/>
                <a:gd name="connsiteX1033" fmla="*/ 6786519 w 9144000"/>
                <a:gd name="connsiteY1033" fmla="*/ 4326552 h 5143500"/>
                <a:gd name="connsiteX1034" fmla="*/ 6653372 w 9144000"/>
                <a:gd name="connsiteY1034" fmla="*/ 4193406 h 5143500"/>
                <a:gd name="connsiteX1035" fmla="*/ 6663331 w 9144000"/>
                <a:gd name="connsiteY1035" fmla="*/ 4168203 h 5143500"/>
                <a:gd name="connsiteX1036" fmla="*/ 6628169 w 9144000"/>
                <a:gd name="connsiteY1036" fmla="*/ 4133165 h 5143500"/>
                <a:gd name="connsiteX1037" fmla="*/ 6593130 w 9144000"/>
                <a:gd name="connsiteY1037" fmla="*/ 4168203 h 5143500"/>
                <a:gd name="connsiteX1038" fmla="*/ 6628169 w 9144000"/>
                <a:gd name="connsiteY1038" fmla="*/ 4203365 h 5143500"/>
                <a:gd name="connsiteX1039" fmla="*/ 6642922 w 9144000"/>
                <a:gd name="connsiteY1039" fmla="*/ 4200783 h 5143500"/>
                <a:gd name="connsiteX1040" fmla="*/ 6786519 w 9144000"/>
                <a:gd name="connsiteY1040" fmla="*/ 4344378 h 5143500"/>
                <a:gd name="connsiteX1041" fmla="*/ 6944747 w 9144000"/>
                <a:gd name="connsiteY1041" fmla="*/ 4344378 h 5143500"/>
                <a:gd name="connsiteX1042" fmla="*/ 7244113 w 9144000"/>
                <a:gd name="connsiteY1042" fmla="*/ 4756921 h 5143500"/>
                <a:gd name="connsiteX1043" fmla="*/ 7630892 w 9144000"/>
                <a:gd name="connsiteY1043" fmla="*/ 4756921 h 5143500"/>
                <a:gd name="connsiteX1044" fmla="*/ 8474648 w 9144000"/>
                <a:gd name="connsiteY1044" fmla="*/ 3912443 h 5143500"/>
                <a:gd name="connsiteX1045" fmla="*/ 8474648 w 9144000"/>
                <a:gd name="connsiteY1045" fmla="*/ 3807067 h 5143500"/>
                <a:gd name="connsiteX1046" fmla="*/ 9143458 w 9144000"/>
                <a:gd name="connsiteY1046" fmla="*/ 3807067 h 5143500"/>
                <a:gd name="connsiteX1047" fmla="*/ 9143458 w 9144000"/>
                <a:gd name="connsiteY1047" fmla="*/ 3789238 h 5143500"/>
                <a:gd name="connsiteX1048" fmla="*/ 8457313 w 9144000"/>
                <a:gd name="connsiteY1048" fmla="*/ 3789238 h 5143500"/>
                <a:gd name="connsiteX1049" fmla="*/ 8457313 w 9144000"/>
                <a:gd name="connsiteY1049" fmla="*/ 3912443 h 5143500"/>
                <a:gd name="connsiteX1050" fmla="*/ 7630892 w 9144000"/>
                <a:gd name="connsiteY1050" fmla="*/ 4739092 h 5143500"/>
                <a:gd name="connsiteX1051" fmla="*/ 7244113 w 9144000"/>
                <a:gd name="connsiteY1051" fmla="*/ 4739092 h 5143500"/>
                <a:gd name="connsiteX1052" fmla="*/ 6909708 w 9144000"/>
                <a:gd name="connsiteY1052" fmla="*/ 4404645 h 5143500"/>
                <a:gd name="connsiteX1053" fmla="*/ 6662224 w 9144000"/>
                <a:gd name="connsiteY1053" fmla="*/ 4404645 h 5143500"/>
                <a:gd name="connsiteX1054" fmla="*/ 6628169 w 9144000"/>
                <a:gd name="connsiteY1054" fmla="*/ 4379438 h 5143500"/>
                <a:gd name="connsiteX1055" fmla="*/ 6593130 w 9144000"/>
                <a:gd name="connsiteY1055" fmla="*/ 4414605 h 5143500"/>
                <a:gd name="connsiteX1056" fmla="*/ 6628169 w 9144000"/>
                <a:gd name="connsiteY1056" fmla="*/ 4449771 h 5143500"/>
                <a:gd name="connsiteX1057" fmla="*/ 6662839 w 9144000"/>
                <a:gd name="connsiteY1057" fmla="*/ 4422474 h 5143500"/>
                <a:gd name="connsiteX1058" fmla="*/ 6909708 w 9144000"/>
                <a:gd name="connsiteY1058" fmla="*/ 4422474 h 5143500"/>
                <a:gd name="connsiteX1059" fmla="*/ 8123101 w 9144000"/>
                <a:gd name="connsiteY1059" fmla="*/ 4801380 h 5143500"/>
                <a:gd name="connsiteX1060" fmla="*/ 8158137 w 9144000"/>
                <a:gd name="connsiteY1060" fmla="*/ 4766225 h 5143500"/>
                <a:gd name="connsiteX1061" fmla="*/ 8148180 w 9144000"/>
                <a:gd name="connsiteY1061" fmla="*/ 4741642 h 5143500"/>
                <a:gd name="connsiteX1062" fmla="*/ 8228948 w 9144000"/>
                <a:gd name="connsiteY1062" fmla="*/ 4661007 h 5143500"/>
                <a:gd name="connsiteX1063" fmla="*/ 8492519 w 9144000"/>
                <a:gd name="connsiteY1063" fmla="*/ 4661007 h 5143500"/>
                <a:gd name="connsiteX1064" fmla="*/ 8580540 w 9144000"/>
                <a:gd name="connsiteY1064" fmla="*/ 4749017 h 5143500"/>
                <a:gd name="connsiteX1065" fmla="*/ 9143458 w 9144000"/>
                <a:gd name="connsiteY1065" fmla="*/ 4749017 h 5143500"/>
                <a:gd name="connsiteX1066" fmla="*/ 9143458 w 9144000"/>
                <a:gd name="connsiteY1066" fmla="*/ 4731194 h 5143500"/>
                <a:gd name="connsiteX1067" fmla="*/ 8580540 w 9144000"/>
                <a:gd name="connsiteY1067" fmla="*/ 4731194 h 5143500"/>
                <a:gd name="connsiteX1068" fmla="*/ 8492519 w 9144000"/>
                <a:gd name="connsiteY1068" fmla="*/ 4643184 h 5143500"/>
                <a:gd name="connsiteX1069" fmla="*/ 8228948 w 9144000"/>
                <a:gd name="connsiteY1069" fmla="*/ 4643184 h 5143500"/>
                <a:gd name="connsiteX1070" fmla="*/ 8137730 w 9144000"/>
                <a:gd name="connsiteY1070" fmla="*/ 4734267 h 5143500"/>
                <a:gd name="connsiteX1071" fmla="*/ 8123101 w 9144000"/>
                <a:gd name="connsiteY1071" fmla="*/ 4731194 h 5143500"/>
                <a:gd name="connsiteX1072" fmla="*/ 8087942 w 9144000"/>
                <a:gd name="connsiteY1072" fmla="*/ 4766225 h 5143500"/>
                <a:gd name="connsiteX1073" fmla="*/ 8123101 w 9144000"/>
                <a:gd name="connsiteY1073" fmla="*/ 4801380 h 5143500"/>
                <a:gd name="connsiteX1074" fmla="*/ 7877448 w 9144000"/>
                <a:gd name="connsiteY1074" fmla="*/ 4801380 h 5143500"/>
                <a:gd name="connsiteX1075" fmla="*/ 7912617 w 9144000"/>
                <a:gd name="connsiteY1075" fmla="*/ 4766234 h 5143500"/>
                <a:gd name="connsiteX1076" fmla="*/ 7902165 w 9144000"/>
                <a:gd name="connsiteY1076" fmla="*/ 4741656 h 5143500"/>
                <a:gd name="connsiteX1077" fmla="*/ 8123381 w 9144000"/>
                <a:gd name="connsiteY1077" fmla="*/ 4520085 h 5143500"/>
                <a:gd name="connsiteX1078" fmla="*/ 8563108 w 9144000"/>
                <a:gd name="connsiteY1078" fmla="*/ 4520085 h 5143500"/>
                <a:gd name="connsiteX1079" fmla="*/ 8686320 w 9144000"/>
                <a:gd name="connsiteY1079" fmla="*/ 4643221 h 5143500"/>
                <a:gd name="connsiteX1080" fmla="*/ 9144000 w 9144000"/>
                <a:gd name="connsiteY1080" fmla="*/ 4643221 h 5143500"/>
                <a:gd name="connsiteX1081" fmla="*/ 9144000 w 9144000"/>
                <a:gd name="connsiteY1081" fmla="*/ 4625893 h 5143500"/>
                <a:gd name="connsiteX1082" fmla="*/ 8686320 w 9144000"/>
                <a:gd name="connsiteY1082" fmla="*/ 4625893 h 5143500"/>
                <a:gd name="connsiteX1083" fmla="*/ 8563108 w 9144000"/>
                <a:gd name="connsiteY1083" fmla="*/ 4502757 h 5143500"/>
                <a:gd name="connsiteX1084" fmla="*/ 8123381 w 9144000"/>
                <a:gd name="connsiteY1084" fmla="*/ 4502757 h 5143500"/>
                <a:gd name="connsiteX1085" fmla="*/ 7891590 w 9144000"/>
                <a:gd name="connsiteY1085" fmla="*/ 4734282 h 5143500"/>
                <a:gd name="connsiteX1086" fmla="*/ 7877448 w 9144000"/>
                <a:gd name="connsiteY1086" fmla="*/ 4731210 h 5143500"/>
                <a:gd name="connsiteX1087" fmla="*/ 7841788 w 9144000"/>
                <a:gd name="connsiteY1087" fmla="*/ 4766234 h 5143500"/>
                <a:gd name="connsiteX1088" fmla="*/ 7877448 w 9144000"/>
                <a:gd name="connsiteY1088" fmla="*/ 4801380 h 5143500"/>
                <a:gd name="connsiteX1089" fmla="*/ 8000038 w 9144000"/>
                <a:gd name="connsiteY1089" fmla="*/ 4801922 h 5143500"/>
                <a:gd name="connsiteX1090" fmla="*/ 8035702 w 9144000"/>
                <a:gd name="connsiteY1090" fmla="*/ 4766750 h 5143500"/>
                <a:gd name="connsiteX1091" fmla="*/ 8025125 w 9144000"/>
                <a:gd name="connsiteY1091" fmla="*/ 4742154 h 5143500"/>
                <a:gd name="connsiteX1092" fmla="*/ 8158313 w 9144000"/>
                <a:gd name="connsiteY1092" fmla="*/ 4608474 h 5143500"/>
                <a:gd name="connsiteX1093" fmla="*/ 8563041 w 9144000"/>
                <a:gd name="connsiteY1093" fmla="*/ 4608474 h 5143500"/>
                <a:gd name="connsiteX1094" fmla="*/ 8651218 w 9144000"/>
                <a:gd name="connsiteY1094" fmla="*/ 4696528 h 5143500"/>
                <a:gd name="connsiteX1095" fmla="*/ 9144000 w 9144000"/>
                <a:gd name="connsiteY1095" fmla="*/ 4696528 h 5143500"/>
                <a:gd name="connsiteX1096" fmla="*/ 9144000 w 9144000"/>
                <a:gd name="connsiteY1096" fmla="*/ 4679311 h 5143500"/>
                <a:gd name="connsiteX1097" fmla="*/ 8651218 w 9144000"/>
                <a:gd name="connsiteY1097" fmla="*/ 4679311 h 5143500"/>
                <a:gd name="connsiteX1098" fmla="*/ 8563041 w 9144000"/>
                <a:gd name="connsiteY1098" fmla="*/ 4591134 h 5143500"/>
                <a:gd name="connsiteX1099" fmla="*/ 8158313 w 9144000"/>
                <a:gd name="connsiteY1099" fmla="*/ 4591134 h 5143500"/>
                <a:gd name="connsiteX1100" fmla="*/ 8014672 w 9144000"/>
                <a:gd name="connsiteY1100" fmla="*/ 4734775 h 5143500"/>
                <a:gd name="connsiteX1101" fmla="*/ 8000038 w 9144000"/>
                <a:gd name="connsiteY1101" fmla="*/ 4731700 h 5143500"/>
                <a:gd name="connsiteX1102" fmla="*/ 7964865 w 9144000"/>
                <a:gd name="connsiteY1102" fmla="*/ 4766750 h 5143500"/>
                <a:gd name="connsiteX1103" fmla="*/ 8000038 w 9144000"/>
                <a:gd name="connsiteY1103" fmla="*/ 4801922 h 5143500"/>
                <a:gd name="connsiteX1104" fmla="*/ 7753756 w 9144000"/>
                <a:gd name="connsiteY1104" fmla="*/ 4801922 h 5143500"/>
                <a:gd name="connsiteX1105" fmla="*/ 7788922 w 9144000"/>
                <a:gd name="connsiteY1105" fmla="*/ 4766746 h 5143500"/>
                <a:gd name="connsiteX1106" fmla="*/ 7778471 w 9144000"/>
                <a:gd name="connsiteY1106" fmla="*/ 4742146 h 5143500"/>
                <a:gd name="connsiteX1107" fmla="*/ 8070379 w 9144000"/>
                <a:gd name="connsiteY1107" fmla="*/ 4450157 h 5143500"/>
                <a:gd name="connsiteX1108" fmla="*/ 8597758 w 9144000"/>
                <a:gd name="connsiteY1108" fmla="*/ 4450157 h 5143500"/>
                <a:gd name="connsiteX1109" fmla="*/ 8738794 w 9144000"/>
                <a:gd name="connsiteY1109" fmla="*/ 4591109 h 5143500"/>
                <a:gd name="connsiteX1110" fmla="*/ 9143458 w 9144000"/>
                <a:gd name="connsiteY1110" fmla="*/ 4591109 h 5143500"/>
                <a:gd name="connsiteX1111" fmla="*/ 9143458 w 9144000"/>
                <a:gd name="connsiteY1111" fmla="*/ 4573275 h 5143500"/>
                <a:gd name="connsiteX1112" fmla="*/ 8738794 w 9144000"/>
                <a:gd name="connsiteY1112" fmla="*/ 4573275 h 5143500"/>
                <a:gd name="connsiteX1113" fmla="*/ 8597758 w 9144000"/>
                <a:gd name="connsiteY1113" fmla="*/ 4432815 h 5143500"/>
                <a:gd name="connsiteX1114" fmla="*/ 8070379 w 9144000"/>
                <a:gd name="connsiteY1114" fmla="*/ 4432815 h 5143500"/>
                <a:gd name="connsiteX1115" fmla="*/ 7768019 w 9144000"/>
                <a:gd name="connsiteY1115" fmla="*/ 4734767 h 5143500"/>
                <a:gd name="connsiteX1116" fmla="*/ 7753756 w 9144000"/>
                <a:gd name="connsiteY1116" fmla="*/ 4731692 h 5143500"/>
                <a:gd name="connsiteX1117" fmla="*/ 7718712 w 9144000"/>
                <a:gd name="connsiteY1117" fmla="*/ 4766746 h 5143500"/>
                <a:gd name="connsiteX1118" fmla="*/ 7753756 w 9144000"/>
                <a:gd name="connsiteY1118" fmla="*/ 4801922 h 5143500"/>
                <a:gd name="connsiteX1119" fmla="*/ 8510274 w 9144000"/>
                <a:gd name="connsiteY1119" fmla="*/ 4827405 h 5143500"/>
                <a:gd name="connsiteX1120" fmla="*/ 9143458 w 9144000"/>
                <a:gd name="connsiteY1120" fmla="*/ 4827405 h 5143500"/>
                <a:gd name="connsiteX1121" fmla="*/ 9143458 w 9144000"/>
                <a:gd name="connsiteY1121" fmla="*/ 4809588 h 5143500"/>
                <a:gd name="connsiteX1122" fmla="*/ 8510274 w 9144000"/>
                <a:gd name="connsiteY1122" fmla="*/ 4809588 h 5143500"/>
                <a:gd name="connsiteX1123" fmla="*/ 8439579 w 9144000"/>
                <a:gd name="connsiteY1123" fmla="*/ 4757242 h 5143500"/>
                <a:gd name="connsiteX1124" fmla="*/ 8280238 w 9144000"/>
                <a:gd name="connsiteY1124" fmla="*/ 4757242 h 5143500"/>
                <a:gd name="connsiteX1125" fmla="*/ 8246059 w 9144000"/>
                <a:gd name="connsiteY1125" fmla="*/ 4731561 h 5143500"/>
                <a:gd name="connsiteX1126" fmla="*/ 8211018 w 9144000"/>
                <a:gd name="connsiteY1126" fmla="*/ 4766581 h 5143500"/>
                <a:gd name="connsiteX1127" fmla="*/ 8246059 w 9144000"/>
                <a:gd name="connsiteY1127" fmla="*/ 4801724 h 5143500"/>
                <a:gd name="connsiteX1128" fmla="*/ 8280730 w 9144000"/>
                <a:gd name="connsiteY1128" fmla="*/ 4774445 h 5143500"/>
                <a:gd name="connsiteX1129" fmla="*/ 8439579 w 9144000"/>
                <a:gd name="connsiteY1129" fmla="*/ 4774445 h 5143500"/>
                <a:gd name="connsiteX1130" fmla="*/ 7279152 w 9144000"/>
                <a:gd name="connsiteY1130" fmla="*/ 4879997 h 5143500"/>
                <a:gd name="connsiteX1131" fmla="*/ 9143458 w 9144000"/>
                <a:gd name="connsiteY1131" fmla="*/ 4879997 h 5143500"/>
                <a:gd name="connsiteX1132" fmla="*/ 9143458 w 9144000"/>
                <a:gd name="connsiteY1132" fmla="*/ 4862181 h 5143500"/>
                <a:gd name="connsiteX1133" fmla="*/ 7279152 w 9144000"/>
                <a:gd name="connsiteY1133" fmla="*/ 4862181 h 5143500"/>
                <a:gd name="connsiteX1134" fmla="*/ 6962574 w 9144000"/>
                <a:gd name="connsiteY1134" fmla="*/ 4545787 h 5143500"/>
                <a:gd name="connsiteX1135" fmla="*/ 6662224 w 9144000"/>
                <a:gd name="connsiteY1135" fmla="*/ 4545787 h 5143500"/>
                <a:gd name="connsiteX1136" fmla="*/ 6628170 w 9144000"/>
                <a:gd name="connsiteY1136" fmla="*/ 4520107 h 5143500"/>
                <a:gd name="connsiteX1137" fmla="*/ 6593130 w 9144000"/>
                <a:gd name="connsiteY1137" fmla="*/ 4555740 h 5143500"/>
                <a:gd name="connsiteX1138" fmla="*/ 6628170 w 9144000"/>
                <a:gd name="connsiteY1138" fmla="*/ 4590758 h 5143500"/>
                <a:gd name="connsiteX1139" fmla="*/ 6662840 w 9144000"/>
                <a:gd name="connsiteY1139" fmla="*/ 4562990 h 5143500"/>
                <a:gd name="connsiteX1140" fmla="*/ 6962574 w 9144000"/>
                <a:gd name="connsiteY1140" fmla="*/ 4562990 h 5143500"/>
                <a:gd name="connsiteX1141" fmla="*/ 7279152 w 9144000"/>
                <a:gd name="connsiteY1141" fmla="*/ 4950481 h 5143500"/>
                <a:gd name="connsiteX1142" fmla="*/ 9143458 w 9144000"/>
                <a:gd name="connsiteY1142" fmla="*/ 4950481 h 5143500"/>
                <a:gd name="connsiteX1143" fmla="*/ 9143458 w 9144000"/>
                <a:gd name="connsiteY1143" fmla="*/ 4932647 h 5143500"/>
                <a:gd name="connsiteX1144" fmla="*/ 7279152 w 9144000"/>
                <a:gd name="connsiteY1144" fmla="*/ 4932647 h 5143500"/>
                <a:gd name="connsiteX1145" fmla="*/ 7032774 w 9144000"/>
                <a:gd name="connsiteY1145" fmla="*/ 4686167 h 5143500"/>
                <a:gd name="connsiteX1146" fmla="*/ 6662224 w 9144000"/>
                <a:gd name="connsiteY1146" fmla="*/ 4686167 h 5143500"/>
                <a:gd name="connsiteX1147" fmla="*/ 6628170 w 9144000"/>
                <a:gd name="connsiteY1147" fmla="*/ 4661076 h 5143500"/>
                <a:gd name="connsiteX1148" fmla="*/ 6593130 w 9144000"/>
                <a:gd name="connsiteY1148" fmla="*/ 4696130 h 5143500"/>
                <a:gd name="connsiteX1149" fmla="*/ 6628170 w 9144000"/>
                <a:gd name="connsiteY1149" fmla="*/ 4731306 h 5143500"/>
                <a:gd name="connsiteX1150" fmla="*/ 6662840 w 9144000"/>
                <a:gd name="connsiteY1150" fmla="*/ 4704001 h 5143500"/>
                <a:gd name="connsiteX1151" fmla="*/ 7032774 w 9144000"/>
                <a:gd name="connsiteY1151" fmla="*/ 4704001 h 5143500"/>
                <a:gd name="connsiteX1152" fmla="*/ 7261613 w 9144000"/>
                <a:gd name="connsiteY1152" fmla="*/ 4996025 h 5143500"/>
                <a:gd name="connsiteX1153" fmla="*/ 9144000 w 9144000"/>
                <a:gd name="connsiteY1153" fmla="*/ 4996025 h 5143500"/>
                <a:gd name="connsiteX1154" fmla="*/ 9144000 w 9144000"/>
                <a:gd name="connsiteY1154" fmla="*/ 4978309 h 5143500"/>
                <a:gd name="connsiteX1155" fmla="*/ 7261613 w 9144000"/>
                <a:gd name="connsiteY1155" fmla="*/ 4978309 h 5143500"/>
                <a:gd name="connsiteX1156" fmla="*/ 7086027 w 9144000"/>
                <a:gd name="connsiteY1156" fmla="*/ 4802008 h 5143500"/>
                <a:gd name="connsiteX1157" fmla="*/ 6575499 w 9144000"/>
                <a:gd name="connsiteY1157" fmla="*/ 4802008 h 5143500"/>
                <a:gd name="connsiteX1158" fmla="*/ 6432005 w 9144000"/>
                <a:gd name="connsiteY1158" fmla="*/ 4658311 h 5143500"/>
                <a:gd name="connsiteX1159" fmla="*/ 6435079 w 9144000"/>
                <a:gd name="connsiteY1159" fmla="*/ 4643670 h 5143500"/>
                <a:gd name="connsiteX1160" fmla="*/ 6400036 w 9144000"/>
                <a:gd name="connsiteY1160" fmla="*/ 4608484 h 5143500"/>
                <a:gd name="connsiteX1161" fmla="*/ 6364869 w 9144000"/>
                <a:gd name="connsiteY1161" fmla="*/ 4643670 h 5143500"/>
                <a:gd name="connsiteX1162" fmla="*/ 6400036 w 9144000"/>
                <a:gd name="connsiteY1162" fmla="*/ 4679349 h 5143500"/>
                <a:gd name="connsiteX1163" fmla="*/ 6424627 w 9144000"/>
                <a:gd name="connsiteY1163" fmla="*/ 4668768 h 5143500"/>
                <a:gd name="connsiteX1164" fmla="*/ 6575499 w 9144000"/>
                <a:gd name="connsiteY1164" fmla="*/ 4819848 h 5143500"/>
                <a:gd name="connsiteX1165" fmla="*/ 7086027 w 9144000"/>
                <a:gd name="connsiteY1165" fmla="*/ 4819848 h 5143500"/>
                <a:gd name="connsiteX1166" fmla="*/ 8704174 w 9144000"/>
                <a:gd name="connsiteY1166" fmla="*/ 5056208 h 5143500"/>
                <a:gd name="connsiteX1167" fmla="*/ 9144000 w 9144000"/>
                <a:gd name="connsiteY1167" fmla="*/ 5056208 h 5143500"/>
                <a:gd name="connsiteX1168" fmla="*/ 9144000 w 9144000"/>
                <a:gd name="connsiteY1168" fmla="*/ 5038865 h 5143500"/>
                <a:gd name="connsiteX1169" fmla="*/ 8704174 w 9144000"/>
                <a:gd name="connsiteY1169" fmla="*/ 5038865 h 5143500"/>
                <a:gd name="connsiteX1170" fmla="*/ 8669008 w 9144000"/>
                <a:gd name="connsiteY1170" fmla="*/ 5021031 h 5143500"/>
                <a:gd name="connsiteX1171" fmla="*/ 7226447 w 9144000"/>
                <a:gd name="connsiteY1171" fmla="*/ 5021031 h 5143500"/>
                <a:gd name="connsiteX1172" fmla="*/ 7068197 w 9144000"/>
                <a:gd name="connsiteY1172" fmla="*/ 4862733 h 5143500"/>
                <a:gd name="connsiteX1173" fmla="*/ 6540455 w 9144000"/>
                <a:gd name="connsiteY1173" fmla="*/ 4862733 h 5143500"/>
                <a:gd name="connsiteX1174" fmla="*/ 6452908 w 9144000"/>
                <a:gd name="connsiteY1174" fmla="*/ 4774545 h 5143500"/>
                <a:gd name="connsiteX1175" fmla="*/ 6433604 w 9144000"/>
                <a:gd name="connsiteY1175" fmla="*/ 4774545 h 5143500"/>
                <a:gd name="connsiteX1176" fmla="*/ 6400036 w 9144000"/>
                <a:gd name="connsiteY1176" fmla="*/ 4749453 h 5143500"/>
                <a:gd name="connsiteX1177" fmla="*/ 6364869 w 9144000"/>
                <a:gd name="connsiteY1177" fmla="*/ 4784507 h 5143500"/>
                <a:gd name="connsiteX1178" fmla="*/ 6400036 w 9144000"/>
                <a:gd name="connsiteY1178" fmla="*/ 4819684 h 5143500"/>
                <a:gd name="connsiteX1179" fmla="*/ 6434095 w 9144000"/>
                <a:gd name="connsiteY1179" fmla="*/ 4792379 h 5143500"/>
                <a:gd name="connsiteX1180" fmla="*/ 6452908 w 9144000"/>
                <a:gd name="connsiteY1180" fmla="*/ 4792379 h 5143500"/>
                <a:gd name="connsiteX1181" fmla="*/ 6540455 w 9144000"/>
                <a:gd name="connsiteY1181" fmla="*/ 4880568 h 5143500"/>
                <a:gd name="connsiteX1182" fmla="*/ 7068197 w 9144000"/>
                <a:gd name="connsiteY1182" fmla="*/ 4880568 h 5143500"/>
                <a:gd name="connsiteX1183" fmla="*/ 7226447 w 9144000"/>
                <a:gd name="connsiteY1183" fmla="*/ 5038865 h 5143500"/>
                <a:gd name="connsiteX1184" fmla="*/ 8669008 w 9144000"/>
                <a:gd name="connsiteY1184" fmla="*/ 5038865 h 5143500"/>
                <a:gd name="connsiteX1185" fmla="*/ 7208740 w 9144000"/>
                <a:gd name="connsiteY1185" fmla="*/ 5090908 h 5143500"/>
                <a:gd name="connsiteX1186" fmla="*/ 9144000 w 9144000"/>
                <a:gd name="connsiteY1186" fmla="*/ 5090908 h 5143500"/>
                <a:gd name="connsiteX1187" fmla="*/ 9144000 w 9144000"/>
                <a:gd name="connsiteY1187" fmla="*/ 5073716 h 5143500"/>
                <a:gd name="connsiteX1188" fmla="*/ 7208740 w 9144000"/>
                <a:gd name="connsiteY1188" fmla="*/ 5073716 h 5143500"/>
                <a:gd name="connsiteX1189" fmla="*/ 7050369 w 9144000"/>
                <a:gd name="connsiteY1189" fmla="*/ 4915545 h 5143500"/>
                <a:gd name="connsiteX1190" fmla="*/ 6433604 w 9144000"/>
                <a:gd name="connsiteY1190" fmla="*/ 4915545 h 5143500"/>
                <a:gd name="connsiteX1191" fmla="*/ 6400036 w 9144000"/>
                <a:gd name="connsiteY1191" fmla="*/ 4889879 h 5143500"/>
                <a:gd name="connsiteX1192" fmla="*/ 6364869 w 9144000"/>
                <a:gd name="connsiteY1192" fmla="*/ 4925001 h 5143500"/>
                <a:gd name="connsiteX1193" fmla="*/ 6400036 w 9144000"/>
                <a:gd name="connsiteY1193" fmla="*/ 4960123 h 5143500"/>
                <a:gd name="connsiteX1194" fmla="*/ 6434095 w 9144000"/>
                <a:gd name="connsiteY1194" fmla="*/ 4932860 h 5143500"/>
                <a:gd name="connsiteX1195" fmla="*/ 7050369 w 9144000"/>
                <a:gd name="connsiteY1195" fmla="*/ 4932860 h 5143500"/>
                <a:gd name="connsiteX1196" fmla="*/ 7173574 w 9144000"/>
                <a:gd name="connsiteY1196" fmla="*/ 5143500 h 5143500"/>
                <a:gd name="connsiteX1197" fmla="*/ 9144000 w 9144000"/>
                <a:gd name="connsiteY1197" fmla="*/ 5143500 h 5143500"/>
                <a:gd name="connsiteX1198" fmla="*/ 9144000 w 9144000"/>
                <a:gd name="connsiteY1198" fmla="*/ 5125691 h 5143500"/>
                <a:gd name="connsiteX1199" fmla="*/ 7173574 w 9144000"/>
                <a:gd name="connsiteY1199" fmla="*/ 5125691 h 5143500"/>
                <a:gd name="connsiteX1200" fmla="*/ 7033031 w 9144000"/>
                <a:gd name="connsiteY1200" fmla="*/ 4985304 h 5143500"/>
                <a:gd name="connsiteX1201" fmla="*/ 6733748 w 9144000"/>
                <a:gd name="connsiteY1201" fmla="*/ 4985304 h 5143500"/>
                <a:gd name="connsiteX1202" fmla="*/ 6663538 w 9144000"/>
                <a:gd name="connsiteY1202" fmla="*/ 5055559 h 5143500"/>
                <a:gd name="connsiteX1203" fmla="*/ 6433604 w 9144000"/>
                <a:gd name="connsiteY1203" fmla="*/ 5055559 h 5143500"/>
                <a:gd name="connsiteX1204" fmla="*/ 6400036 w 9144000"/>
                <a:gd name="connsiteY1204" fmla="*/ 5030380 h 5143500"/>
                <a:gd name="connsiteX1205" fmla="*/ 6364869 w 9144000"/>
                <a:gd name="connsiteY1205" fmla="*/ 5065508 h 5143500"/>
                <a:gd name="connsiteX1206" fmla="*/ 6400036 w 9144000"/>
                <a:gd name="connsiteY1206" fmla="*/ 5100512 h 5143500"/>
                <a:gd name="connsiteX1207" fmla="*/ 6434095 w 9144000"/>
                <a:gd name="connsiteY1207" fmla="*/ 5073369 h 5143500"/>
                <a:gd name="connsiteX1208" fmla="*/ 6663538 w 9144000"/>
                <a:gd name="connsiteY1208" fmla="*/ 5073369 h 5143500"/>
                <a:gd name="connsiteX1209" fmla="*/ 6733748 w 9144000"/>
                <a:gd name="connsiteY1209" fmla="*/ 5002622 h 5143500"/>
                <a:gd name="connsiteX1210" fmla="*/ 7033031 w 9144000"/>
                <a:gd name="connsiteY1210" fmla="*/ 500262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Lst>
              <a:rect l="l" t="t" r="r" b="b"/>
              <a:pathLst>
                <a:path w="9144000" h="5143500">
                  <a:moveTo>
                    <a:pt x="1990457" y="175005"/>
                  </a:moveTo>
                  <a:cubicBezTo>
                    <a:pt x="2009880" y="175005"/>
                    <a:pt x="2025490" y="159274"/>
                    <a:pt x="2025490" y="139857"/>
                  </a:cubicBezTo>
                  <a:cubicBezTo>
                    <a:pt x="2025490" y="120562"/>
                    <a:pt x="2009880" y="104831"/>
                    <a:pt x="1990457" y="104831"/>
                  </a:cubicBezTo>
                  <a:cubicBezTo>
                    <a:pt x="1974723" y="104831"/>
                    <a:pt x="1961078" y="115277"/>
                    <a:pt x="1956899" y="129902"/>
                  </a:cubicBezTo>
                  <a:cubicBezTo>
                    <a:pt x="1956899" y="129902"/>
                    <a:pt x="1956899" y="129902"/>
                    <a:pt x="1752476" y="129902"/>
                  </a:cubicBezTo>
                  <a:cubicBezTo>
                    <a:pt x="1752476" y="129902"/>
                    <a:pt x="1752476" y="129902"/>
                    <a:pt x="1687571" y="129902"/>
                  </a:cubicBezTo>
                  <a:cubicBezTo>
                    <a:pt x="1687080" y="128428"/>
                    <a:pt x="1686465" y="126338"/>
                    <a:pt x="1685974" y="124740"/>
                  </a:cubicBezTo>
                  <a:cubicBezTo>
                    <a:pt x="1685974" y="124740"/>
                    <a:pt x="1685974" y="124740"/>
                    <a:pt x="1229064" y="124740"/>
                  </a:cubicBezTo>
                  <a:cubicBezTo>
                    <a:pt x="1229064" y="124740"/>
                    <a:pt x="1229064" y="124740"/>
                    <a:pt x="1211240" y="106921"/>
                  </a:cubicBezTo>
                  <a:cubicBezTo>
                    <a:pt x="1211240" y="106921"/>
                    <a:pt x="1211240" y="106921"/>
                    <a:pt x="1104296" y="1"/>
                  </a:cubicBezTo>
                  <a:cubicBezTo>
                    <a:pt x="1104296" y="1"/>
                    <a:pt x="1104296" y="1"/>
                    <a:pt x="1087086" y="1"/>
                  </a:cubicBezTo>
                  <a:cubicBezTo>
                    <a:pt x="1087086" y="1"/>
                    <a:pt x="1087086" y="1"/>
                    <a:pt x="1193908" y="106921"/>
                  </a:cubicBezTo>
                  <a:cubicBezTo>
                    <a:pt x="1193908" y="106921"/>
                    <a:pt x="1193908" y="106921"/>
                    <a:pt x="1211240" y="124740"/>
                  </a:cubicBezTo>
                  <a:cubicBezTo>
                    <a:pt x="1211240" y="124740"/>
                    <a:pt x="1211240" y="124740"/>
                    <a:pt x="1234227" y="147722"/>
                  </a:cubicBezTo>
                  <a:cubicBezTo>
                    <a:pt x="1234227" y="147722"/>
                    <a:pt x="1234227" y="147722"/>
                    <a:pt x="1956407" y="147722"/>
                  </a:cubicBezTo>
                  <a:cubicBezTo>
                    <a:pt x="1960095" y="163453"/>
                    <a:pt x="1973740" y="175005"/>
                    <a:pt x="1990457" y="175005"/>
                  </a:cubicBezTo>
                  <a:close/>
                  <a:moveTo>
                    <a:pt x="0" y="272058"/>
                  </a:moveTo>
                  <a:lnTo>
                    <a:pt x="1" y="272058"/>
                  </a:lnTo>
                  <a:lnTo>
                    <a:pt x="4755" y="272058"/>
                  </a:lnTo>
                  <a:cubicBezTo>
                    <a:pt x="3754" y="271456"/>
                    <a:pt x="2127" y="270492"/>
                    <a:pt x="1626" y="268925"/>
                  </a:cubicBezTo>
                  <a:cubicBezTo>
                    <a:pt x="1126" y="270010"/>
                    <a:pt x="500" y="270974"/>
                    <a:pt x="0" y="272058"/>
                  </a:cubicBezTo>
                  <a:close/>
                  <a:moveTo>
                    <a:pt x="239055" y="299165"/>
                  </a:moveTo>
                  <a:cubicBezTo>
                    <a:pt x="257869" y="299165"/>
                    <a:pt x="274224" y="283392"/>
                    <a:pt x="274224" y="264046"/>
                  </a:cubicBezTo>
                  <a:cubicBezTo>
                    <a:pt x="274224" y="244576"/>
                    <a:pt x="257869" y="228804"/>
                    <a:pt x="239055" y="228804"/>
                  </a:cubicBezTo>
                  <a:cubicBezTo>
                    <a:pt x="222823" y="228804"/>
                    <a:pt x="209173" y="239894"/>
                    <a:pt x="204992" y="254558"/>
                  </a:cubicBezTo>
                  <a:cubicBezTo>
                    <a:pt x="204992" y="254558"/>
                    <a:pt x="204992" y="254558"/>
                    <a:pt x="36489" y="254558"/>
                  </a:cubicBezTo>
                  <a:lnTo>
                    <a:pt x="16572" y="254558"/>
                  </a:lnTo>
                  <a:lnTo>
                    <a:pt x="13344" y="250388"/>
                  </a:lnTo>
                  <a:cubicBezTo>
                    <a:pt x="11902" y="249394"/>
                    <a:pt x="10185" y="248866"/>
                    <a:pt x="8345" y="248866"/>
                  </a:cubicBezTo>
                  <a:cubicBezTo>
                    <a:pt x="4664" y="248866"/>
                    <a:pt x="1597" y="250978"/>
                    <a:pt x="2" y="254706"/>
                  </a:cubicBezTo>
                  <a:cubicBezTo>
                    <a:pt x="2" y="254706"/>
                    <a:pt x="2" y="254706"/>
                    <a:pt x="262" y="254706"/>
                  </a:cubicBezTo>
                  <a:lnTo>
                    <a:pt x="464" y="254706"/>
                  </a:lnTo>
                  <a:lnTo>
                    <a:pt x="385" y="255122"/>
                  </a:lnTo>
                  <a:lnTo>
                    <a:pt x="434" y="254829"/>
                  </a:lnTo>
                  <a:lnTo>
                    <a:pt x="1" y="254829"/>
                  </a:lnTo>
                  <a:cubicBezTo>
                    <a:pt x="1" y="254829"/>
                    <a:pt x="1" y="254829"/>
                    <a:pt x="1" y="255152"/>
                  </a:cubicBezTo>
                  <a:lnTo>
                    <a:pt x="1" y="257144"/>
                  </a:lnTo>
                  <a:lnTo>
                    <a:pt x="0" y="257145"/>
                  </a:lnTo>
                  <a:cubicBezTo>
                    <a:pt x="0" y="257145"/>
                    <a:pt x="0" y="257145"/>
                    <a:pt x="0" y="264046"/>
                  </a:cubicBezTo>
                  <a:cubicBezTo>
                    <a:pt x="0" y="264539"/>
                    <a:pt x="0" y="265032"/>
                    <a:pt x="0" y="265032"/>
                  </a:cubicBezTo>
                  <a:cubicBezTo>
                    <a:pt x="0" y="265032"/>
                    <a:pt x="0" y="265032"/>
                    <a:pt x="0" y="271932"/>
                  </a:cubicBezTo>
                  <a:cubicBezTo>
                    <a:pt x="492" y="270823"/>
                    <a:pt x="1107" y="269838"/>
                    <a:pt x="1599" y="268728"/>
                  </a:cubicBezTo>
                  <a:cubicBezTo>
                    <a:pt x="2091" y="270330"/>
                    <a:pt x="3689" y="271316"/>
                    <a:pt x="4673" y="271932"/>
                  </a:cubicBezTo>
                  <a:cubicBezTo>
                    <a:pt x="6272" y="272425"/>
                    <a:pt x="7378" y="272918"/>
                    <a:pt x="8854" y="272918"/>
                  </a:cubicBezTo>
                  <a:cubicBezTo>
                    <a:pt x="10453" y="272918"/>
                    <a:pt x="12051" y="272425"/>
                    <a:pt x="13158" y="271932"/>
                  </a:cubicBezTo>
                  <a:cubicBezTo>
                    <a:pt x="13158" y="271932"/>
                    <a:pt x="13158" y="271932"/>
                    <a:pt x="204500" y="271932"/>
                  </a:cubicBezTo>
                  <a:cubicBezTo>
                    <a:pt x="208066" y="287705"/>
                    <a:pt x="222331" y="299165"/>
                    <a:pt x="239055" y="299165"/>
                  </a:cubicBezTo>
                  <a:close/>
                  <a:moveTo>
                    <a:pt x="1234548" y="403807"/>
                  </a:moveTo>
                  <a:cubicBezTo>
                    <a:pt x="1254477" y="403807"/>
                    <a:pt x="1270223" y="388063"/>
                    <a:pt x="1270223" y="368630"/>
                  </a:cubicBezTo>
                  <a:cubicBezTo>
                    <a:pt x="1270223" y="349195"/>
                    <a:pt x="1254477" y="333452"/>
                    <a:pt x="1234548" y="333452"/>
                  </a:cubicBezTo>
                  <a:cubicBezTo>
                    <a:pt x="1229874" y="333452"/>
                    <a:pt x="1224584" y="334559"/>
                    <a:pt x="1220402" y="336650"/>
                  </a:cubicBezTo>
                  <a:cubicBezTo>
                    <a:pt x="1220402" y="336650"/>
                    <a:pt x="1220402" y="336650"/>
                    <a:pt x="1008570" y="124845"/>
                  </a:cubicBezTo>
                  <a:cubicBezTo>
                    <a:pt x="1008570" y="124845"/>
                    <a:pt x="1008570" y="124845"/>
                    <a:pt x="990733" y="107010"/>
                  </a:cubicBezTo>
                  <a:cubicBezTo>
                    <a:pt x="990733" y="107010"/>
                    <a:pt x="990733" y="107010"/>
                    <a:pt x="883710" y="1"/>
                  </a:cubicBezTo>
                  <a:cubicBezTo>
                    <a:pt x="883710" y="1"/>
                    <a:pt x="883710" y="1"/>
                    <a:pt x="865874" y="1"/>
                  </a:cubicBezTo>
                  <a:cubicBezTo>
                    <a:pt x="865874" y="1"/>
                    <a:pt x="865874" y="1"/>
                    <a:pt x="973388" y="107010"/>
                  </a:cubicBezTo>
                  <a:cubicBezTo>
                    <a:pt x="973388" y="107010"/>
                    <a:pt x="973388" y="107010"/>
                    <a:pt x="990733" y="124845"/>
                  </a:cubicBezTo>
                  <a:cubicBezTo>
                    <a:pt x="990733" y="124845"/>
                    <a:pt x="990733" y="124845"/>
                    <a:pt x="1209945" y="344029"/>
                  </a:cubicBezTo>
                  <a:cubicBezTo>
                    <a:pt x="1203672" y="350303"/>
                    <a:pt x="1199489" y="359159"/>
                    <a:pt x="1199489" y="368630"/>
                  </a:cubicBezTo>
                  <a:cubicBezTo>
                    <a:pt x="1199489" y="388063"/>
                    <a:pt x="1215235" y="403807"/>
                    <a:pt x="1234548" y="403807"/>
                  </a:cubicBezTo>
                  <a:close/>
                  <a:moveTo>
                    <a:pt x="1850434" y="421699"/>
                  </a:moveTo>
                  <a:cubicBezTo>
                    <a:pt x="1869864" y="421699"/>
                    <a:pt x="1885606" y="405953"/>
                    <a:pt x="1885606" y="386517"/>
                  </a:cubicBezTo>
                  <a:cubicBezTo>
                    <a:pt x="1885606" y="367080"/>
                    <a:pt x="1869864" y="351334"/>
                    <a:pt x="1850434" y="351334"/>
                  </a:cubicBezTo>
                  <a:cubicBezTo>
                    <a:pt x="1845268" y="351334"/>
                    <a:pt x="1840472" y="352441"/>
                    <a:pt x="1835799" y="354533"/>
                  </a:cubicBezTo>
                  <a:cubicBezTo>
                    <a:pt x="1835799" y="354533"/>
                    <a:pt x="1835799" y="354533"/>
                    <a:pt x="1656986" y="175175"/>
                  </a:cubicBezTo>
                  <a:cubicBezTo>
                    <a:pt x="1656986" y="175175"/>
                    <a:pt x="1656986" y="175175"/>
                    <a:pt x="1234426" y="175175"/>
                  </a:cubicBezTo>
                  <a:cubicBezTo>
                    <a:pt x="1234426" y="175175"/>
                    <a:pt x="1234426" y="175175"/>
                    <a:pt x="1184127" y="124862"/>
                  </a:cubicBezTo>
                  <a:cubicBezTo>
                    <a:pt x="1184127" y="124862"/>
                    <a:pt x="1184127" y="124862"/>
                    <a:pt x="1166910" y="107024"/>
                  </a:cubicBezTo>
                  <a:cubicBezTo>
                    <a:pt x="1166910" y="107024"/>
                    <a:pt x="1166910" y="107024"/>
                    <a:pt x="1059917" y="0"/>
                  </a:cubicBezTo>
                  <a:cubicBezTo>
                    <a:pt x="1059917" y="0"/>
                    <a:pt x="1059917" y="0"/>
                    <a:pt x="1042085" y="0"/>
                  </a:cubicBezTo>
                  <a:cubicBezTo>
                    <a:pt x="1042085" y="0"/>
                    <a:pt x="1042085" y="0"/>
                    <a:pt x="1149078" y="107024"/>
                  </a:cubicBezTo>
                  <a:cubicBezTo>
                    <a:pt x="1149078" y="107024"/>
                    <a:pt x="1149078" y="107024"/>
                    <a:pt x="1166910" y="124862"/>
                  </a:cubicBezTo>
                  <a:cubicBezTo>
                    <a:pt x="1166910" y="124862"/>
                    <a:pt x="1166910" y="124862"/>
                    <a:pt x="1234426" y="193013"/>
                  </a:cubicBezTo>
                  <a:cubicBezTo>
                    <a:pt x="1234426" y="193013"/>
                    <a:pt x="1234426" y="193013"/>
                    <a:pt x="1656986" y="193013"/>
                  </a:cubicBezTo>
                  <a:cubicBezTo>
                    <a:pt x="1656986" y="193013"/>
                    <a:pt x="1656986" y="193013"/>
                    <a:pt x="1825346" y="361298"/>
                  </a:cubicBezTo>
                  <a:cubicBezTo>
                    <a:pt x="1819074" y="367695"/>
                    <a:pt x="1815384" y="376552"/>
                    <a:pt x="1815384" y="386517"/>
                  </a:cubicBezTo>
                  <a:cubicBezTo>
                    <a:pt x="1815384" y="405953"/>
                    <a:pt x="1831126" y="421699"/>
                    <a:pt x="1850434" y="421699"/>
                  </a:cubicBezTo>
                  <a:close/>
                  <a:moveTo>
                    <a:pt x="342635" y="422785"/>
                  </a:moveTo>
                  <a:cubicBezTo>
                    <a:pt x="362053" y="422785"/>
                    <a:pt x="377784" y="407012"/>
                    <a:pt x="377784" y="387542"/>
                  </a:cubicBezTo>
                  <a:cubicBezTo>
                    <a:pt x="377784" y="368196"/>
                    <a:pt x="362053" y="352423"/>
                    <a:pt x="342635" y="352423"/>
                  </a:cubicBezTo>
                  <a:cubicBezTo>
                    <a:pt x="326413" y="352423"/>
                    <a:pt x="312772" y="363390"/>
                    <a:pt x="308593" y="378177"/>
                  </a:cubicBezTo>
                  <a:cubicBezTo>
                    <a:pt x="308593" y="378177"/>
                    <a:pt x="308593" y="378177"/>
                    <a:pt x="2" y="378177"/>
                  </a:cubicBezTo>
                  <a:cubicBezTo>
                    <a:pt x="2" y="378177"/>
                    <a:pt x="2" y="378177"/>
                    <a:pt x="2" y="395429"/>
                  </a:cubicBezTo>
                  <a:cubicBezTo>
                    <a:pt x="2" y="395429"/>
                    <a:pt x="2" y="395429"/>
                    <a:pt x="4815" y="395429"/>
                  </a:cubicBezTo>
                  <a:lnTo>
                    <a:pt x="5625" y="395429"/>
                  </a:lnTo>
                  <a:lnTo>
                    <a:pt x="9095" y="396232"/>
                  </a:lnTo>
                  <a:lnTo>
                    <a:pt x="12668" y="395429"/>
                  </a:lnTo>
                  <a:lnTo>
                    <a:pt x="16249" y="395429"/>
                  </a:lnTo>
                  <a:cubicBezTo>
                    <a:pt x="43329" y="395429"/>
                    <a:pt x="115539" y="395429"/>
                    <a:pt x="308101" y="395429"/>
                  </a:cubicBezTo>
                  <a:cubicBezTo>
                    <a:pt x="311789" y="411201"/>
                    <a:pt x="325922" y="422785"/>
                    <a:pt x="342635" y="422785"/>
                  </a:cubicBezTo>
                  <a:close/>
                  <a:moveTo>
                    <a:pt x="2413262" y="491642"/>
                  </a:moveTo>
                  <a:cubicBezTo>
                    <a:pt x="2432672" y="491642"/>
                    <a:pt x="2448397" y="475906"/>
                    <a:pt x="2448397" y="456481"/>
                  </a:cubicBezTo>
                  <a:cubicBezTo>
                    <a:pt x="2448397" y="440253"/>
                    <a:pt x="2437340" y="426607"/>
                    <a:pt x="2422721" y="422427"/>
                  </a:cubicBezTo>
                  <a:cubicBezTo>
                    <a:pt x="2422721" y="422427"/>
                    <a:pt x="2422721" y="422427"/>
                    <a:pt x="2422721" y="69708"/>
                  </a:cubicBezTo>
                  <a:cubicBezTo>
                    <a:pt x="2422721" y="69708"/>
                    <a:pt x="2422721" y="69708"/>
                    <a:pt x="2353558" y="1"/>
                  </a:cubicBezTo>
                  <a:cubicBezTo>
                    <a:pt x="2353558" y="1"/>
                    <a:pt x="2353558" y="1"/>
                    <a:pt x="2335745" y="1"/>
                  </a:cubicBezTo>
                  <a:cubicBezTo>
                    <a:pt x="2335745" y="1"/>
                    <a:pt x="2335745" y="1"/>
                    <a:pt x="2405400" y="69708"/>
                  </a:cubicBezTo>
                  <a:cubicBezTo>
                    <a:pt x="2405400" y="69708"/>
                    <a:pt x="2405400" y="69708"/>
                    <a:pt x="2405400" y="421935"/>
                  </a:cubicBezTo>
                  <a:cubicBezTo>
                    <a:pt x="2389675" y="425623"/>
                    <a:pt x="2378127" y="439761"/>
                    <a:pt x="2378127" y="456481"/>
                  </a:cubicBezTo>
                  <a:cubicBezTo>
                    <a:pt x="2378127" y="475906"/>
                    <a:pt x="2393852" y="491642"/>
                    <a:pt x="2413262" y="491642"/>
                  </a:cubicBezTo>
                  <a:close/>
                  <a:moveTo>
                    <a:pt x="1745375" y="508992"/>
                  </a:moveTo>
                  <a:cubicBezTo>
                    <a:pt x="1764681" y="508992"/>
                    <a:pt x="1780421" y="493374"/>
                    <a:pt x="1780421" y="473944"/>
                  </a:cubicBezTo>
                  <a:cubicBezTo>
                    <a:pt x="1780421" y="454514"/>
                    <a:pt x="1764681" y="438773"/>
                    <a:pt x="1745375" y="438773"/>
                  </a:cubicBezTo>
                  <a:cubicBezTo>
                    <a:pt x="1740088" y="438773"/>
                    <a:pt x="1734800" y="439880"/>
                    <a:pt x="1730619" y="441971"/>
                  </a:cubicBezTo>
                  <a:cubicBezTo>
                    <a:pt x="1730619" y="441971"/>
                    <a:pt x="1730619" y="441971"/>
                    <a:pt x="1534113" y="245334"/>
                  </a:cubicBezTo>
                  <a:cubicBezTo>
                    <a:pt x="1534113" y="245334"/>
                    <a:pt x="1534113" y="245334"/>
                    <a:pt x="1234682" y="245334"/>
                  </a:cubicBezTo>
                  <a:cubicBezTo>
                    <a:pt x="1234682" y="245334"/>
                    <a:pt x="1234682" y="245334"/>
                    <a:pt x="1114173" y="124820"/>
                  </a:cubicBezTo>
                  <a:cubicBezTo>
                    <a:pt x="1114173" y="124820"/>
                    <a:pt x="1114173" y="124820"/>
                    <a:pt x="1096833" y="106988"/>
                  </a:cubicBezTo>
                  <a:cubicBezTo>
                    <a:pt x="1096833" y="106988"/>
                    <a:pt x="1096833" y="106988"/>
                    <a:pt x="989358" y="0"/>
                  </a:cubicBezTo>
                  <a:cubicBezTo>
                    <a:pt x="989358" y="0"/>
                    <a:pt x="989358" y="0"/>
                    <a:pt x="972142" y="0"/>
                  </a:cubicBezTo>
                  <a:cubicBezTo>
                    <a:pt x="972142" y="0"/>
                    <a:pt x="972142" y="0"/>
                    <a:pt x="1079003" y="106988"/>
                  </a:cubicBezTo>
                  <a:cubicBezTo>
                    <a:pt x="1079003" y="106988"/>
                    <a:pt x="1079003" y="106988"/>
                    <a:pt x="1096833" y="124820"/>
                  </a:cubicBezTo>
                  <a:cubicBezTo>
                    <a:pt x="1096833" y="124820"/>
                    <a:pt x="1096833" y="124820"/>
                    <a:pt x="1234682" y="263166"/>
                  </a:cubicBezTo>
                  <a:cubicBezTo>
                    <a:pt x="1234682" y="263166"/>
                    <a:pt x="1234682" y="263166"/>
                    <a:pt x="1534113" y="263166"/>
                  </a:cubicBezTo>
                  <a:cubicBezTo>
                    <a:pt x="1534113" y="263166"/>
                    <a:pt x="1534113" y="263166"/>
                    <a:pt x="1720166" y="449349"/>
                  </a:cubicBezTo>
                  <a:cubicBezTo>
                    <a:pt x="1713895" y="455621"/>
                    <a:pt x="1709714" y="464475"/>
                    <a:pt x="1709714" y="473944"/>
                  </a:cubicBezTo>
                  <a:cubicBezTo>
                    <a:pt x="1709714" y="493374"/>
                    <a:pt x="1725946" y="508992"/>
                    <a:pt x="1745375" y="508992"/>
                  </a:cubicBezTo>
                  <a:close/>
                  <a:moveTo>
                    <a:pt x="3075274" y="532306"/>
                  </a:moveTo>
                  <a:cubicBezTo>
                    <a:pt x="3094684" y="532306"/>
                    <a:pt x="3110408" y="516574"/>
                    <a:pt x="3110408" y="497278"/>
                  </a:cubicBezTo>
                  <a:cubicBezTo>
                    <a:pt x="3110408" y="477859"/>
                    <a:pt x="3094684" y="462127"/>
                    <a:pt x="3075274" y="462127"/>
                  </a:cubicBezTo>
                  <a:cubicBezTo>
                    <a:pt x="3065324" y="462127"/>
                    <a:pt x="3056970" y="466306"/>
                    <a:pt x="3050705" y="472574"/>
                  </a:cubicBezTo>
                  <a:cubicBezTo>
                    <a:pt x="3050705" y="472574"/>
                    <a:pt x="3050705" y="472574"/>
                    <a:pt x="2864226" y="286618"/>
                  </a:cubicBezTo>
                  <a:cubicBezTo>
                    <a:pt x="2864226" y="286618"/>
                    <a:pt x="2864226" y="286618"/>
                    <a:pt x="2864226" y="2"/>
                  </a:cubicBezTo>
                  <a:cubicBezTo>
                    <a:pt x="2864226" y="2"/>
                    <a:pt x="2864226" y="2"/>
                    <a:pt x="2847027" y="2"/>
                  </a:cubicBezTo>
                  <a:cubicBezTo>
                    <a:pt x="2847027" y="2"/>
                    <a:pt x="2847027" y="2"/>
                    <a:pt x="2847027" y="286618"/>
                  </a:cubicBezTo>
                  <a:cubicBezTo>
                    <a:pt x="2847027" y="286618"/>
                    <a:pt x="2847027" y="286618"/>
                    <a:pt x="3043334" y="483144"/>
                  </a:cubicBezTo>
                  <a:cubicBezTo>
                    <a:pt x="3041246" y="487323"/>
                    <a:pt x="3040263" y="491993"/>
                    <a:pt x="3040263" y="497278"/>
                  </a:cubicBezTo>
                  <a:cubicBezTo>
                    <a:pt x="3040263" y="516574"/>
                    <a:pt x="3055987" y="532306"/>
                    <a:pt x="3075274" y="532306"/>
                  </a:cubicBezTo>
                  <a:close/>
                  <a:moveTo>
                    <a:pt x="342635" y="545861"/>
                  </a:moveTo>
                  <a:cubicBezTo>
                    <a:pt x="362053" y="545861"/>
                    <a:pt x="377784" y="530088"/>
                    <a:pt x="377784" y="510619"/>
                  </a:cubicBezTo>
                  <a:cubicBezTo>
                    <a:pt x="377784" y="491272"/>
                    <a:pt x="362053" y="475500"/>
                    <a:pt x="342635" y="475500"/>
                  </a:cubicBezTo>
                  <a:cubicBezTo>
                    <a:pt x="326413" y="475500"/>
                    <a:pt x="312772" y="485974"/>
                    <a:pt x="308593" y="501131"/>
                  </a:cubicBezTo>
                  <a:cubicBezTo>
                    <a:pt x="308593" y="501131"/>
                    <a:pt x="308593" y="501131"/>
                    <a:pt x="239403" y="500638"/>
                  </a:cubicBezTo>
                  <a:cubicBezTo>
                    <a:pt x="239403" y="500638"/>
                    <a:pt x="239403" y="500638"/>
                    <a:pt x="2" y="500638"/>
                  </a:cubicBezTo>
                  <a:cubicBezTo>
                    <a:pt x="2" y="500638"/>
                    <a:pt x="2" y="500638"/>
                    <a:pt x="2" y="518505"/>
                  </a:cubicBezTo>
                  <a:cubicBezTo>
                    <a:pt x="2" y="518505"/>
                    <a:pt x="2" y="518505"/>
                    <a:pt x="4815" y="518505"/>
                  </a:cubicBezTo>
                  <a:lnTo>
                    <a:pt x="5626" y="518505"/>
                  </a:lnTo>
                  <a:lnTo>
                    <a:pt x="9095" y="519309"/>
                  </a:lnTo>
                  <a:lnTo>
                    <a:pt x="12667" y="518505"/>
                  </a:lnTo>
                  <a:lnTo>
                    <a:pt x="16249" y="518505"/>
                  </a:lnTo>
                  <a:cubicBezTo>
                    <a:pt x="43329" y="518505"/>
                    <a:pt x="115539" y="518505"/>
                    <a:pt x="308101" y="518505"/>
                  </a:cubicBezTo>
                  <a:cubicBezTo>
                    <a:pt x="311789" y="534278"/>
                    <a:pt x="325922" y="545861"/>
                    <a:pt x="342635" y="545861"/>
                  </a:cubicBezTo>
                  <a:close/>
                  <a:moveTo>
                    <a:pt x="1217000" y="614719"/>
                  </a:moveTo>
                  <a:cubicBezTo>
                    <a:pt x="1217000" y="614719"/>
                    <a:pt x="1217000" y="614719"/>
                    <a:pt x="1430799" y="400348"/>
                  </a:cubicBezTo>
                  <a:cubicBezTo>
                    <a:pt x="1435471" y="402437"/>
                    <a:pt x="1440266" y="403544"/>
                    <a:pt x="1445430" y="403544"/>
                  </a:cubicBezTo>
                  <a:cubicBezTo>
                    <a:pt x="1464855" y="403544"/>
                    <a:pt x="1480592" y="387810"/>
                    <a:pt x="1480592" y="368389"/>
                  </a:cubicBezTo>
                  <a:cubicBezTo>
                    <a:pt x="1480592" y="348968"/>
                    <a:pt x="1464855" y="333234"/>
                    <a:pt x="1445430" y="333234"/>
                  </a:cubicBezTo>
                  <a:cubicBezTo>
                    <a:pt x="1426128" y="333234"/>
                    <a:pt x="1410391" y="348968"/>
                    <a:pt x="1410391" y="368389"/>
                  </a:cubicBezTo>
                  <a:cubicBezTo>
                    <a:pt x="1410391" y="378345"/>
                    <a:pt x="1414571" y="386704"/>
                    <a:pt x="1420841" y="393587"/>
                  </a:cubicBezTo>
                  <a:cubicBezTo>
                    <a:pt x="1420841" y="393587"/>
                    <a:pt x="1420841" y="393587"/>
                    <a:pt x="1217000" y="596895"/>
                  </a:cubicBezTo>
                  <a:cubicBezTo>
                    <a:pt x="1217000" y="596895"/>
                    <a:pt x="1217000" y="596895"/>
                    <a:pt x="742067" y="122059"/>
                  </a:cubicBezTo>
                  <a:cubicBezTo>
                    <a:pt x="742067" y="122059"/>
                    <a:pt x="742067" y="122059"/>
                    <a:pt x="742067" y="1"/>
                  </a:cubicBezTo>
                  <a:cubicBezTo>
                    <a:pt x="742067" y="1"/>
                    <a:pt x="742067" y="1"/>
                    <a:pt x="724363" y="1"/>
                  </a:cubicBezTo>
                  <a:cubicBezTo>
                    <a:pt x="724363" y="1"/>
                    <a:pt x="724363" y="1"/>
                    <a:pt x="724363" y="122059"/>
                  </a:cubicBezTo>
                  <a:cubicBezTo>
                    <a:pt x="724363" y="122059"/>
                    <a:pt x="724363" y="122059"/>
                    <a:pt x="1217000" y="614719"/>
                  </a:cubicBezTo>
                  <a:close/>
                  <a:moveTo>
                    <a:pt x="2987933" y="638575"/>
                  </a:moveTo>
                  <a:cubicBezTo>
                    <a:pt x="3007370" y="638575"/>
                    <a:pt x="3023115" y="622955"/>
                    <a:pt x="3023115" y="603523"/>
                  </a:cubicBezTo>
                  <a:cubicBezTo>
                    <a:pt x="3023115" y="584090"/>
                    <a:pt x="3007370" y="568347"/>
                    <a:pt x="2987933" y="568347"/>
                  </a:cubicBezTo>
                  <a:cubicBezTo>
                    <a:pt x="2978461" y="568347"/>
                    <a:pt x="2969604" y="572037"/>
                    <a:pt x="2963330" y="578309"/>
                  </a:cubicBezTo>
                  <a:cubicBezTo>
                    <a:pt x="2963330" y="578309"/>
                    <a:pt x="2963330" y="578309"/>
                    <a:pt x="2794431" y="410056"/>
                  </a:cubicBezTo>
                  <a:cubicBezTo>
                    <a:pt x="2794431" y="410056"/>
                    <a:pt x="2794431" y="410056"/>
                    <a:pt x="2794431" y="2"/>
                  </a:cubicBezTo>
                  <a:cubicBezTo>
                    <a:pt x="2794431" y="2"/>
                    <a:pt x="2794431" y="2"/>
                    <a:pt x="2777085" y="2"/>
                  </a:cubicBezTo>
                  <a:cubicBezTo>
                    <a:pt x="2777085" y="2"/>
                    <a:pt x="2777085" y="2"/>
                    <a:pt x="2777085" y="410056"/>
                  </a:cubicBezTo>
                  <a:cubicBezTo>
                    <a:pt x="2777085" y="410056"/>
                    <a:pt x="2777085" y="410056"/>
                    <a:pt x="2955949" y="588763"/>
                  </a:cubicBezTo>
                  <a:cubicBezTo>
                    <a:pt x="2953858" y="593068"/>
                    <a:pt x="2952751" y="598234"/>
                    <a:pt x="2952751" y="603523"/>
                  </a:cubicBezTo>
                  <a:cubicBezTo>
                    <a:pt x="2952751" y="622955"/>
                    <a:pt x="2968497" y="638575"/>
                    <a:pt x="2987933" y="638575"/>
                  </a:cubicBezTo>
                  <a:close/>
                  <a:moveTo>
                    <a:pt x="342635" y="668938"/>
                  </a:moveTo>
                  <a:cubicBezTo>
                    <a:pt x="362053" y="668938"/>
                    <a:pt x="377783" y="653193"/>
                    <a:pt x="377783" y="633757"/>
                  </a:cubicBezTo>
                  <a:cubicBezTo>
                    <a:pt x="377783" y="614322"/>
                    <a:pt x="362053" y="598577"/>
                    <a:pt x="342635" y="598577"/>
                  </a:cubicBezTo>
                  <a:cubicBezTo>
                    <a:pt x="326413" y="598577"/>
                    <a:pt x="312772" y="609156"/>
                    <a:pt x="308593" y="623794"/>
                  </a:cubicBezTo>
                  <a:cubicBezTo>
                    <a:pt x="308593" y="623794"/>
                    <a:pt x="308593" y="623794"/>
                    <a:pt x="2" y="623794"/>
                  </a:cubicBezTo>
                  <a:cubicBezTo>
                    <a:pt x="2" y="623794"/>
                    <a:pt x="2" y="623794"/>
                    <a:pt x="2" y="641630"/>
                  </a:cubicBezTo>
                  <a:cubicBezTo>
                    <a:pt x="2" y="641630"/>
                    <a:pt x="2" y="641630"/>
                    <a:pt x="4672" y="641630"/>
                  </a:cubicBezTo>
                  <a:cubicBezTo>
                    <a:pt x="4672" y="641630"/>
                    <a:pt x="4672" y="641630"/>
                    <a:pt x="5732" y="641630"/>
                  </a:cubicBezTo>
                  <a:lnTo>
                    <a:pt x="5824" y="641630"/>
                  </a:lnTo>
                  <a:lnTo>
                    <a:pt x="9095" y="642388"/>
                  </a:lnTo>
                  <a:lnTo>
                    <a:pt x="12462" y="641630"/>
                  </a:lnTo>
                  <a:lnTo>
                    <a:pt x="13152" y="641630"/>
                  </a:lnTo>
                  <a:cubicBezTo>
                    <a:pt x="13152" y="641630"/>
                    <a:pt x="13152" y="641630"/>
                    <a:pt x="213718" y="641630"/>
                  </a:cubicBezTo>
                  <a:cubicBezTo>
                    <a:pt x="213718" y="641630"/>
                    <a:pt x="213718" y="641630"/>
                    <a:pt x="308101" y="641630"/>
                  </a:cubicBezTo>
                  <a:cubicBezTo>
                    <a:pt x="311789" y="657375"/>
                    <a:pt x="325921" y="668938"/>
                    <a:pt x="342635" y="668938"/>
                  </a:cubicBezTo>
                  <a:close/>
                  <a:moveTo>
                    <a:pt x="3849606" y="677070"/>
                  </a:moveTo>
                  <a:cubicBezTo>
                    <a:pt x="3868912" y="677070"/>
                    <a:pt x="3884652" y="661336"/>
                    <a:pt x="3884652" y="641914"/>
                  </a:cubicBezTo>
                  <a:cubicBezTo>
                    <a:pt x="3884652" y="622615"/>
                    <a:pt x="3868912" y="606880"/>
                    <a:pt x="3849606" y="606880"/>
                  </a:cubicBezTo>
                  <a:cubicBezTo>
                    <a:pt x="3839522" y="606880"/>
                    <a:pt x="3831160" y="611060"/>
                    <a:pt x="3824889" y="617329"/>
                  </a:cubicBezTo>
                  <a:cubicBezTo>
                    <a:pt x="3824889" y="617329"/>
                    <a:pt x="3824889" y="617329"/>
                    <a:pt x="3251365" y="44008"/>
                  </a:cubicBezTo>
                  <a:cubicBezTo>
                    <a:pt x="3251365" y="44008"/>
                    <a:pt x="3251365" y="44008"/>
                    <a:pt x="3251365" y="2"/>
                  </a:cubicBezTo>
                  <a:cubicBezTo>
                    <a:pt x="3251365" y="2"/>
                    <a:pt x="3251365" y="2"/>
                    <a:pt x="3234150" y="2"/>
                  </a:cubicBezTo>
                  <a:cubicBezTo>
                    <a:pt x="3234150" y="2"/>
                    <a:pt x="3234150" y="2"/>
                    <a:pt x="3234150" y="44008"/>
                  </a:cubicBezTo>
                  <a:cubicBezTo>
                    <a:pt x="3234150" y="44008"/>
                    <a:pt x="3234150" y="44008"/>
                    <a:pt x="3817634" y="627778"/>
                  </a:cubicBezTo>
                  <a:cubicBezTo>
                    <a:pt x="3815421" y="631957"/>
                    <a:pt x="3814437" y="636751"/>
                    <a:pt x="3814437" y="641914"/>
                  </a:cubicBezTo>
                  <a:cubicBezTo>
                    <a:pt x="3814437" y="661336"/>
                    <a:pt x="3830177" y="677070"/>
                    <a:pt x="3849606" y="677070"/>
                  </a:cubicBezTo>
                  <a:close/>
                  <a:moveTo>
                    <a:pt x="4387996" y="677071"/>
                  </a:moveTo>
                  <a:cubicBezTo>
                    <a:pt x="4407303" y="677071"/>
                    <a:pt x="4423044" y="661337"/>
                    <a:pt x="4423044" y="641915"/>
                  </a:cubicBezTo>
                  <a:cubicBezTo>
                    <a:pt x="4423044" y="622616"/>
                    <a:pt x="4407303" y="606881"/>
                    <a:pt x="4387996" y="606881"/>
                  </a:cubicBezTo>
                  <a:cubicBezTo>
                    <a:pt x="4378034" y="606881"/>
                    <a:pt x="4369549" y="611061"/>
                    <a:pt x="4362785" y="617330"/>
                  </a:cubicBezTo>
                  <a:cubicBezTo>
                    <a:pt x="4362785" y="617330"/>
                    <a:pt x="4362785" y="617330"/>
                    <a:pt x="3789832" y="44008"/>
                  </a:cubicBezTo>
                  <a:cubicBezTo>
                    <a:pt x="3789832" y="44008"/>
                    <a:pt x="3789832" y="44008"/>
                    <a:pt x="3789832" y="2"/>
                  </a:cubicBezTo>
                  <a:cubicBezTo>
                    <a:pt x="3789832" y="2"/>
                    <a:pt x="3789832" y="2"/>
                    <a:pt x="3772000" y="2"/>
                  </a:cubicBezTo>
                  <a:cubicBezTo>
                    <a:pt x="3772000" y="2"/>
                    <a:pt x="3772000" y="2"/>
                    <a:pt x="3772000" y="44008"/>
                  </a:cubicBezTo>
                  <a:cubicBezTo>
                    <a:pt x="3772000" y="44008"/>
                    <a:pt x="3772000" y="44008"/>
                    <a:pt x="4356021" y="627778"/>
                  </a:cubicBezTo>
                  <a:cubicBezTo>
                    <a:pt x="4353931" y="631958"/>
                    <a:pt x="4352824" y="636752"/>
                    <a:pt x="4352824" y="641915"/>
                  </a:cubicBezTo>
                  <a:cubicBezTo>
                    <a:pt x="4352824" y="661337"/>
                    <a:pt x="4368565" y="677071"/>
                    <a:pt x="4387996" y="677071"/>
                  </a:cubicBezTo>
                  <a:close/>
                  <a:moveTo>
                    <a:pt x="1270292" y="755145"/>
                  </a:moveTo>
                  <a:cubicBezTo>
                    <a:pt x="1270292" y="755145"/>
                    <a:pt x="1270292" y="755145"/>
                    <a:pt x="1537070" y="488392"/>
                  </a:cubicBezTo>
                  <a:cubicBezTo>
                    <a:pt x="1541250" y="490482"/>
                    <a:pt x="1546536" y="491588"/>
                    <a:pt x="1551208" y="491588"/>
                  </a:cubicBezTo>
                  <a:cubicBezTo>
                    <a:pt x="1570632" y="491588"/>
                    <a:pt x="1586860" y="475854"/>
                    <a:pt x="1586860" y="456431"/>
                  </a:cubicBezTo>
                  <a:cubicBezTo>
                    <a:pt x="1586860" y="437008"/>
                    <a:pt x="1570632" y="421397"/>
                    <a:pt x="1551208" y="421397"/>
                  </a:cubicBezTo>
                  <a:cubicBezTo>
                    <a:pt x="1531906" y="421397"/>
                    <a:pt x="1516170" y="437008"/>
                    <a:pt x="1516170" y="456431"/>
                  </a:cubicBezTo>
                  <a:cubicBezTo>
                    <a:pt x="1516170" y="465897"/>
                    <a:pt x="1520350" y="474747"/>
                    <a:pt x="1526620" y="481139"/>
                  </a:cubicBezTo>
                  <a:cubicBezTo>
                    <a:pt x="1526620" y="481139"/>
                    <a:pt x="1526620" y="481139"/>
                    <a:pt x="1270292" y="737936"/>
                  </a:cubicBezTo>
                  <a:cubicBezTo>
                    <a:pt x="1270292" y="737936"/>
                    <a:pt x="1270292" y="737936"/>
                    <a:pt x="689648" y="157225"/>
                  </a:cubicBezTo>
                  <a:cubicBezTo>
                    <a:pt x="689648" y="157225"/>
                    <a:pt x="689648" y="157225"/>
                    <a:pt x="689648" y="1"/>
                  </a:cubicBezTo>
                  <a:cubicBezTo>
                    <a:pt x="689648" y="1"/>
                    <a:pt x="689648" y="1"/>
                    <a:pt x="672313" y="1"/>
                  </a:cubicBezTo>
                  <a:cubicBezTo>
                    <a:pt x="672313" y="1"/>
                    <a:pt x="672313" y="1"/>
                    <a:pt x="672313" y="157225"/>
                  </a:cubicBezTo>
                  <a:cubicBezTo>
                    <a:pt x="672313" y="157225"/>
                    <a:pt x="672313" y="157225"/>
                    <a:pt x="1270292" y="755145"/>
                  </a:cubicBezTo>
                  <a:close/>
                  <a:moveTo>
                    <a:pt x="2741325" y="779002"/>
                  </a:moveTo>
                  <a:cubicBezTo>
                    <a:pt x="2760685" y="779002"/>
                    <a:pt x="2776962" y="763262"/>
                    <a:pt x="2776962" y="743834"/>
                  </a:cubicBezTo>
                  <a:cubicBezTo>
                    <a:pt x="2776962" y="727110"/>
                    <a:pt x="2764878" y="712969"/>
                    <a:pt x="2749094" y="709771"/>
                  </a:cubicBezTo>
                  <a:cubicBezTo>
                    <a:pt x="2749094" y="709771"/>
                    <a:pt x="2749094" y="709771"/>
                    <a:pt x="2749094" y="2"/>
                  </a:cubicBezTo>
                  <a:cubicBezTo>
                    <a:pt x="2749094" y="2"/>
                    <a:pt x="2749094" y="2"/>
                    <a:pt x="2731830" y="2"/>
                  </a:cubicBezTo>
                  <a:cubicBezTo>
                    <a:pt x="2731830" y="2"/>
                    <a:pt x="2731830" y="2"/>
                    <a:pt x="2731830" y="710263"/>
                  </a:cubicBezTo>
                  <a:cubicBezTo>
                    <a:pt x="2717033" y="714567"/>
                    <a:pt x="2706059" y="728216"/>
                    <a:pt x="2706059" y="743834"/>
                  </a:cubicBezTo>
                  <a:cubicBezTo>
                    <a:pt x="2706059" y="763262"/>
                    <a:pt x="2721842" y="779002"/>
                    <a:pt x="2741325" y="779002"/>
                  </a:cubicBezTo>
                  <a:close/>
                  <a:moveTo>
                    <a:pt x="2618680" y="779003"/>
                  </a:moveTo>
                  <a:cubicBezTo>
                    <a:pt x="2638129" y="779003"/>
                    <a:pt x="2653886" y="763263"/>
                    <a:pt x="2653886" y="743834"/>
                  </a:cubicBezTo>
                  <a:cubicBezTo>
                    <a:pt x="2653886" y="727110"/>
                    <a:pt x="2641822" y="712969"/>
                    <a:pt x="2626066" y="709772"/>
                  </a:cubicBezTo>
                  <a:cubicBezTo>
                    <a:pt x="2626066" y="709772"/>
                    <a:pt x="2626066" y="709772"/>
                    <a:pt x="2626066" y="2"/>
                  </a:cubicBezTo>
                  <a:cubicBezTo>
                    <a:pt x="2626066" y="2"/>
                    <a:pt x="2626066" y="2"/>
                    <a:pt x="2608709" y="2"/>
                  </a:cubicBezTo>
                  <a:cubicBezTo>
                    <a:pt x="2608709" y="2"/>
                    <a:pt x="2608709" y="2"/>
                    <a:pt x="2608709" y="710264"/>
                  </a:cubicBezTo>
                  <a:cubicBezTo>
                    <a:pt x="2594061" y="714568"/>
                    <a:pt x="2582982" y="728217"/>
                    <a:pt x="2582982" y="743834"/>
                  </a:cubicBezTo>
                  <a:cubicBezTo>
                    <a:pt x="2582982" y="763263"/>
                    <a:pt x="2599231" y="779003"/>
                    <a:pt x="2618680" y="779003"/>
                  </a:cubicBezTo>
                  <a:close/>
                  <a:moveTo>
                    <a:pt x="3849080" y="800689"/>
                  </a:moveTo>
                  <a:cubicBezTo>
                    <a:pt x="3868377" y="800689"/>
                    <a:pt x="3884110" y="784946"/>
                    <a:pt x="3884110" y="765513"/>
                  </a:cubicBezTo>
                  <a:cubicBezTo>
                    <a:pt x="3884110" y="746080"/>
                    <a:pt x="3868377" y="730460"/>
                    <a:pt x="3849080" y="730460"/>
                  </a:cubicBezTo>
                  <a:cubicBezTo>
                    <a:pt x="3839002" y="730460"/>
                    <a:pt x="3830644" y="734642"/>
                    <a:pt x="3824376" y="740914"/>
                  </a:cubicBezTo>
                  <a:cubicBezTo>
                    <a:pt x="3824376" y="740914"/>
                    <a:pt x="3824376" y="740914"/>
                    <a:pt x="3180945" y="97043"/>
                  </a:cubicBezTo>
                  <a:cubicBezTo>
                    <a:pt x="3180945" y="97043"/>
                    <a:pt x="3180945" y="97043"/>
                    <a:pt x="3180945" y="2"/>
                  </a:cubicBezTo>
                  <a:cubicBezTo>
                    <a:pt x="3180945" y="2"/>
                    <a:pt x="3180945" y="2"/>
                    <a:pt x="3163123" y="2"/>
                  </a:cubicBezTo>
                  <a:cubicBezTo>
                    <a:pt x="3163123" y="2"/>
                    <a:pt x="3163123" y="2"/>
                    <a:pt x="3163123" y="97043"/>
                  </a:cubicBezTo>
                  <a:cubicBezTo>
                    <a:pt x="3163123" y="97043"/>
                    <a:pt x="3163123" y="97043"/>
                    <a:pt x="3817124" y="751369"/>
                  </a:cubicBezTo>
                  <a:cubicBezTo>
                    <a:pt x="3814912" y="755551"/>
                    <a:pt x="3813929" y="760347"/>
                    <a:pt x="3813929" y="765513"/>
                  </a:cubicBezTo>
                  <a:cubicBezTo>
                    <a:pt x="3813929" y="784946"/>
                    <a:pt x="3829661" y="800689"/>
                    <a:pt x="3849080" y="800689"/>
                  </a:cubicBezTo>
                  <a:close/>
                  <a:moveTo>
                    <a:pt x="4387473" y="800690"/>
                  </a:moveTo>
                  <a:cubicBezTo>
                    <a:pt x="4406769" y="800690"/>
                    <a:pt x="4422502" y="784947"/>
                    <a:pt x="4422502" y="765514"/>
                  </a:cubicBezTo>
                  <a:cubicBezTo>
                    <a:pt x="4422502" y="746080"/>
                    <a:pt x="4406769" y="730460"/>
                    <a:pt x="4387473" y="730460"/>
                  </a:cubicBezTo>
                  <a:cubicBezTo>
                    <a:pt x="4377517" y="730460"/>
                    <a:pt x="4369036" y="734642"/>
                    <a:pt x="4362276" y="740915"/>
                  </a:cubicBezTo>
                  <a:cubicBezTo>
                    <a:pt x="4362276" y="740915"/>
                    <a:pt x="4362276" y="740915"/>
                    <a:pt x="3719337" y="97043"/>
                  </a:cubicBezTo>
                  <a:cubicBezTo>
                    <a:pt x="3719337" y="97043"/>
                    <a:pt x="3719337" y="97043"/>
                    <a:pt x="3719337" y="2"/>
                  </a:cubicBezTo>
                  <a:cubicBezTo>
                    <a:pt x="3719337" y="2"/>
                    <a:pt x="3719337" y="2"/>
                    <a:pt x="3701515" y="2"/>
                  </a:cubicBezTo>
                  <a:cubicBezTo>
                    <a:pt x="3701515" y="2"/>
                    <a:pt x="3701515" y="2"/>
                    <a:pt x="3701515" y="97043"/>
                  </a:cubicBezTo>
                  <a:cubicBezTo>
                    <a:pt x="3701515" y="97043"/>
                    <a:pt x="3701515" y="97043"/>
                    <a:pt x="4355516" y="751369"/>
                  </a:cubicBezTo>
                  <a:cubicBezTo>
                    <a:pt x="4353427" y="755551"/>
                    <a:pt x="4352321" y="760348"/>
                    <a:pt x="4352321" y="765514"/>
                  </a:cubicBezTo>
                  <a:cubicBezTo>
                    <a:pt x="4352321" y="784947"/>
                    <a:pt x="4368053" y="800690"/>
                    <a:pt x="4387473" y="800690"/>
                  </a:cubicBezTo>
                  <a:close/>
                  <a:moveTo>
                    <a:pt x="1322558" y="878764"/>
                  </a:moveTo>
                  <a:cubicBezTo>
                    <a:pt x="1322558" y="878764"/>
                    <a:pt x="1322558" y="878764"/>
                    <a:pt x="1624856" y="576823"/>
                  </a:cubicBezTo>
                  <a:cubicBezTo>
                    <a:pt x="1629036" y="578914"/>
                    <a:pt x="1633830" y="579898"/>
                    <a:pt x="1638993" y="579898"/>
                  </a:cubicBezTo>
                  <a:cubicBezTo>
                    <a:pt x="1658417" y="579898"/>
                    <a:pt x="1674153" y="564155"/>
                    <a:pt x="1674153" y="544723"/>
                  </a:cubicBezTo>
                  <a:cubicBezTo>
                    <a:pt x="1674153" y="525413"/>
                    <a:pt x="1658417" y="509056"/>
                    <a:pt x="1638993" y="509056"/>
                  </a:cubicBezTo>
                  <a:cubicBezTo>
                    <a:pt x="1619693" y="509056"/>
                    <a:pt x="1603957" y="525413"/>
                    <a:pt x="1603957" y="544723"/>
                  </a:cubicBezTo>
                  <a:cubicBezTo>
                    <a:pt x="1603957" y="554193"/>
                    <a:pt x="1608136" y="563171"/>
                    <a:pt x="1614406" y="569444"/>
                  </a:cubicBezTo>
                  <a:cubicBezTo>
                    <a:pt x="1614406" y="569444"/>
                    <a:pt x="1614406" y="569444"/>
                    <a:pt x="1322558" y="861422"/>
                  </a:cubicBezTo>
                  <a:cubicBezTo>
                    <a:pt x="1322558" y="861422"/>
                    <a:pt x="1322558" y="861422"/>
                    <a:pt x="654282" y="192480"/>
                  </a:cubicBezTo>
                  <a:cubicBezTo>
                    <a:pt x="654282" y="192480"/>
                    <a:pt x="654282" y="192480"/>
                    <a:pt x="654282" y="1"/>
                  </a:cubicBezTo>
                  <a:cubicBezTo>
                    <a:pt x="654282" y="1"/>
                    <a:pt x="654282" y="1"/>
                    <a:pt x="637070" y="1"/>
                  </a:cubicBezTo>
                  <a:cubicBezTo>
                    <a:pt x="637070" y="1"/>
                    <a:pt x="637070" y="1"/>
                    <a:pt x="637070" y="192480"/>
                  </a:cubicBezTo>
                  <a:cubicBezTo>
                    <a:pt x="637070" y="192480"/>
                    <a:pt x="637070" y="192480"/>
                    <a:pt x="1322558" y="878764"/>
                  </a:cubicBezTo>
                  <a:close/>
                  <a:moveTo>
                    <a:pt x="4388002" y="923766"/>
                  </a:moveTo>
                  <a:cubicBezTo>
                    <a:pt x="4407306" y="923766"/>
                    <a:pt x="4423044" y="908026"/>
                    <a:pt x="4423044" y="888596"/>
                  </a:cubicBezTo>
                  <a:cubicBezTo>
                    <a:pt x="4423044" y="869167"/>
                    <a:pt x="4407306" y="853426"/>
                    <a:pt x="4388002" y="853426"/>
                  </a:cubicBezTo>
                  <a:cubicBezTo>
                    <a:pt x="4378042" y="853426"/>
                    <a:pt x="4369558" y="857116"/>
                    <a:pt x="4362796" y="864002"/>
                  </a:cubicBezTo>
                  <a:cubicBezTo>
                    <a:pt x="4362796" y="864002"/>
                    <a:pt x="4362796" y="864002"/>
                    <a:pt x="3648910" y="149904"/>
                  </a:cubicBezTo>
                  <a:cubicBezTo>
                    <a:pt x="3648910" y="149904"/>
                    <a:pt x="3648910" y="149904"/>
                    <a:pt x="3648910" y="2"/>
                  </a:cubicBezTo>
                  <a:cubicBezTo>
                    <a:pt x="3648910" y="2"/>
                    <a:pt x="3648910" y="2"/>
                    <a:pt x="3631573" y="2"/>
                  </a:cubicBezTo>
                  <a:cubicBezTo>
                    <a:pt x="3631573" y="2"/>
                    <a:pt x="3631573" y="2"/>
                    <a:pt x="3631573" y="149904"/>
                  </a:cubicBezTo>
                  <a:cubicBezTo>
                    <a:pt x="3631573" y="149904"/>
                    <a:pt x="3631573" y="149904"/>
                    <a:pt x="4356033" y="873963"/>
                  </a:cubicBezTo>
                  <a:cubicBezTo>
                    <a:pt x="4353943" y="878636"/>
                    <a:pt x="4352836" y="883309"/>
                    <a:pt x="4352836" y="888596"/>
                  </a:cubicBezTo>
                  <a:cubicBezTo>
                    <a:pt x="4352836" y="908026"/>
                    <a:pt x="4368574" y="923766"/>
                    <a:pt x="4388002" y="923766"/>
                  </a:cubicBezTo>
                  <a:close/>
                  <a:moveTo>
                    <a:pt x="3849609" y="923766"/>
                  </a:moveTo>
                  <a:cubicBezTo>
                    <a:pt x="3868914" y="923766"/>
                    <a:pt x="3884652" y="908026"/>
                    <a:pt x="3884652" y="888596"/>
                  </a:cubicBezTo>
                  <a:cubicBezTo>
                    <a:pt x="3884652" y="869166"/>
                    <a:pt x="3868914" y="853426"/>
                    <a:pt x="3849609" y="853426"/>
                  </a:cubicBezTo>
                  <a:cubicBezTo>
                    <a:pt x="3839527" y="853426"/>
                    <a:pt x="3831166" y="857115"/>
                    <a:pt x="3824895" y="864002"/>
                  </a:cubicBezTo>
                  <a:cubicBezTo>
                    <a:pt x="3824895" y="864002"/>
                    <a:pt x="3824895" y="864002"/>
                    <a:pt x="3111009" y="149904"/>
                  </a:cubicBezTo>
                  <a:cubicBezTo>
                    <a:pt x="3111009" y="149904"/>
                    <a:pt x="3111009" y="149904"/>
                    <a:pt x="3111009" y="2"/>
                  </a:cubicBezTo>
                  <a:cubicBezTo>
                    <a:pt x="3111009" y="2"/>
                    <a:pt x="3111009" y="2"/>
                    <a:pt x="3093180" y="2"/>
                  </a:cubicBezTo>
                  <a:cubicBezTo>
                    <a:pt x="3093180" y="2"/>
                    <a:pt x="3093180" y="2"/>
                    <a:pt x="3093180" y="149904"/>
                  </a:cubicBezTo>
                  <a:cubicBezTo>
                    <a:pt x="3093180" y="149904"/>
                    <a:pt x="3093180" y="149904"/>
                    <a:pt x="3817640" y="873962"/>
                  </a:cubicBezTo>
                  <a:cubicBezTo>
                    <a:pt x="3815427" y="878635"/>
                    <a:pt x="3814443" y="883308"/>
                    <a:pt x="3814443" y="888596"/>
                  </a:cubicBezTo>
                  <a:cubicBezTo>
                    <a:pt x="3814443" y="908026"/>
                    <a:pt x="3830182" y="923766"/>
                    <a:pt x="3849609" y="923766"/>
                  </a:cubicBezTo>
                  <a:close/>
                  <a:moveTo>
                    <a:pt x="1257336" y="948706"/>
                  </a:moveTo>
                  <a:cubicBezTo>
                    <a:pt x="1257336" y="948706"/>
                    <a:pt x="1257336" y="948706"/>
                    <a:pt x="1644114" y="948706"/>
                  </a:cubicBezTo>
                  <a:cubicBezTo>
                    <a:pt x="1644114" y="948706"/>
                    <a:pt x="1644114" y="948706"/>
                    <a:pt x="1960691" y="632132"/>
                  </a:cubicBezTo>
                  <a:cubicBezTo>
                    <a:pt x="1960691" y="632132"/>
                    <a:pt x="1960691" y="632132"/>
                    <a:pt x="2118919" y="632132"/>
                  </a:cubicBezTo>
                  <a:cubicBezTo>
                    <a:pt x="2118919" y="632132"/>
                    <a:pt x="2118919" y="632132"/>
                    <a:pt x="2262516" y="488536"/>
                  </a:cubicBezTo>
                  <a:cubicBezTo>
                    <a:pt x="2267311" y="490626"/>
                    <a:pt x="2271982" y="491732"/>
                    <a:pt x="2277269" y="491732"/>
                  </a:cubicBezTo>
                  <a:cubicBezTo>
                    <a:pt x="2296694" y="491732"/>
                    <a:pt x="2312307" y="475996"/>
                    <a:pt x="2312307" y="456571"/>
                  </a:cubicBezTo>
                  <a:cubicBezTo>
                    <a:pt x="2312307" y="437146"/>
                    <a:pt x="2296694" y="421533"/>
                    <a:pt x="2277269" y="421533"/>
                  </a:cubicBezTo>
                  <a:cubicBezTo>
                    <a:pt x="2257844" y="421533"/>
                    <a:pt x="2242107" y="437146"/>
                    <a:pt x="2242107" y="456571"/>
                  </a:cubicBezTo>
                  <a:cubicBezTo>
                    <a:pt x="2242107" y="466037"/>
                    <a:pt x="2245795" y="474889"/>
                    <a:pt x="2252558" y="481282"/>
                  </a:cubicBezTo>
                  <a:cubicBezTo>
                    <a:pt x="2252558" y="481282"/>
                    <a:pt x="2252558" y="481282"/>
                    <a:pt x="2118919" y="614920"/>
                  </a:cubicBezTo>
                  <a:cubicBezTo>
                    <a:pt x="2118919" y="614920"/>
                    <a:pt x="2118919" y="614920"/>
                    <a:pt x="1960691" y="614920"/>
                  </a:cubicBezTo>
                  <a:cubicBezTo>
                    <a:pt x="1960691" y="614920"/>
                    <a:pt x="1960691" y="614920"/>
                    <a:pt x="1644114" y="931494"/>
                  </a:cubicBezTo>
                  <a:cubicBezTo>
                    <a:pt x="1644114" y="931494"/>
                    <a:pt x="1644114" y="931494"/>
                    <a:pt x="1257336" y="931494"/>
                  </a:cubicBezTo>
                  <a:cubicBezTo>
                    <a:pt x="1257336" y="931494"/>
                    <a:pt x="1257336" y="931494"/>
                    <a:pt x="518327" y="192492"/>
                  </a:cubicBezTo>
                  <a:cubicBezTo>
                    <a:pt x="518327" y="192492"/>
                    <a:pt x="518327" y="192492"/>
                    <a:pt x="518327" y="16809"/>
                  </a:cubicBezTo>
                  <a:cubicBezTo>
                    <a:pt x="518327" y="16809"/>
                    <a:pt x="518327" y="16809"/>
                    <a:pt x="1" y="16809"/>
                  </a:cubicBezTo>
                  <a:cubicBezTo>
                    <a:pt x="1" y="16809"/>
                    <a:pt x="1" y="16809"/>
                    <a:pt x="1" y="34635"/>
                  </a:cubicBezTo>
                  <a:cubicBezTo>
                    <a:pt x="1" y="34635"/>
                    <a:pt x="1" y="34635"/>
                    <a:pt x="500992" y="34635"/>
                  </a:cubicBezTo>
                  <a:cubicBezTo>
                    <a:pt x="500992" y="34635"/>
                    <a:pt x="500992" y="34635"/>
                    <a:pt x="500992" y="192492"/>
                  </a:cubicBezTo>
                  <a:cubicBezTo>
                    <a:pt x="500992" y="192492"/>
                    <a:pt x="500992" y="192492"/>
                    <a:pt x="1257336" y="948706"/>
                  </a:cubicBezTo>
                  <a:close/>
                  <a:moveTo>
                    <a:pt x="1274671" y="1044674"/>
                  </a:moveTo>
                  <a:cubicBezTo>
                    <a:pt x="1274671" y="1044674"/>
                    <a:pt x="1274671" y="1044674"/>
                    <a:pt x="1661940" y="1044674"/>
                  </a:cubicBezTo>
                  <a:cubicBezTo>
                    <a:pt x="1661940" y="1044674"/>
                    <a:pt x="1661940" y="1044674"/>
                    <a:pt x="1995853" y="710799"/>
                  </a:cubicBezTo>
                  <a:cubicBezTo>
                    <a:pt x="1995853" y="710799"/>
                    <a:pt x="1995853" y="710799"/>
                    <a:pt x="2243214" y="710799"/>
                  </a:cubicBezTo>
                  <a:cubicBezTo>
                    <a:pt x="2246287" y="726540"/>
                    <a:pt x="2260426" y="738099"/>
                    <a:pt x="2277269" y="738099"/>
                  </a:cubicBezTo>
                  <a:cubicBezTo>
                    <a:pt x="2296694" y="738099"/>
                    <a:pt x="2312307" y="722359"/>
                    <a:pt x="2312307" y="702929"/>
                  </a:cubicBezTo>
                  <a:cubicBezTo>
                    <a:pt x="2312307" y="683499"/>
                    <a:pt x="2296694" y="667759"/>
                    <a:pt x="2277269" y="667759"/>
                  </a:cubicBezTo>
                  <a:cubicBezTo>
                    <a:pt x="2261041" y="667759"/>
                    <a:pt x="2247885" y="678211"/>
                    <a:pt x="2243706" y="692968"/>
                  </a:cubicBezTo>
                  <a:cubicBezTo>
                    <a:pt x="2243706" y="692968"/>
                    <a:pt x="2243706" y="692968"/>
                    <a:pt x="1995853" y="692968"/>
                  </a:cubicBezTo>
                  <a:cubicBezTo>
                    <a:pt x="1995853" y="692968"/>
                    <a:pt x="1995853" y="692968"/>
                    <a:pt x="1661940" y="1027457"/>
                  </a:cubicBezTo>
                  <a:cubicBezTo>
                    <a:pt x="1661940" y="1027457"/>
                    <a:pt x="1661940" y="1027457"/>
                    <a:pt x="1274671" y="1027457"/>
                  </a:cubicBezTo>
                  <a:cubicBezTo>
                    <a:pt x="1274671" y="1027457"/>
                    <a:pt x="1274671" y="1027457"/>
                    <a:pt x="448127" y="200211"/>
                  </a:cubicBezTo>
                  <a:cubicBezTo>
                    <a:pt x="448127" y="200211"/>
                    <a:pt x="448127" y="200211"/>
                    <a:pt x="448127" y="77484"/>
                  </a:cubicBezTo>
                  <a:cubicBezTo>
                    <a:pt x="448127" y="77484"/>
                    <a:pt x="448127" y="77484"/>
                    <a:pt x="239493" y="76992"/>
                  </a:cubicBezTo>
                  <a:cubicBezTo>
                    <a:pt x="239493" y="76992"/>
                    <a:pt x="239493" y="76992"/>
                    <a:pt x="1" y="76992"/>
                  </a:cubicBezTo>
                  <a:cubicBezTo>
                    <a:pt x="1" y="76992"/>
                    <a:pt x="1" y="76992"/>
                    <a:pt x="1" y="94822"/>
                  </a:cubicBezTo>
                  <a:cubicBezTo>
                    <a:pt x="1" y="94822"/>
                    <a:pt x="1" y="94822"/>
                    <a:pt x="430792" y="94822"/>
                  </a:cubicBezTo>
                  <a:cubicBezTo>
                    <a:pt x="430792" y="94822"/>
                    <a:pt x="430792" y="94822"/>
                    <a:pt x="430792" y="200211"/>
                  </a:cubicBezTo>
                  <a:cubicBezTo>
                    <a:pt x="430792" y="200211"/>
                    <a:pt x="430792" y="200211"/>
                    <a:pt x="1274671" y="1044674"/>
                  </a:cubicBezTo>
                  <a:close/>
                  <a:moveTo>
                    <a:pt x="3849078" y="1046843"/>
                  </a:moveTo>
                  <a:cubicBezTo>
                    <a:pt x="3868376" y="1046843"/>
                    <a:pt x="3884110" y="1031103"/>
                    <a:pt x="3884110" y="1011796"/>
                  </a:cubicBezTo>
                  <a:cubicBezTo>
                    <a:pt x="3884110" y="992367"/>
                    <a:pt x="3868376" y="976627"/>
                    <a:pt x="3849078" y="976627"/>
                  </a:cubicBezTo>
                  <a:cubicBezTo>
                    <a:pt x="3838999" y="976627"/>
                    <a:pt x="3830640" y="980316"/>
                    <a:pt x="3824371" y="986588"/>
                  </a:cubicBezTo>
                  <a:cubicBezTo>
                    <a:pt x="3824371" y="986588"/>
                    <a:pt x="3824371" y="986588"/>
                    <a:pt x="3039905" y="202410"/>
                  </a:cubicBezTo>
                  <a:cubicBezTo>
                    <a:pt x="3039905" y="202410"/>
                    <a:pt x="3039905" y="202410"/>
                    <a:pt x="3039905" y="2"/>
                  </a:cubicBezTo>
                  <a:cubicBezTo>
                    <a:pt x="3039905" y="2"/>
                    <a:pt x="3039905" y="2"/>
                    <a:pt x="3022696" y="2"/>
                  </a:cubicBezTo>
                  <a:cubicBezTo>
                    <a:pt x="3022696" y="2"/>
                    <a:pt x="3022696" y="2"/>
                    <a:pt x="3022696" y="202410"/>
                  </a:cubicBezTo>
                  <a:cubicBezTo>
                    <a:pt x="3022696" y="202410"/>
                    <a:pt x="3022696" y="202410"/>
                    <a:pt x="3817119" y="997040"/>
                  </a:cubicBezTo>
                  <a:cubicBezTo>
                    <a:pt x="3814906" y="1001836"/>
                    <a:pt x="3813923" y="1006509"/>
                    <a:pt x="3813923" y="1011796"/>
                  </a:cubicBezTo>
                  <a:cubicBezTo>
                    <a:pt x="3813923" y="1031103"/>
                    <a:pt x="3829656" y="1046843"/>
                    <a:pt x="3849078" y="1046843"/>
                  </a:cubicBezTo>
                  <a:close/>
                  <a:moveTo>
                    <a:pt x="4387470" y="1046843"/>
                  </a:moveTo>
                  <a:cubicBezTo>
                    <a:pt x="4406768" y="1046843"/>
                    <a:pt x="4422502" y="1031103"/>
                    <a:pt x="4422502" y="1011796"/>
                  </a:cubicBezTo>
                  <a:cubicBezTo>
                    <a:pt x="4422502" y="992367"/>
                    <a:pt x="4406768" y="976627"/>
                    <a:pt x="4387470" y="976627"/>
                  </a:cubicBezTo>
                  <a:cubicBezTo>
                    <a:pt x="4377514" y="976627"/>
                    <a:pt x="4369032" y="980316"/>
                    <a:pt x="4362272" y="986588"/>
                  </a:cubicBezTo>
                  <a:cubicBezTo>
                    <a:pt x="4362272" y="986588"/>
                    <a:pt x="4362272" y="986588"/>
                    <a:pt x="3578420" y="202410"/>
                  </a:cubicBezTo>
                  <a:cubicBezTo>
                    <a:pt x="3578420" y="202410"/>
                    <a:pt x="3578420" y="202410"/>
                    <a:pt x="3578420" y="2"/>
                  </a:cubicBezTo>
                  <a:cubicBezTo>
                    <a:pt x="3578420" y="2"/>
                    <a:pt x="3578420" y="2"/>
                    <a:pt x="3561089" y="2"/>
                  </a:cubicBezTo>
                  <a:cubicBezTo>
                    <a:pt x="3561089" y="2"/>
                    <a:pt x="3561089" y="2"/>
                    <a:pt x="3561089" y="202410"/>
                  </a:cubicBezTo>
                  <a:cubicBezTo>
                    <a:pt x="3561089" y="202410"/>
                    <a:pt x="3561089" y="202410"/>
                    <a:pt x="4355511" y="997040"/>
                  </a:cubicBezTo>
                  <a:cubicBezTo>
                    <a:pt x="4353422" y="1001836"/>
                    <a:pt x="4352315" y="1006509"/>
                    <a:pt x="4352315" y="1011796"/>
                  </a:cubicBezTo>
                  <a:cubicBezTo>
                    <a:pt x="4352315" y="1031103"/>
                    <a:pt x="4368049" y="1046843"/>
                    <a:pt x="4387470" y="1046843"/>
                  </a:cubicBezTo>
                  <a:close/>
                  <a:moveTo>
                    <a:pt x="1029022" y="1062025"/>
                  </a:moveTo>
                  <a:cubicBezTo>
                    <a:pt x="1048451" y="1062025"/>
                    <a:pt x="1064192" y="1046295"/>
                    <a:pt x="1064192" y="1027001"/>
                  </a:cubicBezTo>
                  <a:cubicBezTo>
                    <a:pt x="1064192" y="1007585"/>
                    <a:pt x="1048451" y="991855"/>
                    <a:pt x="1029022" y="991855"/>
                  </a:cubicBezTo>
                  <a:cubicBezTo>
                    <a:pt x="1023857" y="991855"/>
                    <a:pt x="1018569" y="992961"/>
                    <a:pt x="1014388" y="995050"/>
                  </a:cubicBezTo>
                  <a:cubicBezTo>
                    <a:pt x="1014388" y="995050"/>
                    <a:pt x="1014388" y="995050"/>
                    <a:pt x="782712" y="763402"/>
                  </a:cubicBezTo>
                  <a:cubicBezTo>
                    <a:pt x="782712" y="763402"/>
                    <a:pt x="782712" y="763402"/>
                    <a:pt x="342845" y="763402"/>
                  </a:cubicBezTo>
                  <a:cubicBezTo>
                    <a:pt x="342845" y="763402"/>
                    <a:pt x="342845" y="763402"/>
                    <a:pt x="219628" y="886538"/>
                  </a:cubicBezTo>
                  <a:cubicBezTo>
                    <a:pt x="219628" y="886538"/>
                    <a:pt x="219628" y="886538"/>
                    <a:pt x="2" y="886538"/>
                  </a:cubicBezTo>
                  <a:cubicBezTo>
                    <a:pt x="2" y="886538"/>
                    <a:pt x="2" y="886538"/>
                    <a:pt x="2" y="903865"/>
                  </a:cubicBezTo>
                  <a:cubicBezTo>
                    <a:pt x="2" y="903865"/>
                    <a:pt x="2" y="903865"/>
                    <a:pt x="219628" y="903865"/>
                  </a:cubicBezTo>
                  <a:cubicBezTo>
                    <a:pt x="219628" y="903865"/>
                    <a:pt x="219628" y="903865"/>
                    <a:pt x="342845" y="780730"/>
                  </a:cubicBezTo>
                  <a:cubicBezTo>
                    <a:pt x="342845" y="780730"/>
                    <a:pt x="342845" y="780730"/>
                    <a:pt x="782712" y="780730"/>
                  </a:cubicBezTo>
                  <a:cubicBezTo>
                    <a:pt x="782712" y="780730"/>
                    <a:pt x="782712" y="780730"/>
                    <a:pt x="1003935" y="1002300"/>
                  </a:cubicBezTo>
                  <a:cubicBezTo>
                    <a:pt x="997664" y="1008691"/>
                    <a:pt x="993360" y="1017539"/>
                    <a:pt x="993360" y="1027001"/>
                  </a:cubicBezTo>
                  <a:cubicBezTo>
                    <a:pt x="993360" y="1046295"/>
                    <a:pt x="1009716" y="1062025"/>
                    <a:pt x="1029022" y="1062025"/>
                  </a:cubicBezTo>
                  <a:close/>
                  <a:moveTo>
                    <a:pt x="905418" y="1062566"/>
                  </a:moveTo>
                  <a:cubicBezTo>
                    <a:pt x="924840" y="1062566"/>
                    <a:pt x="940573" y="1046816"/>
                    <a:pt x="940573" y="1027497"/>
                  </a:cubicBezTo>
                  <a:cubicBezTo>
                    <a:pt x="940573" y="1008055"/>
                    <a:pt x="924840" y="992304"/>
                    <a:pt x="905418" y="992304"/>
                  </a:cubicBezTo>
                  <a:cubicBezTo>
                    <a:pt x="900256" y="992304"/>
                    <a:pt x="894971" y="993411"/>
                    <a:pt x="890792" y="995503"/>
                  </a:cubicBezTo>
                  <a:cubicBezTo>
                    <a:pt x="890792" y="995503"/>
                    <a:pt x="890792" y="995503"/>
                    <a:pt x="747223" y="851779"/>
                  </a:cubicBezTo>
                  <a:cubicBezTo>
                    <a:pt x="747223" y="851779"/>
                    <a:pt x="747223" y="851779"/>
                    <a:pt x="342699" y="851779"/>
                  </a:cubicBezTo>
                  <a:cubicBezTo>
                    <a:pt x="342699" y="851779"/>
                    <a:pt x="342699" y="851779"/>
                    <a:pt x="254689" y="939392"/>
                  </a:cubicBezTo>
                  <a:cubicBezTo>
                    <a:pt x="254689" y="939392"/>
                    <a:pt x="254689" y="939392"/>
                    <a:pt x="2" y="939392"/>
                  </a:cubicBezTo>
                  <a:cubicBezTo>
                    <a:pt x="2" y="939392"/>
                    <a:pt x="2" y="939392"/>
                    <a:pt x="2" y="957111"/>
                  </a:cubicBezTo>
                  <a:cubicBezTo>
                    <a:pt x="2" y="957111"/>
                    <a:pt x="2" y="957111"/>
                    <a:pt x="254689" y="957111"/>
                  </a:cubicBezTo>
                  <a:cubicBezTo>
                    <a:pt x="254689" y="957111"/>
                    <a:pt x="254689" y="957111"/>
                    <a:pt x="342699" y="869006"/>
                  </a:cubicBezTo>
                  <a:cubicBezTo>
                    <a:pt x="342699" y="869006"/>
                    <a:pt x="342699" y="869006"/>
                    <a:pt x="747223" y="869006"/>
                  </a:cubicBezTo>
                  <a:cubicBezTo>
                    <a:pt x="747223" y="869006"/>
                    <a:pt x="747223" y="869006"/>
                    <a:pt x="880343" y="1002763"/>
                  </a:cubicBezTo>
                  <a:cubicBezTo>
                    <a:pt x="874075" y="1009162"/>
                    <a:pt x="870387" y="1018022"/>
                    <a:pt x="870387" y="1027497"/>
                  </a:cubicBezTo>
                  <a:cubicBezTo>
                    <a:pt x="870387" y="1046816"/>
                    <a:pt x="886120" y="1062566"/>
                    <a:pt x="905418" y="1062566"/>
                  </a:cubicBezTo>
                  <a:close/>
                  <a:moveTo>
                    <a:pt x="1151612" y="1062567"/>
                  </a:moveTo>
                  <a:cubicBezTo>
                    <a:pt x="1171530" y="1062567"/>
                    <a:pt x="1187269" y="1046824"/>
                    <a:pt x="1187269" y="1027514"/>
                  </a:cubicBezTo>
                  <a:cubicBezTo>
                    <a:pt x="1187269" y="1008080"/>
                    <a:pt x="1171530" y="992337"/>
                    <a:pt x="1151612" y="992337"/>
                  </a:cubicBezTo>
                  <a:cubicBezTo>
                    <a:pt x="1146816" y="992337"/>
                    <a:pt x="1141652" y="993444"/>
                    <a:pt x="1137471" y="995535"/>
                  </a:cubicBezTo>
                  <a:cubicBezTo>
                    <a:pt x="1137471" y="995535"/>
                    <a:pt x="1137471" y="995535"/>
                    <a:pt x="834999" y="693460"/>
                  </a:cubicBezTo>
                  <a:cubicBezTo>
                    <a:pt x="834999" y="693460"/>
                    <a:pt x="834999" y="693460"/>
                    <a:pt x="307639" y="693460"/>
                  </a:cubicBezTo>
                  <a:cubicBezTo>
                    <a:pt x="307639" y="693460"/>
                    <a:pt x="307639" y="693460"/>
                    <a:pt x="166730" y="834043"/>
                  </a:cubicBezTo>
                  <a:cubicBezTo>
                    <a:pt x="166730" y="834043"/>
                    <a:pt x="166730" y="834043"/>
                    <a:pt x="2" y="834043"/>
                  </a:cubicBezTo>
                  <a:cubicBezTo>
                    <a:pt x="2" y="834043"/>
                    <a:pt x="2" y="834043"/>
                    <a:pt x="2" y="851877"/>
                  </a:cubicBezTo>
                  <a:cubicBezTo>
                    <a:pt x="2" y="851877"/>
                    <a:pt x="2" y="851877"/>
                    <a:pt x="166730" y="851877"/>
                  </a:cubicBezTo>
                  <a:cubicBezTo>
                    <a:pt x="166730" y="851877"/>
                    <a:pt x="166730" y="851877"/>
                    <a:pt x="307639" y="710803"/>
                  </a:cubicBezTo>
                  <a:cubicBezTo>
                    <a:pt x="307639" y="710803"/>
                    <a:pt x="307639" y="710803"/>
                    <a:pt x="834999" y="710803"/>
                  </a:cubicBezTo>
                  <a:cubicBezTo>
                    <a:pt x="834999" y="710803"/>
                    <a:pt x="834999" y="710803"/>
                    <a:pt x="1127020" y="1002791"/>
                  </a:cubicBezTo>
                  <a:cubicBezTo>
                    <a:pt x="1120626" y="1009187"/>
                    <a:pt x="1116446" y="1018043"/>
                    <a:pt x="1116446" y="1027514"/>
                  </a:cubicBezTo>
                  <a:cubicBezTo>
                    <a:pt x="1116446" y="1046824"/>
                    <a:pt x="1132184" y="1062567"/>
                    <a:pt x="1151612" y="1062567"/>
                  </a:cubicBezTo>
                  <a:close/>
                  <a:moveTo>
                    <a:pt x="782462" y="1062567"/>
                  </a:moveTo>
                  <a:cubicBezTo>
                    <a:pt x="801762" y="1062567"/>
                    <a:pt x="817497" y="1046833"/>
                    <a:pt x="817497" y="1027535"/>
                  </a:cubicBezTo>
                  <a:cubicBezTo>
                    <a:pt x="817497" y="1008114"/>
                    <a:pt x="801762" y="992380"/>
                    <a:pt x="782462" y="992380"/>
                  </a:cubicBezTo>
                  <a:cubicBezTo>
                    <a:pt x="777175" y="992380"/>
                    <a:pt x="772505" y="993486"/>
                    <a:pt x="767710" y="995576"/>
                  </a:cubicBezTo>
                  <a:cubicBezTo>
                    <a:pt x="767710" y="995576"/>
                    <a:pt x="767710" y="995576"/>
                    <a:pt x="676618" y="904371"/>
                  </a:cubicBezTo>
                  <a:cubicBezTo>
                    <a:pt x="676618" y="904371"/>
                    <a:pt x="676618" y="904371"/>
                    <a:pt x="412929" y="904371"/>
                  </a:cubicBezTo>
                  <a:cubicBezTo>
                    <a:pt x="412929" y="904371"/>
                    <a:pt x="412929" y="904371"/>
                    <a:pt x="324910" y="992380"/>
                  </a:cubicBezTo>
                  <a:cubicBezTo>
                    <a:pt x="324910" y="992380"/>
                    <a:pt x="324910" y="992380"/>
                    <a:pt x="2" y="992380"/>
                  </a:cubicBezTo>
                  <a:cubicBezTo>
                    <a:pt x="2" y="992380"/>
                    <a:pt x="2" y="992380"/>
                    <a:pt x="2" y="1010203"/>
                  </a:cubicBezTo>
                  <a:cubicBezTo>
                    <a:pt x="2" y="1010203"/>
                    <a:pt x="2" y="1010203"/>
                    <a:pt x="324910" y="1010203"/>
                  </a:cubicBezTo>
                  <a:cubicBezTo>
                    <a:pt x="324910" y="1010203"/>
                    <a:pt x="324910" y="1010203"/>
                    <a:pt x="412929" y="922194"/>
                  </a:cubicBezTo>
                  <a:cubicBezTo>
                    <a:pt x="412929" y="922194"/>
                    <a:pt x="412929" y="922194"/>
                    <a:pt x="676618" y="922194"/>
                  </a:cubicBezTo>
                  <a:cubicBezTo>
                    <a:pt x="676618" y="922194"/>
                    <a:pt x="676618" y="922194"/>
                    <a:pt x="757260" y="1002828"/>
                  </a:cubicBezTo>
                  <a:cubicBezTo>
                    <a:pt x="750991" y="1009220"/>
                    <a:pt x="747304" y="1018070"/>
                    <a:pt x="747304" y="1027535"/>
                  </a:cubicBezTo>
                  <a:cubicBezTo>
                    <a:pt x="747304" y="1046833"/>
                    <a:pt x="763038" y="1062567"/>
                    <a:pt x="782462" y="1062567"/>
                  </a:cubicBezTo>
                  <a:close/>
                  <a:moveTo>
                    <a:pt x="2" y="1088050"/>
                  </a:moveTo>
                  <a:cubicBezTo>
                    <a:pt x="2" y="1088050"/>
                    <a:pt x="2" y="1088050"/>
                    <a:pt x="395777" y="1088050"/>
                  </a:cubicBezTo>
                  <a:cubicBezTo>
                    <a:pt x="395777" y="1088050"/>
                    <a:pt x="395777" y="1088050"/>
                    <a:pt x="465980" y="1035212"/>
                  </a:cubicBezTo>
                  <a:cubicBezTo>
                    <a:pt x="465980" y="1035212"/>
                    <a:pt x="465980" y="1035212"/>
                    <a:pt x="624832" y="1035212"/>
                  </a:cubicBezTo>
                  <a:cubicBezTo>
                    <a:pt x="628397" y="1050941"/>
                    <a:pt x="642660" y="1062368"/>
                    <a:pt x="659380" y="1062368"/>
                  </a:cubicBezTo>
                  <a:cubicBezTo>
                    <a:pt x="678807" y="1062368"/>
                    <a:pt x="694422" y="1046640"/>
                    <a:pt x="694422" y="1027348"/>
                  </a:cubicBezTo>
                  <a:cubicBezTo>
                    <a:pt x="694422" y="1007934"/>
                    <a:pt x="678807" y="992205"/>
                    <a:pt x="659380" y="992205"/>
                  </a:cubicBezTo>
                  <a:cubicBezTo>
                    <a:pt x="643152" y="992205"/>
                    <a:pt x="629504" y="1003264"/>
                    <a:pt x="625323" y="1017887"/>
                  </a:cubicBezTo>
                  <a:cubicBezTo>
                    <a:pt x="625323" y="1017887"/>
                    <a:pt x="625323" y="1017887"/>
                    <a:pt x="465980" y="1017395"/>
                  </a:cubicBezTo>
                  <a:cubicBezTo>
                    <a:pt x="465980" y="1017395"/>
                    <a:pt x="465980" y="1017395"/>
                    <a:pt x="395777" y="1070232"/>
                  </a:cubicBezTo>
                  <a:cubicBezTo>
                    <a:pt x="395777" y="1070232"/>
                    <a:pt x="395777" y="1070232"/>
                    <a:pt x="213811" y="1070232"/>
                  </a:cubicBezTo>
                  <a:cubicBezTo>
                    <a:pt x="213811" y="1070232"/>
                    <a:pt x="213811" y="1070232"/>
                    <a:pt x="2" y="1070232"/>
                  </a:cubicBezTo>
                  <a:cubicBezTo>
                    <a:pt x="2" y="1070232"/>
                    <a:pt x="2" y="1070232"/>
                    <a:pt x="2" y="1088050"/>
                  </a:cubicBezTo>
                  <a:close/>
                  <a:moveTo>
                    <a:pt x="2" y="1119497"/>
                  </a:moveTo>
                  <a:cubicBezTo>
                    <a:pt x="2" y="1119497"/>
                    <a:pt x="2" y="1119497"/>
                    <a:pt x="741184" y="1119497"/>
                  </a:cubicBezTo>
                  <a:cubicBezTo>
                    <a:pt x="741184" y="1119497"/>
                    <a:pt x="741184" y="1119497"/>
                    <a:pt x="2145962" y="1119497"/>
                  </a:cubicBezTo>
                  <a:cubicBezTo>
                    <a:pt x="2145962" y="1119497"/>
                    <a:pt x="2145962" y="1119497"/>
                    <a:pt x="2322036" y="943834"/>
                  </a:cubicBezTo>
                  <a:cubicBezTo>
                    <a:pt x="2322036" y="943834"/>
                    <a:pt x="2322036" y="943834"/>
                    <a:pt x="2831937" y="943834"/>
                  </a:cubicBezTo>
                  <a:cubicBezTo>
                    <a:pt x="2831937" y="943834"/>
                    <a:pt x="2831937" y="943834"/>
                    <a:pt x="2982928" y="792774"/>
                  </a:cubicBezTo>
                  <a:cubicBezTo>
                    <a:pt x="2989199" y="799048"/>
                    <a:pt x="2998051" y="802738"/>
                    <a:pt x="3008011" y="802738"/>
                  </a:cubicBezTo>
                  <a:cubicBezTo>
                    <a:pt x="3027438" y="802738"/>
                    <a:pt x="3043176" y="786992"/>
                    <a:pt x="3043176" y="767556"/>
                  </a:cubicBezTo>
                  <a:cubicBezTo>
                    <a:pt x="3043176" y="748243"/>
                    <a:pt x="3027438" y="732498"/>
                    <a:pt x="3008011" y="732498"/>
                  </a:cubicBezTo>
                  <a:cubicBezTo>
                    <a:pt x="2988092" y="732498"/>
                    <a:pt x="2972477" y="748243"/>
                    <a:pt x="2972477" y="767556"/>
                  </a:cubicBezTo>
                  <a:cubicBezTo>
                    <a:pt x="2972477" y="772846"/>
                    <a:pt x="2973952" y="778136"/>
                    <a:pt x="2975550" y="782318"/>
                  </a:cubicBezTo>
                  <a:cubicBezTo>
                    <a:pt x="2975550" y="782318"/>
                    <a:pt x="2975550" y="782318"/>
                    <a:pt x="2831937" y="925997"/>
                  </a:cubicBezTo>
                  <a:cubicBezTo>
                    <a:pt x="2831937" y="925997"/>
                    <a:pt x="2831937" y="925997"/>
                    <a:pt x="2322036" y="925997"/>
                  </a:cubicBezTo>
                  <a:cubicBezTo>
                    <a:pt x="2322036" y="925997"/>
                    <a:pt x="2322036" y="925997"/>
                    <a:pt x="2145962" y="1102152"/>
                  </a:cubicBezTo>
                  <a:cubicBezTo>
                    <a:pt x="2145962" y="1102152"/>
                    <a:pt x="2145962" y="1102152"/>
                    <a:pt x="2" y="1102152"/>
                  </a:cubicBezTo>
                  <a:cubicBezTo>
                    <a:pt x="2" y="1102152"/>
                    <a:pt x="2" y="1102152"/>
                    <a:pt x="2" y="1119497"/>
                  </a:cubicBezTo>
                  <a:close/>
                  <a:moveTo>
                    <a:pt x="2" y="1167751"/>
                  </a:moveTo>
                  <a:cubicBezTo>
                    <a:pt x="2" y="1167751"/>
                    <a:pt x="2" y="1167751"/>
                    <a:pt x="1372839" y="1167751"/>
                  </a:cubicBezTo>
                  <a:cubicBezTo>
                    <a:pt x="1372839" y="1167751"/>
                    <a:pt x="1372839" y="1167751"/>
                    <a:pt x="1398538" y="1167751"/>
                  </a:cubicBezTo>
                  <a:cubicBezTo>
                    <a:pt x="1398538" y="1167751"/>
                    <a:pt x="1398538" y="1167751"/>
                    <a:pt x="2785885" y="1167751"/>
                  </a:cubicBezTo>
                  <a:cubicBezTo>
                    <a:pt x="2785885" y="1167751"/>
                    <a:pt x="2785885" y="1167751"/>
                    <a:pt x="3102504" y="851295"/>
                  </a:cubicBezTo>
                  <a:cubicBezTo>
                    <a:pt x="3102504" y="851295"/>
                    <a:pt x="3102504" y="851295"/>
                    <a:pt x="3402279" y="851295"/>
                  </a:cubicBezTo>
                  <a:cubicBezTo>
                    <a:pt x="3405968" y="867026"/>
                    <a:pt x="3419616" y="878578"/>
                    <a:pt x="3436338" y="878578"/>
                  </a:cubicBezTo>
                  <a:cubicBezTo>
                    <a:pt x="3455766" y="878578"/>
                    <a:pt x="3471505" y="862847"/>
                    <a:pt x="3471505" y="843430"/>
                  </a:cubicBezTo>
                  <a:cubicBezTo>
                    <a:pt x="3471505" y="824135"/>
                    <a:pt x="3455766" y="808405"/>
                    <a:pt x="3436338" y="808405"/>
                  </a:cubicBezTo>
                  <a:cubicBezTo>
                    <a:pt x="3420600" y="808405"/>
                    <a:pt x="3407074" y="818850"/>
                    <a:pt x="3402771" y="833475"/>
                  </a:cubicBezTo>
                  <a:cubicBezTo>
                    <a:pt x="3402771" y="833475"/>
                    <a:pt x="3402771" y="833475"/>
                    <a:pt x="3102504" y="833475"/>
                  </a:cubicBezTo>
                  <a:cubicBezTo>
                    <a:pt x="3102504" y="833475"/>
                    <a:pt x="3102504" y="833475"/>
                    <a:pt x="2785885" y="1149932"/>
                  </a:cubicBezTo>
                  <a:cubicBezTo>
                    <a:pt x="2785885" y="1149932"/>
                    <a:pt x="2785885" y="1149932"/>
                    <a:pt x="1398538" y="1149932"/>
                  </a:cubicBezTo>
                  <a:cubicBezTo>
                    <a:pt x="1398538" y="1149932"/>
                    <a:pt x="1398538" y="1149932"/>
                    <a:pt x="2" y="1149932"/>
                  </a:cubicBezTo>
                  <a:cubicBezTo>
                    <a:pt x="2" y="1149932"/>
                    <a:pt x="2" y="1149932"/>
                    <a:pt x="2" y="1167751"/>
                  </a:cubicBezTo>
                  <a:close/>
                  <a:moveTo>
                    <a:pt x="2" y="1238236"/>
                  </a:moveTo>
                  <a:cubicBezTo>
                    <a:pt x="2" y="1238236"/>
                    <a:pt x="2" y="1238236"/>
                    <a:pt x="1372839" y="1238236"/>
                  </a:cubicBezTo>
                  <a:cubicBezTo>
                    <a:pt x="1372839" y="1238236"/>
                    <a:pt x="1372839" y="1238236"/>
                    <a:pt x="2785885" y="1238236"/>
                  </a:cubicBezTo>
                  <a:cubicBezTo>
                    <a:pt x="2785885" y="1238236"/>
                    <a:pt x="2785885" y="1238236"/>
                    <a:pt x="3031680" y="991878"/>
                  </a:cubicBezTo>
                  <a:cubicBezTo>
                    <a:pt x="3031680" y="991878"/>
                    <a:pt x="3031680" y="991878"/>
                    <a:pt x="3402279" y="991878"/>
                  </a:cubicBezTo>
                  <a:cubicBezTo>
                    <a:pt x="3405968" y="1007622"/>
                    <a:pt x="3419616" y="1019675"/>
                    <a:pt x="3436338" y="1019675"/>
                  </a:cubicBezTo>
                  <a:cubicBezTo>
                    <a:pt x="3455766" y="1019675"/>
                    <a:pt x="3471505" y="1003932"/>
                    <a:pt x="3471505" y="984499"/>
                  </a:cubicBezTo>
                  <a:cubicBezTo>
                    <a:pt x="3471505" y="964574"/>
                    <a:pt x="3455766" y="948831"/>
                    <a:pt x="3436338" y="948831"/>
                  </a:cubicBezTo>
                  <a:cubicBezTo>
                    <a:pt x="3420600" y="948831"/>
                    <a:pt x="3407074" y="959900"/>
                    <a:pt x="3402771" y="974536"/>
                  </a:cubicBezTo>
                  <a:cubicBezTo>
                    <a:pt x="3402771" y="974536"/>
                    <a:pt x="3402771" y="974536"/>
                    <a:pt x="3031680" y="974536"/>
                  </a:cubicBezTo>
                  <a:cubicBezTo>
                    <a:pt x="3031680" y="974536"/>
                    <a:pt x="3031680" y="974536"/>
                    <a:pt x="2785885" y="1221017"/>
                  </a:cubicBezTo>
                  <a:cubicBezTo>
                    <a:pt x="2785885" y="1221017"/>
                    <a:pt x="2785885" y="1221017"/>
                    <a:pt x="1398538" y="1221017"/>
                  </a:cubicBezTo>
                  <a:cubicBezTo>
                    <a:pt x="1398538" y="1221017"/>
                    <a:pt x="1398538" y="1221017"/>
                    <a:pt x="2" y="1221017"/>
                  </a:cubicBezTo>
                  <a:cubicBezTo>
                    <a:pt x="2" y="1221017"/>
                    <a:pt x="2" y="1221017"/>
                    <a:pt x="2" y="1238236"/>
                  </a:cubicBezTo>
                  <a:close/>
                  <a:moveTo>
                    <a:pt x="2" y="1326071"/>
                  </a:moveTo>
                  <a:cubicBezTo>
                    <a:pt x="2" y="1326071"/>
                    <a:pt x="2" y="1326071"/>
                    <a:pt x="2838059" y="1326071"/>
                  </a:cubicBezTo>
                  <a:cubicBezTo>
                    <a:pt x="2838059" y="1326071"/>
                    <a:pt x="2838059" y="1326071"/>
                    <a:pt x="2996418" y="1167721"/>
                  </a:cubicBezTo>
                  <a:cubicBezTo>
                    <a:pt x="2996418" y="1167721"/>
                    <a:pt x="2996418" y="1167721"/>
                    <a:pt x="3524120" y="1167721"/>
                  </a:cubicBezTo>
                  <a:cubicBezTo>
                    <a:pt x="3524120" y="1167721"/>
                    <a:pt x="3524120" y="1167721"/>
                    <a:pt x="3612276" y="1079695"/>
                  </a:cubicBezTo>
                  <a:cubicBezTo>
                    <a:pt x="3612276" y="1079695"/>
                    <a:pt x="3612276" y="1079695"/>
                    <a:pt x="3630595" y="1079695"/>
                  </a:cubicBezTo>
                  <a:cubicBezTo>
                    <a:pt x="3634283" y="1095432"/>
                    <a:pt x="3648423" y="1106988"/>
                    <a:pt x="3664652" y="1106988"/>
                  </a:cubicBezTo>
                  <a:cubicBezTo>
                    <a:pt x="3684570" y="1106988"/>
                    <a:pt x="3700308" y="1091252"/>
                    <a:pt x="3700308" y="1071827"/>
                  </a:cubicBezTo>
                  <a:cubicBezTo>
                    <a:pt x="3700308" y="1052402"/>
                    <a:pt x="3684570" y="1036665"/>
                    <a:pt x="3664652" y="1036665"/>
                  </a:cubicBezTo>
                  <a:cubicBezTo>
                    <a:pt x="3648915" y="1036665"/>
                    <a:pt x="3635267" y="1047730"/>
                    <a:pt x="3631087" y="1062360"/>
                  </a:cubicBezTo>
                  <a:cubicBezTo>
                    <a:pt x="3631087" y="1062360"/>
                    <a:pt x="3631087" y="1062360"/>
                    <a:pt x="3612276" y="1062360"/>
                  </a:cubicBezTo>
                  <a:cubicBezTo>
                    <a:pt x="3612276" y="1062360"/>
                    <a:pt x="3612276" y="1062360"/>
                    <a:pt x="3524120" y="1149895"/>
                  </a:cubicBezTo>
                  <a:cubicBezTo>
                    <a:pt x="3524120" y="1149895"/>
                    <a:pt x="3524120" y="1149895"/>
                    <a:pt x="2996418" y="1149895"/>
                  </a:cubicBezTo>
                  <a:cubicBezTo>
                    <a:pt x="2996418" y="1149895"/>
                    <a:pt x="2996418" y="1149895"/>
                    <a:pt x="2838059" y="1308244"/>
                  </a:cubicBezTo>
                  <a:cubicBezTo>
                    <a:pt x="2838059" y="1308244"/>
                    <a:pt x="2838059" y="1308244"/>
                    <a:pt x="2" y="1308244"/>
                  </a:cubicBezTo>
                  <a:cubicBezTo>
                    <a:pt x="2" y="1308244"/>
                    <a:pt x="2" y="1308244"/>
                    <a:pt x="2" y="1326071"/>
                  </a:cubicBezTo>
                  <a:close/>
                  <a:moveTo>
                    <a:pt x="2" y="1378663"/>
                  </a:moveTo>
                  <a:cubicBezTo>
                    <a:pt x="2" y="1378663"/>
                    <a:pt x="2" y="1378663"/>
                    <a:pt x="1372739" y="1378663"/>
                  </a:cubicBezTo>
                  <a:cubicBezTo>
                    <a:pt x="1372739" y="1378663"/>
                    <a:pt x="1372739" y="1378663"/>
                    <a:pt x="1398436" y="1378663"/>
                  </a:cubicBezTo>
                  <a:cubicBezTo>
                    <a:pt x="1398436" y="1378663"/>
                    <a:pt x="1398436" y="1378663"/>
                    <a:pt x="2855886" y="1378663"/>
                  </a:cubicBezTo>
                  <a:cubicBezTo>
                    <a:pt x="2855886" y="1378663"/>
                    <a:pt x="2855886" y="1378663"/>
                    <a:pt x="3014246" y="1220615"/>
                  </a:cubicBezTo>
                  <a:cubicBezTo>
                    <a:pt x="3014246" y="1220615"/>
                    <a:pt x="3014246" y="1220615"/>
                    <a:pt x="3630595" y="1220615"/>
                  </a:cubicBezTo>
                  <a:cubicBezTo>
                    <a:pt x="3634283" y="1236334"/>
                    <a:pt x="3648423" y="1247754"/>
                    <a:pt x="3664652" y="1247754"/>
                  </a:cubicBezTo>
                  <a:cubicBezTo>
                    <a:pt x="3684570" y="1247754"/>
                    <a:pt x="3700308" y="1232159"/>
                    <a:pt x="3700308" y="1212756"/>
                  </a:cubicBezTo>
                  <a:cubicBezTo>
                    <a:pt x="3700308" y="1193353"/>
                    <a:pt x="3684570" y="1177634"/>
                    <a:pt x="3664652" y="1177634"/>
                  </a:cubicBezTo>
                  <a:cubicBezTo>
                    <a:pt x="3648915" y="1177634"/>
                    <a:pt x="3635267" y="1188072"/>
                    <a:pt x="3631087" y="1202808"/>
                  </a:cubicBezTo>
                  <a:cubicBezTo>
                    <a:pt x="3631087" y="1202808"/>
                    <a:pt x="3631087" y="1202808"/>
                    <a:pt x="3014246" y="1202808"/>
                  </a:cubicBezTo>
                  <a:cubicBezTo>
                    <a:pt x="3014246" y="1202808"/>
                    <a:pt x="3014246" y="1202808"/>
                    <a:pt x="2855886" y="1360856"/>
                  </a:cubicBezTo>
                  <a:cubicBezTo>
                    <a:pt x="2855886" y="1360856"/>
                    <a:pt x="2855886" y="1360856"/>
                    <a:pt x="1398436" y="1360856"/>
                  </a:cubicBezTo>
                  <a:cubicBezTo>
                    <a:pt x="1398436" y="1360856"/>
                    <a:pt x="1398436" y="1360856"/>
                    <a:pt x="1372739" y="1360856"/>
                  </a:cubicBezTo>
                  <a:cubicBezTo>
                    <a:pt x="1372739" y="1360856"/>
                    <a:pt x="1372739" y="1360856"/>
                    <a:pt x="2" y="1360856"/>
                  </a:cubicBezTo>
                  <a:cubicBezTo>
                    <a:pt x="2" y="1360856"/>
                    <a:pt x="2" y="1360856"/>
                    <a:pt x="2" y="1378663"/>
                  </a:cubicBezTo>
                  <a:close/>
                  <a:moveTo>
                    <a:pt x="2" y="1431255"/>
                  </a:moveTo>
                  <a:cubicBezTo>
                    <a:pt x="2" y="1431255"/>
                    <a:pt x="2" y="1431255"/>
                    <a:pt x="1372739" y="1431255"/>
                  </a:cubicBezTo>
                  <a:cubicBezTo>
                    <a:pt x="1372739" y="1431255"/>
                    <a:pt x="1372739" y="1431255"/>
                    <a:pt x="2891050" y="1431255"/>
                  </a:cubicBezTo>
                  <a:cubicBezTo>
                    <a:pt x="2891050" y="1431255"/>
                    <a:pt x="2891050" y="1431255"/>
                    <a:pt x="3031459" y="1290882"/>
                  </a:cubicBezTo>
                  <a:cubicBezTo>
                    <a:pt x="3031459" y="1290882"/>
                    <a:pt x="3031459" y="1290882"/>
                    <a:pt x="3330719" y="1290882"/>
                  </a:cubicBezTo>
                  <a:cubicBezTo>
                    <a:pt x="3330719" y="1290882"/>
                    <a:pt x="3330719" y="1290882"/>
                    <a:pt x="3401047" y="1361069"/>
                  </a:cubicBezTo>
                  <a:cubicBezTo>
                    <a:pt x="3401047" y="1361069"/>
                    <a:pt x="3401047" y="1361069"/>
                    <a:pt x="3630595" y="1361069"/>
                  </a:cubicBezTo>
                  <a:cubicBezTo>
                    <a:pt x="3634283" y="1376802"/>
                    <a:pt x="3648423" y="1388356"/>
                    <a:pt x="3664652" y="1388356"/>
                  </a:cubicBezTo>
                  <a:cubicBezTo>
                    <a:pt x="3684570" y="1388356"/>
                    <a:pt x="3700308" y="1372623"/>
                    <a:pt x="3700308" y="1353202"/>
                  </a:cubicBezTo>
                  <a:cubicBezTo>
                    <a:pt x="3700308" y="1333904"/>
                    <a:pt x="3684570" y="1318170"/>
                    <a:pt x="3664652" y="1318170"/>
                  </a:cubicBezTo>
                  <a:cubicBezTo>
                    <a:pt x="3648915" y="1318170"/>
                    <a:pt x="3635267" y="1329110"/>
                    <a:pt x="3631087" y="1343860"/>
                  </a:cubicBezTo>
                  <a:cubicBezTo>
                    <a:pt x="3631087" y="1343860"/>
                    <a:pt x="3631087" y="1343860"/>
                    <a:pt x="3401047" y="1343860"/>
                  </a:cubicBezTo>
                  <a:cubicBezTo>
                    <a:pt x="3401047" y="1343860"/>
                    <a:pt x="3401047" y="1343860"/>
                    <a:pt x="3330719" y="1273059"/>
                  </a:cubicBezTo>
                  <a:cubicBezTo>
                    <a:pt x="3330719" y="1273059"/>
                    <a:pt x="3330719" y="1273059"/>
                    <a:pt x="3031459" y="1273059"/>
                  </a:cubicBezTo>
                  <a:cubicBezTo>
                    <a:pt x="3031459" y="1273059"/>
                    <a:pt x="3031459" y="1273059"/>
                    <a:pt x="2891050" y="1414047"/>
                  </a:cubicBezTo>
                  <a:cubicBezTo>
                    <a:pt x="2891050" y="1414047"/>
                    <a:pt x="2891050" y="1414047"/>
                    <a:pt x="2" y="1414047"/>
                  </a:cubicBezTo>
                  <a:cubicBezTo>
                    <a:pt x="2" y="1414047"/>
                    <a:pt x="2" y="1414047"/>
                    <a:pt x="2" y="1431255"/>
                  </a:cubicBezTo>
                  <a:close/>
                  <a:moveTo>
                    <a:pt x="3664652" y="1529391"/>
                  </a:moveTo>
                  <a:cubicBezTo>
                    <a:pt x="3684570" y="1529391"/>
                    <a:pt x="3700308" y="1513619"/>
                    <a:pt x="3700308" y="1494149"/>
                  </a:cubicBezTo>
                  <a:cubicBezTo>
                    <a:pt x="3700308" y="1474680"/>
                    <a:pt x="3684570" y="1459030"/>
                    <a:pt x="3664652" y="1459030"/>
                  </a:cubicBezTo>
                  <a:cubicBezTo>
                    <a:pt x="3648915" y="1459030"/>
                    <a:pt x="3635267" y="1469504"/>
                    <a:pt x="3631087" y="1484168"/>
                  </a:cubicBezTo>
                  <a:cubicBezTo>
                    <a:pt x="3631087" y="1484168"/>
                    <a:pt x="3631087" y="1484168"/>
                    <a:pt x="1371141" y="1484168"/>
                  </a:cubicBezTo>
                  <a:cubicBezTo>
                    <a:pt x="1371141" y="1484168"/>
                    <a:pt x="1371141" y="1484168"/>
                    <a:pt x="2" y="1484168"/>
                  </a:cubicBezTo>
                  <a:cubicBezTo>
                    <a:pt x="2" y="1484168"/>
                    <a:pt x="2" y="1484168"/>
                    <a:pt x="2" y="1501543"/>
                  </a:cubicBezTo>
                  <a:cubicBezTo>
                    <a:pt x="2" y="1501543"/>
                    <a:pt x="2" y="1501543"/>
                    <a:pt x="1371141" y="1501543"/>
                  </a:cubicBezTo>
                  <a:cubicBezTo>
                    <a:pt x="1371141" y="1501543"/>
                    <a:pt x="1371141" y="1501543"/>
                    <a:pt x="1400526" y="1501543"/>
                  </a:cubicBezTo>
                  <a:cubicBezTo>
                    <a:pt x="1400526" y="1501543"/>
                    <a:pt x="1400526" y="1501543"/>
                    <a:pt x="3630595" y="1502036"/>
                  </a:cubicBezTo>
                  <a:cubicBezTo>
                    <a:pt x="3634283" y="1517315"/>
                    <a:pt x="3648423" y="1529391"/>
                    <a:pt x="3664652" y="1529391"/>
                  </a:cubicBezTo>
                  <a:close/>
                  <a:moveTo>
                    <a:pt x="3299711" y="1687710"/>
                  </a:moveTo>
                  <a:cubicBezTo>
                    <a:pt x="3319136" y="1687710"/>
                    <a:pt x="3334873" y="1671947"/>
                    <a:pt x="3334873" y="1652614"/>
                  </a:cubicBezTo>
                  <a:cubicBezTo>
                    <a:pt x="3334873" y="1633157"/>
                    <a:pt x="3319136" y="1617395"/>
                    <a:pt x="3299711" y="1617395"/>
                  </a:cubicBezTo>
                  <a:cubicBezTo>
                    <a:pt x="3283483" y="1617395"/>
                    <a:pt x="3269836" y="1627862"/>
                    <a:pt x="3265655" y="1642639"/>
                  </a:cubicBezTo>
                  <a:cubicBezTo>
                    <a:pt x="3265655" y="1642639"/>
                    <a:pt x="3265655" y="1642639"/>
                    <a:pt x="2930263" y="1642639"/>
                  </a:cubicBezTo>
                  <a:cubicBezTo>
                    <a:pt x="2930263" y="1642639"/>
                    <a:pt x="2930263" y="1642639"/>
                    <a:pt x="2824899" y="1537105"/>
                  </a:cubicBezTo>
                  <a:cubicBezTo>
                    <a:pt x="2824899" y="1537105"/>
                    <a:pt x="2824899" y="1537105"/>
                    <a:pt x="855327" y="1537105"/>
                  </a:cubicBezTo>
                  <a:cubicBezTo>
                    <a:pt x="855327" y="1537105"/>
                    <a:pt x="855327" y="1537105"/>
                    <a:pt x="2" y="1537105"/>
                  </a:cubicBezTo>
                  <a:cubicBezTo>
                    <a:pt x="2" y="1537105"/>
                    <a:pt x="2" y="1537105"/>
                    <a:pt x="2" y="1554345"/>
                  </a:cubicBezTo>
                  <a:cubicBezTo>
                    <a:pt x="2" y="1554345"/>
                    <a:pt x="2" y="1554345"/>
                    <a:pt x="1023638" y="1554345"/>
                  </a:cubicBezTo>
                  <a:cubicBezTo>
                    <a:pt x="1023638" y="1554345"/>
                    <a:pt x="1023638" y="1554345"/>
                    <a:pt x="2824899" y="1554345"/>
                  </a:cubicBezTo>
                  <a:cubicBezTo>
                    <a:pt x="2824899" y="1554345"/>
                    <a:pt x="2824899" y="1554345"/>
                    <a:pt x="2930263" y="1660495"/>
                  </a:cubicBezTo>
                  <a:cubicBezTo>
                    <a:pt x="2930263" y="1660495"/>
                    <a:pt x="2930263" y="1660495"/>
                    <a:pt x="3265164" y="1660495"/>
                  </a:cubicBezTo>
                  <a:cubicBezTo>
                    <a:pt x="3268729" y="1675642"/>
                    <a:pt x="3282868" y="1687710"/>
                    <a:pt x="3299711" y="1687710"/>
                  </a:cubicBezTo>
                  <a:close/>
                  <a:moveTo>
                    <a:pt x="201711" y="1706687"/>
                  </a:moveTo>
                  <a:cubicBezTo>
                    <a:pt x="221131" y="1706687"/>
                    <a:pt x="237357" y="1690942"/>
                    <a:pt x="237357" y="1671506"/>
                  </a:cubicBezTo>
                  <a:cubicBezTo>
                    <a:pt x="237357" y="1652071"/>
                    <a:pt x="221131" y="1636326"/>
                    <a:pt x="201711" y="1636326"/>
                  </a:cubicBezTo>
                  <a:cubicBezTo>
                    <a:pt x="185486" y="1636326"/>
                    <a:pt x="171350" y="1647888"/>
                    <a:pt x="167662" y="1663634"/>
                  </a:cubicBezTo>
                  <a:cubicBezTo>
                    <a:pt x="167662" y="1663634"/>
                    <a:pt x="167662" y="1663634"/>
                    <a:pt x="29515" y="1663634"/>
                  </a:cubicBezTo>
                  <a:lnTo>
                    <a:pt x="12428" y="1663634"/>
                  </a:lnTo>
                  <a:lnTo>
                    <a:pt x="9095" y="1662893"/>
                  </a:lnTo>
                  <a:lnTo>
                    <a:pt x="5858" y="1663634"/>
                  </a:lnTo>
                  <a:lnTo>
                    <a:pt x="2" y="1663634"/>
                  </a:lnTo>
                  <a:cubicBezTo>
                    <a:pt x="2" y="1663634"/>
                    <a:pt x="2" y="1663634"/>
                    <a:pt x="2" y="1681470"/>
                  </a:cubicBezTo>
                  <a:cubicBezTo>
                    <a:pt x="2" y="1681470"/>
                    <a:pt x="2" y="1681470"/>
                    <a:pt x="168154" y="1681470"/>
                  </a:cubicBezTo>
                  <a:cubicBezTo>
                    <a:pt x="172333" y="1696108"/>
                    <a:pt x="185977" y="1706687"/>
                    <a:pt x="201711" y="1706687"/>
                  </a:cubicBezTo>
                  <a:close/>
                  <a:moveTo>
                    <a:pt x="2131958" y="1846027"/>
                  </a:moveTo>
                  <a:cubicBezTo>
                    <a:pt x="2151261" y="1846027"/>
                    <a:pt x="2167001" y="1830301"/>
                    <a:pt x="2167001" y="1810889"/>
                  </a:cubicBezTo>
                  <a:cubicBezTo>
                    <a:pt x="2167001" y="1791477"/>
                    <a:pt x="2151261" y="1775258"/>
                    <a:pt x="2131958" y="1775258"/>
                  </a:cubicBezTo>
                  <a:cubicBezTo>
                    <a:pt x="2115111" y="1775258"/>
                    <a:pt x="2100970" y="1787299"/>
                    <a:pt x="2097281" y="1803026"/>
                  </a:cubicBezTo>
                  <a:cubicBezTo>
                    <a:pt x="2097281" y="1803026"/>
                    <a:pt x="2097281" y="1803026"/>
                    <a:pt x="1797494" y="1803026"/>
                  </a:cubicBezTo>
                  <a:cubicBezTo>
                    <a:pt x="1797494" y="1803026"/>
                    <a:pt x="1797494" y="1803026"/>
                    <a:pt x="1604071" y="1609758"/>
                  </a:cubicBezTo>
                  <a:cubicBezTo>
                    <a:pt x="1604071" y="1609758"/>
                    <a:pt x="1604071" y="1609758"/>
                    <a:pt x="530962" y="1609758"/>
                  </a:cubicBezTo>
                  <a:cubicBezTo>
                    <a:pt x="530962" y="1609758"/>
                    <a:pt x="530962" y="1609758"/>
                    <a:pt x="372706" y="1767886"/>
                  </a:cubicBezTo>
                  <a:cubicBezTo>
                    <a:pt x="372706" y="1767886"/>
                    <a:pt x="372706" y="1767886"/>
                    <a:pt x="2" y="1767886"/>
                  </a:cubicBezTo>
                  <a:cubicBezTo>
                    <a:pt x="2" y="1767886"/>
                    <a:pt x="2" y="1767886"/>
                    <a:pt x="2" y="1785210"/>
                  </a:cubicBezTo>
                  <a:cubicBezTo>
                    <a:pt x="2" y="1785210"/>
                    <a:pt x="2" y="1785210"/>
                    <a:pt x="372706" y="1785210"/>
                  </a:cubicBezTo>
                  <a:cubicBezTo>
                    <a:pt x="372706" y="1785210"/>
                    <a:pt x="372706" y="1785210"/>
                    <a:pt x="530962" y="1627082"/>
                  </a:cubicBezTo>
                  <a:cubicBezTo>
                    <a:pt x="530962" y="1627082"/>
                    <a:pt x="530962" y="1627082"/>
                    <a:pt x="1604071" y="1627082"/>
                  </a:cubicBezTo>
                  <a:cubicBezTo>
                    <a:pt x="1604071" y="1627082"/>
                    <a:pt x="1604071" y="1627082"/>
                    <a:pt x="1797494" y="1820349"/>
                  </a:cubicBezTo>
                  <a:cubicBezTo>
                    <a:pt x="1797494" y="1820349"/>
                    <a:pt x="1797494" y="1820349"/>
                    <a:pt x="2097896" y="1820349"/>
                  </a:cubicBezTo>
                  <a:cubicBezTo>
                    <a:pt x="2102077" y="1834970"/>
                    <a:pt x="2115603" y="1846027"/>
                    <a:pt x="2131958" y="1846027"/>
                  </a:cubicBezTo>
                  <a:close/>
                  <a:moveTo>
                    <a:pt x="2" y="1969103"/>
                  </a:moveTo>
                  <a:cubicBezTo>
                    <a:pt x="2" y="1969103"/>
                    <a:pt x="2" y="1969103"/>
                    <a:pt x="370072" y="1969103"/>
                  </a:cubicBezTo>
                  <a:cubicBezTo>
                    <a:pt x="370072" y="1969103"/>
                    <a:pt x="370072" y="1969103"/>
                    <a:pt x="510969" y="1828398"/>
                  </a:cubicBezTo>
                  <a:cubicBezTo>
                    <a:pt x="510969" y="1828398"/>
                    <a:pt x="510969" y="1828398"/>
                    <a:pt x="924069" y="1828398"/>
                  </a:cubicBezTo>
                  <a:cubicBezTo>
                    <a:pt x="927757" y="1844114"/>
                    <a:pt x="941281" y="1855532"/>
                    <a:pt x="958126" y="1855532"/>
                  </a:cubicBezTo>
                  <a:cubicBezTo>
                    <a:pt x="977428" y="1855532"/>
                    <a:pt x="993165" y="1839817"/>
                    <a:pt x="993165" y="1820541"/>
                  </a:cubicBezTo>
                  <a:cubicBezTo>
                    <a:pt x="993165" y="1801143"/>
                    <a:pt x="977428" y="1785427"/>
                    <a:pt x="958126" y="1785427"/>
                  </a:cubicBezTo>
                  <a:cubicBezTo>
                    <a:pt x="942388" y="1785427"/>
                    <a:pt x="928741" y="1796477"/>
                    <a:pt x="924561" y="1811088"/>
                  </a:cubicBezTo>
                  <a:cubicBezTo>
                    <a:pt x="924561" y="1811088"/>
                    <a:pt x="924561" y="1811088"/>
                    <a:pt x="510969" y="1811088"/>
                  </a:cubicBezTo>
                  <a:cubicBezTo>
                    <a:pt x="510969" y="1811088"/>
                    <a:pt x="510969" y="1811088"/>
                    <a:pt x="370072" y="1951300"/>
                  </a:cubicBezTo>
                  <a:cubicBezTo>
                    <a:pt x="370072" y="1951300"/>
                    <a:pt x="370072" y="1951300"/>
                    <a:pt x="2" y="1951300"/>
                  </a:cubicBezTo>
                  <a:cubicBezTo>
                    <a:pt x="2" y="1951300"/>
                    <a:pt x="2" y="1951300"/>
                    <a:pt x="2" y="1969103"/>
                  </a:cubicBezTo>
                  <a:close/>
                  <a:moveTo>
                    <a:pt x="2374861" y="1986453"/>
                  </a:moveTo>
                  <a:cubicBezTo>
                    <a:pt x="2394164" y="1986453"/>
                    <a:pt x="2409901" y="1970708"/>
                    <a:pt x="2409901" y="1951273"/>
                  </a:cubicBezTo>
                  <a:cubicBezTo>
                    <a:pt x="2409901" y="1931962"/>
                    <a:pt x="2394164" y="1916217"/>
                    <a:pt x="2374861" y="1916217"/>
                  </a:cubicBezTo>
                  <a:cubicBezTo>
                    <a:pt x="2358632" y="1916217"/>
                    <a:pt x="2345476" y="1926672"/>
                    <a:pt x="2341296" y="1941433"/>
                  </a:cubicBezTo>
                  <a:cubicBezTo>
                    <a:pt x="2341296" y="1941433"/>
                    <a:pt x="2341296" y="1941433"/>
                    <a:pt x="1776844" y="1941433"/>
                  </a:cubicBezTo>
                  <a:cubicBezTo>
                    <a:pt x="1776844" y="1941433"/>
                    <a:pt x="1776844" y="1941433"/>
                    <a:pt x="1530455" y="1695424"/>
                  </a:cubicBezTo>
                  <a:cubicBezTo>
                    <a:pt x="1530455" y="1695424"/>
                    <a:pt x="1530455" y="1695424"/>
                    <a:pt x="580684" y="1695424"/>
                  </a:cubicBezTo>
                  <a:cubicBezTo>
                    <a:pt x="580684" y="1695424"/>
                    <a:pt x="580684" y="1695424"/>
                    <a:pt x="370075" y="1906253"/>
                  </a:cubicBezTo>
                  <a:cubicBezTo>
                    <a:pt x="370075" y="1906253"/>
                    <a:pt x="370075" y="1906253"/>
                    <a:pt x="2" y="1906253"/>
                  </a:cubicBezTo>
                  <a:cubicBezTo>
                    <a:pt x="2" y="1906253"/>
                    <a:pt x="2" y="1906253"/>
                    <a:pt x="2" y="1924089"/>
                  </a:cubicBezTo>
                  <a:cubicBezTo>
                    <a:pt x="2" y="1924089"/>
                    <a:pt x="2" y="1924089"/>
                    <a:pt x="276265" y="1924089"/>
                  </a:cubicBezTo>
                  <a:cubicBezTo>
                    <a:pt x="276265" y="1924089"/>
                    <a:pt x="276265" y="1924089"/>
                    <a:pt x="370075" y="1924089"/>
                  </a:cubicBezTo>
                  <a:cubicBezTo>
                    <a:pt x="370075" y="1924089"/>
                    <a:pt x="370075" y="1924089"/>
                    <a:pt x="580684" y="1712768"/>
                  </a:cubicBezTo>
                  <a:cubicBezTo>
                    <a:pt x="580684" y="1712768"/>
                    <a:pt x="580684" y="1712768"/>
                    <a:pt x="1530455" y="1712768"/>
                  </a:cubicBezTo>
                  <a:cubicBezTo>
                    <a:pt x="1530455" y="1712768"/>
                    <a:pt x="1530455" y="1712768"/>
                    <a:pt x="1776844" y="1959146"/>
                  </a:cubicBezTo>
                  <a:cubicBezTo>
                    <a:pt x="1776844" y="1959146"/>
                    <a:pt x="1776844" y="1959146"/>
                    <a:pt x="2340805" y="1959146"/>
                  </a:cubicBezTo>
                  <a:cubicBezTo>
                    <a:pt x="2343878" y="1974891"/>
                    <a:pt x="2358017" y="1986453"/>
                    <a:pt x="2374861" y="1986453"/>
                  </a:cubicBezTo>
                  <a:close/>
                  <a:moveTo>
                    <a:pt x="2" y="2081878"/>
                  </a:moveTo>
                  <a:cubicBezTo>
                    <a:pt x="2" y="2081878"/>
                    <a:pt x="2" y="2081878"/>
                    <a:pt x="342800" y="2081878"/>
                  </a:cubicBezTo>
                  <a:cubicBezTo>
                    <a:pt x="342800" y="2081878"/>
                    <a:pt x="342800" y="2081878"/>
                    <a:pt x="483337" y="1941172"/>
                  </a:cubicBezTo>
                  <a:cubicBezTo>
                    <a:pt x="483337" y="1941172"/>
                    <a:pt x="483337" y="1941172"/>
                    <a:pt x="818759" y="1941172"/>
                  </a:cubicBezTo>
                  <a:cubicBezTo>
                    <a:pt x="821832" y="1956765"/>
                    <a:pt x="836095" y="1968798"/>
                    <a:pt x="852816" y="1968798"/>
                  </a:cubicBezTo>
                  <a:cubicBezTo>
                    <a:pt x="872243" y="1968798"/>
                    <a:pt x="887981" y="1953082"/>
                    <a:pt x="887981" y="1933315"/>
                  </a:cubicBezTo>
                  <a:cubicBezTo>
                    <a:pt x="887981" y="1913916"/>
                    <a:pt x="872243" y="1898200"/>
                    <a:pt x="852816" y="1898200"/>
                  </a:cubicBezTo>
                  <a:cubicBezTo>
                    <a:pt x="836586" y="1898200"/>
                    <a:pt x="823430" y="1909127"/>
                    <a:pt x="819250" y="1923861"/>
                  </a:cubicBezTo>
                  <a:cubicBezTo>
                    <a:pt x="819250" y="1923861"/>
                    <a:pt x="819250" y="1923861"/>
                    <a:pt x="483337" y="1923861"/>
                  </a:cubicBezTo>
                  <a:cubicBezTo>
                    <a:pt x="483337" y="1923861"/>
                    <a:pt x="483337" y="1923861"/>
                    <a:pt x="342800" y="2064075"/>
                  </a:cubicBezTo>
                  <a:cubicBezTo>
                    <a:pt x="342800" y="2064075"/>
                    <a:pt x="342800" y="2064075"/>
                    <a:pt x="2" y="2064075"/>
                  </a:cubicBezTo>
                  <a:cubicBezTo>
                    <a:pt x="2" y="2064075"/>
                    <a:pt x="2" y="2064075"/>
                    <a:pt x="2" y="2081878"/>
                  </a:cubicBezTo>
                  <a:close/>
                  <a:moveTo>
                    <a:pt x="2" y="2170255"/>
                  </a:moveTo>
                  <a:cubicBezTo>
                    <a:pt x="2" y="2170255"/>
                    <a:pt x="2" y="2170255"/>
                    <a:pt x="518504" y="2170255"/>
                  </a:cubicBezTo>
                  <a:cubicBezTo>
                    <a:pt x="518504" y="2170255"/>
                    <a:pt x="518504" y="2170255"/>
                    <a:pt x="518504" y="2029549"/>
                  </a:cubicBezTo>
                  <a:cubicBezTo>
                    <a:pt x="518504" y="2029549"/>
                    <a:pt x="518504" y="2029549"/>
                    <a:pt x="713066" y="2029549"/>
                  </a:cubicBezTo>
                  <a:cubicBezTo>
                    <a:pt x="716756" y="2045265"/>
                    <a:pt x="730899" y="2056683"/>
                    <a:pt x="747624" y="2056683"/>
                  </a:cubicBezTo>
                  <a:cubicBezTo>
                    <a:pt x="767055" y="2056683"/>
                    <a:pt x="782798" y="2040968"/>
                    <a:pt x="782798" y="2021691"/>
                  </a:cubicBezTo>
                  <a:cubicBezTo>
                    <a:pt x="782798" y="2002292"/>
                    <a:pt x="767055" y="1986576"/>
                    <a:pt x="747624" y="1986576"/>
                  </a:cubicBezTo>
                  <a:cubicBezTo>
                    <a:pt x="731390" y="1986576"/>
                    <a:pt x="717740" y="1997626"/>
                    <a:pt x="713558" y="2012237"/>
                  </a:cubicBezTo>
                  <a:cubicBezTo>
                    <a:pt x="713558" y="2012237"/>
                    <a:pt x="713558" y="2012237"/>
                    <a:pt x="501164" y="2012237"/>
                  </a:cubicBezTo>
                  <a:cubicBezTo>
                    <a:pt x="501164" y="2012237"/>
                    <a:pt x="501164" y="2012237"/>
                    <a:pt x="501164" y="2152452"/>
                  </a:cubicBezTo>
                  <a:cubicBezTo>
                    <a:pt x="501164" y="2152452"/>
                    <a:pt x="501164" y="2152452"/>
                    <a:pt x="2" y="2152452"/>
                  </a:cubicBezTo>
                  <a:cubicBezTo>
                    <a:pt x="2" y="2152452"/>
                    <a:pt x="2" y="2152452"/>
                    <a:pt x="2" y="2170255"/>
                  </a:cubicBezTo>
                  <a:close/>
                  <a:moveTo>
                    <a:pt x="2" y="2293331"/>
                  </a:moveTo>
                  <a:cubicBezTo>
                    <a:pt x="2" y="2293331"/>
                    <a:pt x="2" y="2293331"/>
                    <a:pt x="712295" y="2293331"/>
                  </a:cubicBezTo>
                  <a:cubicBezTo>
                    <a:pt x="712295" y="2293331"/>
                    <a:pt x="712295" y="2293331"/>
                    <a:pt x="1064074" y="1941229"/>
                  </a:cubicBezTo>
                  <a:cubicBezTo>
                    <a:pt x="1064074" y="1941229"/>
                    <a:pt x="1064074" y="1941229"/>
                    <a:pt x="1257979" y="1941229"/>
                  </a:cubicBezTo>
                  <a:cubicBezTo>
                    <a:pt x="1261668" y="1956842"/>
                    <a:pt x="1275807" y="1968890"/>
                    <a:pt x="1292653" y="1968890"/>
                  </a:cubicBezTo>
                  <a:cubicBezTo>
                    <a:pt x="1311957" y="1968890"/>
                    <a:pt x="1327696" y="1953154"/>
                    <a:pt x="1327696" y="1933853"/>
                  </a:cubicBezTo>
                  <a:cubicBezTo>
                    <a:pt x="1327696" y="1913936"/>
                    <a:pt x="1311957" y="1898200"/>
                    <a:pt x="1292653" y="1898200"/>
                  </a:cubicBezTo>
                  <a:cubicBezTo>
                    <a:pt x="1276299" y="1898200"/>
                    <a:pt x="1263266" y="1909141"/>
                    <a:pt x="1258470" y="1923894"/>
                  </a:cubicBezTo>
                  <a:cubicBezTo>
                    <a:pt x="1258470" y="1923894"/>
                    <a:pt x="1258470" y="1923894"/>
                    <a:pt x="1064074" y="1923894"/>
                  </a:cubicBezTo>
                  <a:cubicBezTo>
                    <a:pt x="1064074" y="1923894"/>
                    <a:pt x="1064074" y="1923894"/>
                    <a:pt x="712295" y="2275505"/>
                  </a:cubicBezTo>
                  <a:cubicBezTo>
                    <a:pt x="712295" y="2275505"/>
                    <a:pt x="712295" y="2275505"/>
                    <a:pt x="2" y="2275505"/>
                  </a:cubicBezTo>
                  <a:cubicBezTo>
                    <a:pt x="2" y="2275505"/>
                    <a:pt x="2" y="2275505"/>
                    <a:pt x="2" y="2293331"/>
                  </a:cubicBezTo>
                  <a:close/>
                  <a:moveTo>
                    <a:pt x="2" y="2399058"/>
                  </a:moveTo>
                  <a:cubicBezTo>
                    <a:pt x="2" y="2399058"/>
                    <a:pt x="2" y="2399058"/>
                    <a:pt x="239477" y="2399058"/>
                  </a:cubicBezTo>
                  <a:cubicBezTo>
                    <a:pt x="239477" y="2399058"/>
                    <a:pt x="239477" y="2399058"/>
                    <a:pt x="764651" y="2399058"/>
                  </a:cubicBezTo>
                  <a:cubicBezTo>
                    <a:pt x="764651" y="2399058"/>
                    <a:pt x="764651" y="2399058"/>
                    <a:pt x="1046046" y="2117467"/>
                  </a:cubicBezTo>
                  <a:cubicBezTo>
                    <a:pt x="1046046" y="2117467"/>
                    <a:pt x="1046046" y="2117467"/>
                    <a:pt x="1328549" y="2117467"/>
                  </a:cubicBezTo>
                  <a:cubicBezTo>
                    <a:pt x="1332237" y="2133214"/>
                    <a:pt x="1345760" y="2144777"/>
                    <a:pt x="1362602" y="2144777"/>
                  </a:cubicBezTo>
                  <a:cubicBezTo>
                    <a:pt x="1382025" y="2144777"/>
                    <a:pt x="1397638" y="2129031"/>
                    <a:pt x="1397638" y="2109594"/>
                  </a:cubicBezTo>
                  <a:cubicBezTo>
                    <a:pt x="1397638" y="2090157"/>
                    <a:pt x="1382025" y="2074410"/>
                    <a:pt x="1362602" y="2074410"/>
                  </a:cubicBezTo>
                  <a:cubicBezTo>
                    <a:pt x="1346866" y="2074410"/>
                    <a:pt x="1333220" y="2084990"/>
                    <a:pt x="1329040" y="2099629"/>
                  </a:cubicBezTo>
                  <a:cubicBezTo>
                    <a:pt x="1329040" y="2099629"/>
                    <a:pt x="1329040" y="2099629"/>
                    <a:pt x="1046046" y="2099629"/>
                  </a:cubicBezTo>
                  <a:cubicBezTo>
                    <a:pt x="1046046" y="2099629"/>
                    <a:pt x="1046046" y="2099629"/>
                    <a:pt x="764651" y="2381220"/>
                  </a:cubicBezTo>
                  <a:cubicBezTo>
                    <a:pt x="764651" y="2381220"/>
                    <a:pt x="764651" y="2381220"/>
                    <a:pt x="2" y="2381220"/>
                  </a:cubicBezTo>
                  <a:cubicBezTo>
                    <a:pt x="2" y="2381220"/>
                    <a:pt x="2" y="2381220"/>
                    <a:pt x="2" y="2399058"/>
                  </a:cubicBezTo>
                  <a:close/>
                  <a:moveTo>
                    <a:pt x="2" y="2487434"/>
                  </a:moveTo>
                  <a:cubicBezTo>
                    <a:pt x="2" y="2487434"/>
                    <a:pt x="2" y="2487434"/>
                    <a:pt x="213815" y="2487434"/>
                  </a:cubicBezTo>
                  <a:cubicBezTo>
                    <a:pt x="213815" y="2487434"/>
                    <a:pt x="213815" y="2487434"/>
                    <a:pt x="817629" y="2487434"/>
                  </a:cubicBezTo>
                  <a:cubicBezTo>
                    <a:pt x="817629" y="2487434"/>
                    <a:pt x="817629" y="2487434"/>
                    <a:pt x="1099064" y="2205844"/>
                  </a:cubicBezTo>
                  <a:cubicBezTo>
                    <a:pt x="1099064" y="2205844"/>
                    <a:pt x="1099064" y="2205844"/>
                    <a:pt x="1240705" y="2205844"/>
                  </a:cubicBezTo>
                  <a:cubicBezTo>
                    <a:pt x="1244270" y="2221590"/>
                    <a:pt x="1257917" y="2233154"/>
                    <a:pt x="1274762" y="2233154"/>
                  </a:cubicBezTo>
                  <a:cubicBezTo>
                    <a:pt x="1294066" y="2233154"/>
                    <a:pt x="1309804" y="2217407"/>
                    <a:pt x="1309804" y="2197970"/>
                  </a:cubicBezTo>
                  <a:cubicBezTo>
                    <a:pt x="1309804" y="2178533"/>
                    <a:pt x="1294066" y="2162787"/>
                    <a:pt x="1274762" y="2162787"/>
                  </a:cubicBezTo>
                  <a:cubicBezTo>
                    <a:pt x="1259024" y="2162787"/>
                    <a:pt x="1245377" y="2173367"/>
                    <a:pt x="1241197" y="2188006"/>
                  </a:cubicBezTo>
                  <a:cubicBezTo>
                    <a:pt x="1241197" y="2188006"/>
                    <a:pt x="1241197" y="2188006"/>
                    <a:pt x="1099064" y="2188006"/>
                  </a:cubicBezTo>
                  <a:cubicBezTo>
                    <a:pt x="1099064" y="2188006"/>
                    <a:pt x="1099064" y="2188006"/>
                    <a:pt x="817629" y="2469597"/>
                  </a:cubicBezTo>
                  <a:cubicBezTo>
                    <a:pt x="817629" y="2469597"/>
                    <a:pt x="817629" y="2469597"/>
                    <a:pt x="2" y="2469597"/>
                  </a:cubicBezTo>
                  <a:cubicBezTo>
                    <a:pt x="2" y="2469597"/>
                    <a:pt x="2" y="2469597"/>
                    <a:pt x="2" y="2487434"/>
                  </a:cubicBezTo>
                  <a:close/>
                  <a:moveTo>
                    <a:pt x="2" y="2560630"/>
                  </a:moveTo>
                  <a:cubicBezTo>
                    <a:pt x="2" y="2560630"/>
                    <a:pt x="2" y="2560630"/>
                    <a:pt x="896490" y="2560630"/>
                  </a:cubicBezTo>
                  <a:cubicBezTo>
                    <a:pt x="896490" y="2560630"/>
                    <a:pt x="896490" y="2560630"/>
                    <a:pt x="1093004" y="2364323"/>
                  </a:cubicBezTo>
                  <a:cubicBezTo>
                    <a:pt x="1097800" y="2366411"/>
                    <a:pt x="1102474" y="2367394"/>
                    <a:pt x="1107761" y="2367394"/>
                  </a:cubicBezTo>
                  <a:cubicBezTo>
                    <a:pt x="1127192" y="2367394"/>
                    <a:pt x="1142810" y="2351670"/>
                    <a:pt x="1142810" y="2332383"/>
                  </a:cubicBezTo>
                  <a:cubicBezTo>
                    <a:pt x="1142810" y="2312974"/>
                    <a:pt x="1127192" y="2297249"/>
                    <a:pt x="1107761" y="2297249"/>
                  </a:cubicBezTo>
                  <a:cubicBezTo>
                    <a:pt x="1088331" y="2297249"/>
                    <a:pt x="1072591" y="2312974"/>
                    <a:pt x="1072591" y="2332383"/>
                  </a:cubicBezTo>
                  <a:cubicBezTo>
                    <a:pt x="1072591" y="2342334"/>
                    <a:pt x="1076280" y="2350687"/>
                    <a:pt x="1082551" y="2357444"/>
                  </a:cubicBezTo>
                  <a:cubicBezTo>
                    <a:pt x="1082551" y="2357444"/>
                    <a:pt x="1082551" y="2357444"/>
                    <a:pt x="896490" y="2543432"/>
                  </a:cubicBezTo>
                  <a:cubicBezTo>
                    <a:pt x="896490" y="2543432"/>
                    <a:pt x="896490" y="2543432"/>
                    <a:pt x="2" y="2543432"/>
                  </a:cubicBezTo>
                  <a:cubicBezTo>
                    <a:pt x="2" y="2543432"/>
                    <a:pt x="2" y="2543432"/>
                    <a:pt x="2" y="2560630"/>
                  </a:cubicBezTo>
                  <a:close/>
                  <a:moveTo>
                    <a:pt x="2" y="2645211"/>
                  </a:moveTo>
                  <a:cubicBezTo>
                    <a:pt x="2" y="2645211"/>
                    <a:pt x="2" y="2645211"/>
                    <a:pt x="301839" y="2645211"/>
                  </a:cubicBezTo>
                  <a:cubicBezTo>
                    <a:pt x="301839" y="2645211"/>
                    <a:pt x="301839" y="2645211"/>
                    <a:pt x="985304" y="2645211"/>
                  </a:cubicBezTo>
                  <a:cubicBezTo>
                    <a:pt x="985304" y="2645211"/>
                    <a:pt x="985304" y="2645211"/>
                    <a:pt x="1231692" y="2398887"/>
                  </a:cubicBezTo>
                  <a:cubicBezTo>
                    <a:pt x="1231692" y="2398887"/>
                    <a:pt x="1231692" y="2398887"/>
                    <a:pt x="1425089" y="2398887"/>
                  </a:cubicBezTo>
                  <a:cubicBezTo>
                    <a:pt x="1425089" y="2398887"/>
                    <a:pt x="1425089" y="2398887"/>
                    <a:pt x="1723853" y="2099560"/>
                  </a:cubicBezTo>
                  <a:cubicBezTo>
                    <a:pt x="1723853" y="2099560"/>
                    <a:pt x="1723853" y="2099560"/>
                    <a:pt x="2340805" y="2099560"/>
                  </a:cubicBezTo>
                  <a:cubicBezTo>
                    <a:pt x="2343878" y="2115301"/>
                    <a:pt x="2358017" y="2127353"/>
                    <a:pt x="2374861" y="2127353"/>
                  </a:cubicBezTo>
                  <a:cubicBezTo>
                    <a:pt x="2394164" y="2127353"/>
                    <a:pt x="2409901" y="2111612"/>
                    <a:pt x="2409901" y="2092182"/>
                  </a:cubicBezTo>
                  <a:cubicBezTo>
                    <a:pt x="2409901" y="2072259"/>
                    <a:pt x="2394164" y="2056518"/>
                    <a:pt x="2374861" y="2056518"/>
                  </a:cubicBezTo>
                  <a:cubicBezTo>
                    <a:pt x="2358632" y="2056518"/>
                    <a:pt x="2345476" y="2067586"/>
                    <a:pt x="2341296" y="2082220"/>
                  </a:cubicBezTo>
                  <a:cubicBezTo>
                    <a:pt x="2341296" y="2082220"/>
                    <a:pt x="2341296" y="2082220"/>
                    <a:pt x="1723853" y="2082220"/>
                  </a:cubicBezTo>
                  <a:cubicBezTo>
                    <a:pt x="1723853" y="2082220"/>
                    <a:pt x="1723853" y="2082220"/>
                    <a:pt x="1425089" y="2381055"/>
                  </a:cubicBezTo>
                  <a:cubicBezTo>
                    <a:pt x="1425089" y="2381055"/>
                    <a:pt x="1425089" y="2381055"/>
                    <a:pt x="1231692" y="2381055"/>
                  </a:cubicBezTo>
                  <a:cubicBezTo>
                    <a:pt x="1231692" y="2381055"/>
                    <a:pt x="1231692" y="2381055"/>
                    <a:pt x="985304" y="2627379"/>
                  </a:cubicBezTo>
                  <a:cubicBezTo>
                    <a:pt x="985304" y="2627379"/>
                    <a:pt x="985304" y="2627379"/>
                    <a:pt x="2" y="2627379"/>
                  </a:cubicBezTo>
                  <a:cubicBezTo>
                    <a:pt x="2" y="2627379"/>
                    <a:pt x="2" y="2627379"/>
                    <a:pt x="2" y="2645211"/>
                  </a:cubicBezTo>
                  <a:close/>
                  <a:moveTo>
                    <a:pt x="2" y="2760155"/>
                  </a:moveTo>
                  <a:cubicBezTo>
                    <a:pt x="2" y="2760155"/>
                    <a:pt x="2" y="2760155"/>
                    <a:pt x="196581" y="2760155"/>
                  </a:cubicBezTo>
                  <a:cubicBezTo>
                    <a:pt x="196581" y="2760155"/>
                    <a:pt x="196581" y="2760155"/>
                    <a:pt x="1046084" y="2760155"/>
                  </a:cubicBezTo>
                  <a:cubicBezTo>
                    <a:pt x="1046084" y="2760155"/>
                    <a:pt x="1046084" y="2760155"/>
                    <a:pt x="1242663" y="2563810"/>
                  </a:cubicBezTo>
                  <a:cubicBezTo>
                    <a:pt x="1247335" y="2565408"/>
                    <a:pt x="1252006" y="2567005"/>
                    <a:pt x="1257293" y="2567005"/>
                  </a:cubicBezTo>
                  <a:cubicBezTo>
                    <a:pt x="1276717" y="2567005"/>
                    <a:pt x="1292453" y="2550663"/>
                    <a:pt x="1292453" y="2531373"/>
                  </a:cubicBezTo>
                  <a:cubicBezTo>
                    <a:pt x="1292453" y="2511960"/>
                    <a:pt x="1276717" y="2496232"/>
                    <a:pt x="1257293" y="2496232"/>
                  </a:cubicBezTo>
                  <a:cubicBezTo>
                    <a:pt x="1237869" y="2496232"/>
                    <a:pt x="1222132" y="2511960"/>
                    <a:pt x="1222132" y="2531373"/>
                  </a:cubicBezTo>
                  <a:cubicBezTo>
                    <a:pt x="1222132" y="2541325"/>
                    <a:pt x="1225821" y="2550172"/>
                    <a:pt x="1232090" y="2556438"/>
                  </a:cubicBezTo>
                  <a:cubicBezTo>
                    <a:pt x="1232090" y="2556438"/>
                    <a:pt x="1232090" y="2556438"/>
                    <a:pt x="1046084" y="2742339"/>
                  </a:cubicBezTo>
                  <a:cubicBezTo>
                    <a:pt x="1046084" y="2742339"/>
                    <a:pt x="1046084" y="2742339"/>
                    <a:pt x="256820" y="2742339"/>
                  </a:cubicBezTo>
                  <a:cubicBezTo>
                    <a:pt x="256820" y="2742339"/>
                    <a:pt x="256820" y="2742339"/>
                    <a:pt x="196581" y="2742339"/>
                  </a:cubicBezTo>
                  <a:cubicBezTo>
                    <a:pt x="196581" y="2742339"/>
                    <a:pt x="196581" y="2742339"/>
                    <a:pt x="2" y="2742339"/>
                  </a:cubicBezTo>
                  <a:cubicBezTo>
                    <a:pt x="2" y="2742339"/>
                    <a:pt x="2" y="2742339"/>
                    <a:pt x="2" y="2760155"/>
                  </a:cubicBezTo>
                  <a:close/>
                  <a:moveTo>
                    <a:pt x="2" y="2820880"/>
                  </a:moveTo>
                  <a:cubicBezTo>
                    <a:pt x="2" y="2820880"/>
                    <a:pt x="2" y="2820880"/>
                    <a:pt x="319174" y="2820880"/>
                  </a:cubicBezTo>
                  <a:cubicBezTo>
                    <a:pt x="319174" y="2820880"/>
                    <a:pt x="319174" y="2820880"/>
                    <a:pt x="1196529" y="2820880"/>
                  </a:cubicBezTo>
                  <a:cubicBezTo>
                    <a:pt x="1196529" y="2820880"/>
                    <a:pt x="1196529" y="2820880"/>
                    <a:pt x="1776844" y="2240539"/>
                  </a:cubicBezTo>
                  <a:cubicBezTo>
                    <a:pt x="1776844" y="2240539"/>
                    <a:pt x="1776844" y="2240539"/>
                    <a:pt x="2340805" y="2240539"/>
                  </a:cubicBezTo>
                  <a:cubicBezTo>
                    <a:pt x="2343878" y="2256284"/>
                    <a:pt x="2358017" y="2267723"/>
                    <a:pt x="2374861" y="2267723"/>
                  </a:cubicBezTo>
                  <a:cubicBezTo>
                    <a:pt x="2394164" y="2267723"/>
                    <a:pt x="2409901" y="2251978"/>
                    <a:pt x="2409901" y="2232666"/>
                  </a:cubicBezTo>
                  <a:cubicBezTo>
                    <a:pt x="2409901" y="2213232"/>
                    <a:pt x="2394164" y="2197487"/>
                    <a:pt x="2374861" y="2197487"/>
                  </a:cubicBezTo>
                  <a:cubicBezTo>
                    <a:pt x="2358632" y="2197487"/>
                    <a:pt x="2345476" y="2207942"/>
                    <a:pt x="2341296" y="2222703"/>
                  </a:cubicBezTo>
                  <a:cubicBezTo>
                    <a:pt x="2341296" y="2222703"/>
                    <a:pt x="2341296" y="2222703"/>
                    <a:pt x="1776844" y="2222703"/>
                  </a:cubicBezTo>
                  <a:cubicBezTo>
                    <a:pt x="1776844" y="2222703"/>
                    <a:pt x="1776844" y="2222703"/>
                    <a:pt x="1196529" y="2803536"/>
                  </a:cubicBezTo>
                  <a:cubicBezTo>
                    <a:pt x="1196529" y="2803536"/>
                    <a:pt x="1196529" y="2803536"/>
                    <a:pt x="2" y="2803536"/>
                  </a:cubicBezTo>
                  <a:cubicBezTo>
                    <a:pt x="2" y="2803536"/>
                    <a:pt x="2" y="2803536"/>
                    <a:pt x="2" y="2820880"/>
                  </a:cubicBezTo>
                  <a:close/>
                  <a:moveTo>
                    <a:pt x="2" y="2974861"/>
                  </a:moveTo>
                  <a:cubicBezTo>
                    <a:pt x="2" y="2974861"/>
                    <a:pt x="2" y="2974861"/>
                    <a:pt x="1179260" y="2974861"/>
                  </a:cubicBezTo>
                  <a:cubicBezTo>
                    <a:pt x="1179260" y="2974861"/>
                    <a:pt x="1179260" y="2974861"/>
                    <a:pt x="1762620" y="2391389"/>
                  </a:cubicBezTo>
                  <a:cubicBezTo>
                    <a:pt x="1767291" y="2393480"/>
                    <a:pt x="1771964" y="2394587"/>
                    <a:pt x="1777250" y="2394587"/>
                  </a:cubicBezTo>
                  <a:cubicBezTo>
                    <a:pt x="1796675" y="2394587"/>
                    <a:pt x="1812411" y="2378844"/>
                    <a:pt x="1812411" y="2359411"/>
                  </a:cubicBezTo>
                  <a:cubicBezTo>
                    <a:pt x="1812411" y="2340102"/>
                    <a:pt x="1796675" y="2324359"/>
                    <a:pt x="1777250" y="2324359"/>
                  </a:cubicBezTo>
                  <a:cubicBezTo>
                    <a:pt x="1757825" y="2324359"/>
                    <a:pt x="1742089" y="2340102"/>
                    <a:pt x="1742089" y="2359411"/>
                  </a:cubicBezTo>
                  <a:cubicBezTo>
                    <a:pt x="1742089" y="2368882"/>
                    <a:pt x="1745776" y="2377860"/>
                    <a:pt x="1752539" y="2384133"/>
                  </a:cubicBezTo>
                  <a:cubicBezTo>
                    <a:pt x="1752539" y="2384133"/>
                    <a:pt x="1752539" y="2384133"/>
                    <a:pt x="1179260" y="2957642"/>
                  </a:cubicBezTo>
                  <a:cubicBezTo>
                    <a:pt x="1179260" y="2957642"/>
                    <a:pt x="1179260" y="2957642"/>
                    <a:pt x="2" y="2957642"/>
                  </a:cubicBezTo>
                  <a:cubicBezTo>
                    <a:pt x="2" y="2957642"/>
                    <a:pt x="2" y="2957642"/>
                    <a:pt x="2" y="2974861"/>
                  </a:cubicBezTo>
                  <a:close/>
                  <a:moveTo>
                    <a:pt x="2" y="3044803"/>
                  </a:moveTo>
                  <a:cubicBezTo>
                    <a:pt x="2" y="3044803"/>
                    <a:pt x="2" y="3044803"/>
                    <a:pt x="1232133" y="3044803"/>
                  </a:cubicBezTo>
                  <a:cubicBezTo>
                    <a:pt x="1232133" y="3044803"/>
                    <a:pt x="1232133" y="3044803"/>
                    <a:pt x="1885696" y="2391363"/>
                  </a:cubicBezTo>
                  <a:cubicBezTo>
                    <a:pt x="1890491" y="2393453"/>
                    <a:pt x="1895163" y="2394559"/>
                    <a:pt x="1900449" y="2394559"/>
                  </a:cubicBezTo>
                  <a:cubicBezTo>
                    <a:pt x="1919752" y="2394559"/>
                    <a:pt x="1935488" y="2378822"/>
                    <a:pt x="1935488" y="2359398"/>
                  </a:cubicBezTo>
                  <a:cubicBezTo>
                    <a:pt x="1935488" y="2340095"/>
                    <a:pt x="1919752" y="2324359"/>
                    <a:pt x="1900449" y="2324359"/>
                  </a:cubicBezTo>
                  <a:cubicBezTo>
                    <a:pt x="1881024" y="2324359"/>
                    <a:pt x="1865288" y="2340095"/>
                    <a:pt x="1865288" y="2359398"/>
                  </a:cubicBezTo>
                  <a:cubicBezTo>
                    <a:pt x="1865288" y="2368864"/>
                    <a:pt x="1868976" y="2377839"/>
                    <a:pt x="1875246" y="2384109"/>
                  </a:cubicBezTo>
                  <a:cubicBezTo>
                    <a:pt x="1875246" y="2384109"/>
                    <a:pt x="1875246" y="2384109"/>
                    <a:pt x="1232133" y="3027591"/>
                  </a:cubicBezTo>
                  <a:cubicBezTo>
                    <a:pt x="1232133" y="3027591"/>
                    <a:pt x="1232133" y="3027591"/>
                    <a:pt x="2" y="3027591"/>
                  </a:cubicBezTo>
                  <a:cubicBezTo>
                    <a:pt x="2" y="3027591"/>
                    <a:pt x="2" y="3027591"/>
                    <a:pt x="2" y="3044803"/>
                  </a:cubicBezTo>
                  <a:close/>
                  <a:moveTo>
                    <a:pt x="2" y="3115830"/>
                  </a:moveTo>
                  <a:cubicBezTo>
                    <a:pt x="2" y="3115830"/>
                    <a:pt x="2" y="3115830"/>
                    <a:pt x="1284897" y="3115830"/>
                  </a:cubicBezTo>
                  <a:cubicBezTo>
                    <a:pt x="1284897" y="3115830"/>
                    <a:pt x="1284897" y="3115830"/>
                    <a:pt x="2009304" y="2391381"/>
                  </a:cubicBezTo>
                  <a:cubicBezTo>
                    <a:pt x="2014101" y="2393471"/>
                    <a:pt x="2018773" y="2394578"/>
                    <a:pt x="2023938" y="2394578"/>
                  </a:cubicBezTo>
                  <a:cubicBezTo>
                    <a:pt x="2043366" y="2394578"/>
                    <a:pt x="2059106" y="2378837"/>
                    <a:pt x="2059106" y="2359407"/>
                  </a:cubicBezTo>
                  <a:cubicBezTo>
                    <a:pt x="2059106" y="2340100"/>
                    <a:pt x="2043366" y="2324359"/>
                    <a:pt x="2023938" y="2324359"/>
                  </a:cubicBezTo>
                  <a:cubicBezTo>
                    <a:pt x="2004632" y="2324359"/>
                    <a:pt x="1988892" y="2340100"/>
                    <a:pt x="1988892" y="2359407"/>
                  </a:cubicBezTo>
                  <a:cubicBezTo>
                    <a:pt x="1988892" y="2368876"/>
                    <a:pt x="1992581" y="2377853"/>
                    <a:pt x="1998852" y="2384125"/>
                  </a:cubicBezTo>
                  <a:cubicBezTo>
                    <a:pt x="1998852" y="2384125"/>
                    <a:pt x="1998852" y="2384125"/>
                    <a:pt x="1284897" y="3097998"/>
                  </a:cubicBezTo>
                  <a:cubicBezTo>
                    <a:pt x="1284897" y="3097998"/>
                    <a:pt x="1284897" y="3097998"/>
                    <a:pt x="2" y="3097998"/>
                  </a:cubicBezTo>
                  <a:cubicBezTo>
                    <a:pt x="2" y="3097998"/>
                    <a:pt x="2" y="3097998"/>
                    <a:pt x="2" y="3115830"/>
                  </a:cubicBezTo>
                  <a:close/>
                  <a:moveTo>
                    <a:pt x="2" y="3185772"/>
                  </a:moveTo>
                  <a:cubicBezTo>
                    <a:pt x="2" y="3185772"/>
                    <a:pt x="2" y="3185772"/>
                    <a:pt x="1337689" y="3185772"/>
                  </a:cubicBezTo>
                  <a:cubicBezTo>
                    <a:pt x="1337689" y="3185772"/>
                    <a:pt x="1337689" y="3185772"/>
                    <a:pt x="2132384" y="2391359"/>
                  </a:cubicBezTo>
                  <a:cubicBezTo>
                    <a:pt x="2136565" y="2393449"/>
                    <a:pt x="2141852" y="2394555"/>
                    <a:pt x="2147016" y="2394555"/>
                  </a:cubicBezTo>
                  <a:cubicBezTo>
                    <a:pt x="2166443" y="2394555"/>
                    <a:pt x="2182182" y="2378820"/>
                    <a:pt x="2182182" y="2359395"/>
                  </a:cubicBezTo>
                  <a:cubicBezTo>
                    <a:pt x="2182182" y="2340095"/>
                    <a:pt x="2166443" y="2324359"/>
                    <a:pt x="2147016" y="2324359"/>
                  </a:cubicBezTo>
                  <a:cubicBezTo>
                    <a:pt x="2127712" y="2324359"/>
                    <a:pt x="2111358" y="2340095"/>
                    <a:pt x="2111358" y="2359395"/>
                  </a:cubicBezTo>
                  <a:cubicBezTo>
                    <a:pt x="2111358" y="2368861"/>
                    <a:pt x="2115539" y="2377836"/>
                    <a:pt x="2121933" y="2384106"/>
                  </a:cubicBezTo>
                  <a:cubicBezTo>
                    <a:pt x="2121933" y="2384106"/>
                    <a:pt x="2121933" y="2384106"/>
                    <a:pt x="1337689" y="3167946"/>
                  </a:cubicBezTo>
                  <a:cubicBezTo>
                    <a:pt x="1337689" y="3167946"/>
                    <a:pt x="1337689" y="3167946"/>
                    <a:pt x="2" y="3167946"/>
                  </a:cubicBezTo>
                  <a:cubicBezTo>
                    <a:pt x="2" y="3167946"/>
                    <a:pt x="2" y="3167946"/>
                    <a:pt x="2" y="3185772"/>
                  </a:cubicBezTo>
                  <a:close/>
                  <a:moveTo>
                    <a:pt x="1154880" y="3350991"/>
                  </a:moveTo>
                  <a:cubicBezTo>
                    <a:pt x="1163854" y="3350991"/>
                    <a:pt x="1172766" y="3347589"/>
                    <a:pt x="1179588" y="3340785"/>
                  </a:cubicBezTo>
                  <a:cubicBezTo>
                    <a:pt x="1193233" y="3327176"/>
                    <a:pt x="1193233" y="3304741"/>
                    <a:pt x="1179588" y="3291133"/>
                  </a:cubicBezTo>
                  <a:cubicBezTo>
                    <a:pt x="1172766" y="3284329"/>
                    <a:pt x="1163854" y="3280927"/>
                    <a:pt x="1154880" y="3280927"/>
                  </a:cubicBezTo>
                  <a:cubicBezTo>
                    <a:pt x="1145906" y="3280927"/>
                    <a:pt x="1136872" y="3284329"/>
                    <a:pt x="1129803" y="3291133"/>
                  </a:cubicBezTo>
                  <a:cubicBezTo>
                    <a:pt x="1126116" y="3294811"/>
                    <a:pt x="1123534" y="3298979"/>
                    <a:pt x="1121936" y="3303638"/>
                  </a:cubicBezTo>
                  <a:cubicBezTo>
                    <a:pt x="1121936" y="3303638"/>
                    <a:pt x="1121936" y="3303638"/>
                    <a:pt x="2" y="3303638"/>
                  </a:cubicBezTo>
                  <a:cubicBezTo>
                    <a:pt x="2" y="3303638"/>
                    <a:pt x="2" y="3303638"/>
                    <a:pt x="2" y="3326686"/>
                  </a:cubicBezTo>
                  <a:cubicBezTo>
                    <a:pt x="2" y="3326686"/>
                    <a:pt x="2" y="3326686"/>
                    <a:pt x="10942" y="3316143"/>
                  </a:cubicBezTo>
                  <a:cubicBezTo>
                    <a:pt x="10942" y="3316143"/>
                    <a:pt x="10942" y="3316143"/>
                    <a:pt x="1119846" y="3316143"/>
                  </a:cubicBezTo>
                  <a:cubicBezTo>
                    <a:pt x="1119846" y="3325092"/>
                    <a:pt x="1123043" y="3333919"/>
                    <a:pt x="1129803" y="3340785"/>
                  </a:cubicBezTo>
                  <a:cubicBezTo>
                    <a:pt x="1136871" y="3347589"/>
                    <a:pt x="1145906" y="3350991"/>
                    <a:pt x="1154880" y="3350991"/>
                  </a:cubicBezTo>
                  <a:close/>
                  <a:moveTo>
                    <a:pt x="1067982" y="3437766"/>
                  </a:moveTo>
                  <a:cubicBezTo>
                    <a:pt x="1077035" y="3437766"/>
                    <a:pt x="1086072" y="3434389"/>
                    <a:pt x="1092835" y="3427635"/>
                  </a:cubicBezTo>
                  <a:cubicBezTo>
                    <a:pt x="1106483" y="3414006"/>
                    <a:pt x="1106483" y="3391412"/>
                    <a:pt x="1092835" y="3377905"/>
                  </a:cubicBezTo>
                  <a:cubicBezTo>
                    <a:pt x="1086072" y="3371090"/>
                    <a:pt x="1077035" y="3367682"/>
                    <a:pt x="1067982" y="3367682"/>
                  </a:cubicBezTo>
                  <a:cubicBezTo>
                    <a:pt x="1058929" y="3367682"/>
                    <a:pt x="1049861" y="3371090"/>
                    <a:pt x="1043036" y="3377905"/>
                  </a:cubicBezTo>
                  <a:cubicBezTo>
                    <a:pt x="1039471" y="3381465"/>
                    <a:pt x="1036766" y="3385763"/>
                    <a:pt x="1035168" y="3390429"/>
                  </a:cubicBezTo>
                  <a:cubicBezTo>
                    <a:pt x="1035168" y="3390429"/>
                    <a:pt x="1035168" y="3390429"/>
                    <a:pt x="10946" y="3390429"/>
                  </a:cubicBezTo>
                  <a:cubicBezTo>
                    <a:pt x="10946" y="3390429"/>
                    <a:pt x="10946" y="3390429"/>
                    <a:pt x="2" y="3400867"/>
                  </a:cubicBezTo>
                  <a:cubicBezTo>
                    <a:pt x="2" y="3400867"/>
                    <a:pt x="2" y="3400867"/>
                    <a:pt x="2" y="3426039"/>
                  </a:cubicBezTo>
                  <a:cubicBezTo>
                    <a:pt x="2" y="3426039"/>
                    <a:pt x="2" y="3426039"/>
                    <a:pt x="23610" y="3402954"/>
                  </a:cubicBezTo>
                  <a:cubicBezTo>
                    <a:pt x="23610" y="3402954"/>
                    <a:pt x="23610" y="3402954"/>
                    <a:pt x="1033078" y="3402954"/>
                  </a:cubicBezTo>
                  <a:cubicBezTo>
                    <a:pt x="1033078" y="3411918"/>
                    <a:pt x="1036274" y="3420759"/>
                    <a:pt x="1043036" y="3427635"/>
                  </a:cubicBezTo>
                  <a:cubicBezTo>
                    <a:pt x="1049861" y="3434389"/>
                    <a:pt x="1058929" y="3437766"/>
                    <a:pt x="1067982" y="3437766"/>
                  </a:cubicBezTo>
                  <a:close/>
                  <a:moveTo>
                    <a:pt x="2" y="3525861"/>
                  </a:moveTo>
                  <a:cubicBezTo>
                    <a:pt x="2" y="3525861"/>
                    <a:pt x="2" y="3525861"/>
                    <a:pt x="35665" y="3490308"/>
                  </a:cubicBezTo>
                  <a:cubicBezTo>
                    <a:pt x="35665" y="3490308"/>
                    <a:pt x="35665" y="3490308"/>
                    <a:pt x="946314" y="3490308"/>
                  </a:cubicBezTo>
                  <a:cubicBezTo>
                    <a:pt x="946314" y="3499135"/>
                    <a:pt x="949388" y="3508084"/>
                    <a:pt x="956275" y="3514827"/>
                  </a:cubicBezTo>
                  <a:cubicBezTo>
                    <a:pt x="969926" y="3528435"/>
                    <a:pt x="992431" y="3528435"/>
                    <a:pt x="1006082" y="3514827"/>
                  </a:cubicBezTo>
                  <a:cubicBezTo>
                    <a:pt x="1019732" y="3501219"/>
                    <a:pt x="1019732" y="3478784"/>
                    <a:pt x="1006082" y="3465175"/>
                  </a:cubicBezTo>
                  <a:cubicBezTo>
                    <a:pt x="999256" y="3458371"/>
                    <a:pt x="990217" y="3454969"/>
                    <a:pt x="981179" y="3454969"/>
                  </a:cubicBezTo>
                  <a:cubicBezTo>
                    <a:pt x="972140" y="3454969"/>
                    <a:pt x="963100" y="3458371"/>
                    <a:pt x="956275" y="3465175"/>
                  </a:cubicBezTo>
                  <a:cubicBezTo>
                    <a:pt x="952586" y="3468853"/>
                    <a:pt x="950004" y="3473022"/>
                    <a:pt x="948405" y="3477680"/>
                  </a:cubicBezTo>
                  <a:cubicBezTo>
                    <a:pt x="948405" y="3477680"/>
                    <a:pt x="948405" y="3477680"/>
                    <a:pt x="23614" y="3477680"/>
                  </a:cubicBezTo>
                  <a:cubicBezTo>
                    <a:pt x="23614" y="3477680"/>
                    <a:pt x="23614" y="3477680"/>
                    <a:pt x="2" y="3500728"/>
                  </a:cubicBezTo>
                  <a:cubicBezTo>
                    <a:pt x="2" y="3500728"/>
                    <a:pt x="2" y="3500728"/>
                    <a:pt x="2" y="3525861"/>
                  </a:cubicBezTo>
                  <a:close/>
                  <a:moveTo>
                    <a:pt x="8575308" y="3538083"/>
                  </a:moveTo>
                  <a:cubicBezTo>
                    <a:pt x="8592037" y="3538083"/>
                    <a:pt x="8605692" y="3526499"/>
                    <a:pt x="8609382" y="3510727"/>
                  </a:cubicBezTo>
                  <a:cubicBezTo>
                    <a:pt x="8927125" y="3510727"/>
                    <a:pt x="8927125" y="3510727"/>
                    <a:pt x="8927125" y="3510727"/>
                  </a:cubicBezTo>
                  <a:cubicBezTo>
                    <a:pt x="8927125" y="3493475"/>
                    <a:pt x="8927125" y="3493475"/>
                    <a:pt x="8927125" y="3493475"/>
                  </a:cubicBezTo>
                  <a:cubicBezTo>
                    <a:pt x="8608890" y="3493475"/>
                    <a:pt x="8608890" y="3493475"/>
                    <a:pt x="8608890" y="3493475"/>
                  </a:cubicBezTo>
                  <a:cubicBezTo>
                    <a:pt x="8604584" y="3478689"/>
                    <a:pt x="8591053" y="3467721"/>
                    <a:pt x="8575308" y="3467721"/>
                  </a:cubicBezTo>
                  <a:cubicBezTo>
                    <a:pt x="8555872" y="3467721"/>
                    <a:pt x="8540126" y="3483494"/>
                    <a:pt x="8540126" y="3502840"/>
                  </a:cubicBezTo>
                  <a:cubicBezTo>
                    <a:pt x="8540126" y="3522310"/>
                    <a:pt x="8555872" y="3538083"/>
                    <a:pt x="8575308" y="3538083"/>
                  </a:cubicBezTo>
                  <a:close/>
                  <a:moveTo>
                    <a:pt x="2" y="3625486"/>
                  </a:moveTo>
                  <a:cubicBezTo>
                    <a:pt x="2" y="3625486"/>
                    <a:pt x="2" y="3625486"/>
                    <a:pt x="48197" y="3577223"/>
                  </a:cubicBezTo>
                  <a:cubicBezTo>
                    <a:pt x="48197" y="3577223"/>
                    <a:pt x="48197" y="3577223"/>
                    <a:pt x="858549" y="3577223"/>
                  </a:cubicBezTo>
                  <a:cubicBezTo>
                    <a:pt x="858549" y="3586088"/>
                    <a:pt x="862237" y="3594952"/>
                    <a:pt x="869000" y="3601847"/>
                  </a:cubicBezTo>
                  <a:cubicBezTo>
                    <a:pt x="882647" y="3615513"/>
                    <a:pt x="905146" y="3615513"/>
                    <a:pt x="918793" y="3601847"/>
                  </a:cubicBezTo>
                  <a:cubicBezTo>
                    <a:pt x="932440" y="3588181"/>
                    <a:pt x="932440" y="3566142"/>
                    <a:pt x="918793" y="3551984"/>
                  </a:cubicBezTo>
                  <a:cubicBezTo>
                    <a:pt x="911970" y="3545150"/>
                    <a:pt x="902933" y="3541734"/>
                    <a:pt x="893896" y="3541734"/>
                  </a:cubicBezTo>
                  <a:cubicBezTo>
                    <a:pt x="884860" y="3541734"/>
                    <a:pt x="875823" y="3545150"/>
                    <a:pt x="869000" y="3551984"/>
                  </a:cubicBezTo>
                  <a:cubicBezTo>
                    <a:pt x="865311" y="3555677"/>
                    <a:pt x="862729" y="3559863"/>
                    <a:pt x="861131" y="3564542"/>
                  </a:cubicBezTo>
                  <a:cubicBezTo>
                    <a:pt x="861131" y="3564542"/>
                    <a:pt x="861131" y="3564542"/>
                    <a:pt x="35657" y="3564542"/>
                  </a:cubicBezTo>
                  <a:cubicBezTo>
                    <a:pt x="35657" y="3564542"/>
                    <a:pt x="35657" y="3564542"/>
                    <a:pt x="2" y="3600246"/>
                  </a:cubicBezTo>
                  <a:cubicBezTo>
                    <a:pt x="2" y="3600246"/>
                    <a:pt x="2" y="3600246"/>
                    <a:pt x="2" y="3625486"/>
                  </a:cubicBezTo>
                  <a:close/>
                  <a:moveTo>
                    <a:pt x="7296271" y="3675798"/>
                  </a:moveTo>
                  <a:cubicBezTo>
                    <a:pt x="7315699" y="3675799"/>
                    <a:pt x="7331314" y="3660065"/>
                    <a:pt x="7331314" y="3640767"/>
                  </a:cubicBezTo>
                  <a:cubicBezTo>
                    <a:pt x="7331314" y="3630810"/>
                    <a:pt x="7327748" y="3621837"/>
                    <a:pt x="7321355" y="3615568"/>
                  </a:cubicBezTo>
                  <a:cubicBezTo>
                    <a:pt x="8105576" y="2831717"/>
                    <a:pt x="8105576" y="2831717"/>
                    <a:pt x="8105576" y="2831717"/>
                  </a:cubicBezTo>
                  <a:cubicBezTo>
                    <a:pt x="9143458" y="2831717"/>
                    <a:pt x="9143458" y="2831717"/>
                    <a:pt x="9143458" y="2831717"/>
                  </a:cubicBezTo>
                  <a:cubicBezTo>
                    <a:pt x="9143458" y="2814385"/>
                    <a:pt x="9143458" y="2814385"/>
                    <a:pt x="9143458" y="2814385"/>
                  </a:cubicBezTo>
                  <a:cubicBezTo>
                    <a:pt x="8105576" y="2814385"/>
                    <a:pt x="8105576" y="2814385"/>
                    <a:pt x="8105576" y="2814385"/>
                  </a:cubicBezTo>
                  <a:cubicBezTo>
                    <a:pt x="7310903" y="3608808"/>
                    <a:pt x="7310903" y="3608808"/>
                    <a:pt x="7310903" y="3608808"/>
                  </a:cubicBezTo>
                  <a:cubicBezTo>
                    <a:pt x="7306723" y="3606718"/>
                    <a:pt x="7301435" y="3605612"/>
                    <a:pt x="7296271" y="3605612"/>
                  </a:cubicBezTo>
                  <a:cubicBezTo>
                    <a:pt x="7276844" y="3605612"/>
                    <a:pt x="7261106" y="3621345"/>
                    <a:pt x="7261106" y="3640767"/>
                  </a:cubicBezTo>
                  <a:cubicBezTo>
                    <a:pt x="7261106" y="3660065"/>
                    <a:pt x="7276844" y="3675798"/>
                    <a:pt x="7296271" y="3675798"/>
                  </a:cubicBezTo>
                  <a:close/>
                  <a:moveTo>
                    <a:pt x="7665916" y="3676340"/>
                  </a:moveTo>
                  <a:cubicBezTo>
                    <a:pt x="7685342" y="3676340"/>
                    <a:pt x="7701078" y="3660600"/>
                    <a:pt x="7701078" y="3641292"/>
                  </a:cubicBezTo>
                  <a:cubicBezTo>
                    <a:pt x="7701078" y="3631331"/>
                    <a:pt x="7697390" y="3622353"/>
                    <a:pt x="7690628" y="3616081"/>
                  </a:cubicBezTo>
                  <a:cubicBezTo>
                    <a:pt x="8263916" y="3043128"/>
                    <a:pt x="8263916" y="3043128"/>
                    <a:pt x="8263916" y="3043128"/>
                  </a:cubicBezTo>
                  <a:cubicBezTo>
                    <a:pt x="9143458" y="3043128"/>
                    <a:pt x="9143458" y="3043128"/>
                    <a:pt x="9143458" y="3043128"/>
                  </a:cubicBezTo>
                  <a:cubicBezTo>
                    <a:pt x="9143458" y="3025296"/>
                    <a:pt x="9143458" y="3025296"/>
                    <a:pt x="9143458" y="3025296"/>
                  </a:cubicBezTo>
                  <a:cubicBezTo>
                    <a:pt x="8263916" y="3025296"/>
                    <a:pt x="8263916" y="3025296"/>
                    <a:pt x="8263916" y="3025296"/>
                  </a:cubicBezTo>
                  <a:cubicBezTo>
                    <a:pt x="7680670" y="3609318"/>
                    <a:pt x="7680670" y="3609318"/>
                    <a:pt x="7680670" y="3609318"/>
                  </a:cubicBezTo>
                  <a:cubicBezTo>
                    <a:pt x="7675875" y="3607227"/>
                    <a:pt x="7671203" y="3606120"/>
                    <a:pt x="7665916" y="3606120"/>
                  </a:cubicBezTo>
                  <a:cubicBezTo>
                    <a:pt x="7646614" y="3606120"/>
                    <a:pt x="7630878" y="3621861"/>
                    <a:pt x="7630878" y="3641292"/>
                  </a:cubicBezTo>
                  <a:cubicBezTo>
                    <a:pt x="7630878" y="3660600"/>
                    <a:pt x="7646614" y="3676340"/>
                    <a:pt x="7665916" y="3676340"/>
                  </a:cubicBezTo>
                  <a:close/>
                  <a:moveTo>
                    <a:pt x="7542837" y="3676340"/>
                  </a:moveTo>
                  <a:cubicBezTo>
                    <a:pt x="7562261" y="3676340"/>
                    <a:pt x="7577997" y="3660606"/>
                    <a:pt x="7577997" y="3641306"/>
                  </a:cubicBezTo>
                  <a:cubicBezTo>
                    <a:pt x="7577997" y="3631348"/>
                    <a:pt x="7574309" y="3622374"/>
                    <a:pt x="7567547" y="3616105"/>
                  </a:cubicBezTo>
                  <a:cubicBezTo>
                    <a:pt x="8211115" y="2973056"/>
                    <a:pt x="8211115" y="2973056"/>
                    <a:pt x="8211115" y="2973056"/>
                  </a:cubicBezTo>
                  <a:cubicBezTo>
                    <a:pt x="9143458" y="2973056"/>
                    <a:pt x="9143458" y="2973056"/>
                    <a:pt x="9143458" y="2973056"/>
                  </a:cubicBezTo>
                  <a:cubicBezTo>
                    <a:pt x="9143458" y="2955354"/>
                    <a:pt x="9143458" y="2955354"/>
                    <a:pt x="9143458" y="2955354"/>
                  </a:cubicBezTo>
                  <a:cubicBezTo>
                    <a:pt x="8211115" y="2955354"/>
                    <a:pt x="8211115" y="2955354"/>
                    <a:pt x="8211115" y="2955354"/>
                  </a:cubicBezTo>
                  <a:cubicBezTo>
                    <a:pt x="7557589" y="3609343"/>
                    <a:pt x="7557589" y="3609343"/>
                    <a:pt x="7557589" y="3609343"/>
                  </a:cubicBezTo>
                  <a:cubicBezTo>
                    <a:pt x="7552795" y="3607254"/>
                    <a:pt x="7548123" y="3606147"/>
                    <a:pt x="7542837" y="3606147"/>
                  </a:cubicBezTo>
                  <a:cubicBezTo>
                    <a:pt x="7523536" y="3606147"/>
                    <a:pt x="7507801" y="3621882"/>
                    <a:pt x="7507801" y="3641306"/>
                  </a:cubicBezTo>
                  <a:cubicBezTo>
                    <a:pt x="7507801" y="3660606"/>
                    <a:pt x="7523536" y="3676340"/>
                    <a:pt x="7542837" y="3676340"/>
                  </a:cubicBezTo>
                  <a:close/>
                  <a:moveTo>
                    <a:pt x="7419893" y="3676340"/>
                  </a:moveTo>
                  <a:cubicBezTo>
                    <a:pt x="7439198" y="3676340"/>
                    <a:pt x="7454938" y="3660602"/>
                    <a:pt x="7454938" y="3641298"/>
                  </a:cubicBezTo>
                  <a:cubicBezTo>
                    <a:pt x="7454938" y="3631338"/>
                    <a:pt x="7451249" y="3622362"/>
                    <a:pt x="7444978" y="3616092"/>
                  </a:cubicBezTo>
                  <a:cubicBezTo>
                    <a:pt x="8158427" y="2902207"/>
                    <a:pt x="8158427" y="2902207"/>
                    <a:pt x="8158427" y="2902207"/>
                  </a:cubicBezTo>
                  <a:cubicBezTo>
                    <a:pt x="9144000" y="2902207"/>
                    <a:pt x="9144000" y="2902207"/>
                    <a:pt x="9144000" y="2902207"/>
                  </a:cubicBezTo>
                  <a:cubicBezTo>
                    <a:pt x="9144000" y="2884870"/>
                    <a:pt x="9144000" y="2884870"/>
                    <a:pt x="9144000" y="2884870"/>
                  </a:cubicBezTo>
                  <a:cubicBezTo>
                    <a:pt x="8158427" y="2884870"/>
                    <a:pt x="8158427" y="2884870"/>
                    <a:pt x="8158427" y="2884870"/>
                  </a:cubicBezTo>
                  <a:cubicBezTo>
                    <a:pt x="7434526" y="3609329"/>
                    <a:pt x="7434526" y="3609329"/>
                    <a:pt x="7434526" y="3609329"/>
                  </a:cubicBezTo>
                  <a:cubicBezTo>
                    <a:pt x="7429853" y="3607239"/>
                    <a:pt x="7425057" y="3606132"/>
                    <a:pt x="7419893" y="3606132"/>
                  </a:cubicBezTo>
                  <a:cubicBezTo>
                    <a:pt x="7400464" y="3606132"/>
                    <a:pt x="7384724" y="3621871"/>
                    <a:pt x="7384724" y="3641298"/>
                  </a:cubicBezTo>
                  <a:cubicBezTo>
                    <a:pt x="7384724" y="3660602"/>
                    <a:pt x="7400464" y="3676340"/>
                    <a:pt x="7419893" y="3676340"/>
                  </a:cubicBezTo>
                  <a:close/>
                  <a:moveTo>
                    <a:pt x="6909687" y="3764175"/>
                  </a:moveTo>
                  <a:cubicBezTo>
                    <a:pt x="6926408" y="3764175"/>
                    <a:pt x="6940546" y="3752129"/>
                    <a:pt x="6943743" y="3736396"/>
                  </a:cubicBezTo>
                  <a:cubicBezTo>
                    <a:pt x="7701078" y="3736396"/>
                    <a:pt x="7701078" y="3736396"/>
                    <a:pt x="7701078" y="3736396"/>
                  </a:cubicBezTo>
                  <a:cubicBezTo>
                    <a:pt x="8316413" y="3121194"/>
                    <a:pt x="8316413" y="3121194"/>
                    <a:pt x="8316413" y="3121194"/>
                  </a:cubicBezTo>
                  <a:cubicBezTo>
                    <a:pt x="9143458" y="3121194"/>
                    <a:pt x="9143458" y="3121194"/>
                    <a:pt x="9143458" y="3121194"/>
                  </a:cubicBezTo>
                  <a:cubicBezTo>
                    <a:pt x="9143458" y="3103371"/>
                    <a:pt x="9143458" y="3103371"/>
                    <a:pt x="9143458" y="3103371"/>
                  </a:cubicBezTo>
                  <a:cubicBezTo>
                    <a:pt x="8316413" y="3103371"/>
                    <a:pt x="8316413" y="3103371"/>
                    <a:pt x="8316413" y="3103371"/>
                  </a:cubicBezTo>
                  <a:cubicBezTo>
                    <a:pt x="7701078" y="3719064"/>
                    <a:pt x="7701078" y="3719064"/>
                    <a:pt x="7701078" y="3719064"/>
                  </a:cubicBezTo>
                  <a:cubicBezTo>
                    <a:pt x="6943128" y="3719064"/>
                    <a:pt x="6943128" y="3719064"/>
                    <a:pt x="6943128" y="3719064"/>
                  </a:cubicBezTo>
                  <a:cubicBezTo>
                    <a:pt x="6938948" y="3704437"/>
                    <a:pt x="6925916" y="3693375"/>
                    <a:pt x="6909687" y="3693375"/>
                  </a:cubicBezTo>
                  <a:cubicBezTo>
                    <a:pt x="6890262" y="3693375"/>
                    <a:pt x="6874526" y="3709108"/>
                    <a:pt x="6874526" y="3729021"/>
                  </a:cubicBezTo>
                  <a:cubicBezTo>
                    <a:pt x="6874526" y="3748441"/>
                    <a:pt x="6890262" y="3764175"/>
                    <a:pt x="6909687" y="3764175"/>
                  </a:cubicBezTo>
                  <a:close/>
                  <a:moveTo>
                    <a:pt x="6909687" y="3887794"/>
                  </a:moveTo>
                  <a:cubicBezTo>
                    <a:pt x="6926408" y="3887794"/>
                    <a:pt x="6940546" y="3875741"/>
                    <a:pt x="6943743" y="3859998"/>
                  </a:cubicBezTo>
                  <a:cubicBezTo>
                    <a:pt x="7665916" y="3859998"/>
                    <a:pt x="7665916" y="3859998"/>
                    <a:pt x="7665916" y="3859998"/>
                  </a:cubicBezTo>
                  <a:cubicBezTo>
                    <a:pt x="8352067" y="3174216"/>
                    <a:pt x="8352067" y="3174216"/>
                    <a:pt x="8352067" y="3174216"/>
                  </a:cubicBezTo>
                  <a:cubicBezTo>
                    <a:pt x="9143458" y="3174216"/>
                    <a:pt x="9143458" y="3174216"/>
                    <a:pt x="9143458" y="3174216"/>
                  </a:cubicBezTo>
                  <a:cubicBezTo>
                    <a:pt x="9143458" y="3156506"/>
                    <a:pt x="9143458" y="3156506"/>
                    <a:pt x="9143458" y="3156506"/>
                  </a:cubicBezTo>
                  <a:cubicBezTo>
                    <a:pt x="8352067" y="3156506"/>
                    <a:pt x="8352067" y="3156506"/>
                    <a:pt x="8352067" y="3156506"/>
                  </a:cubicBezTo>
                  <a:cubicBezTo>
                    <a:pt x="7665916" y="3842780"/>
                    <a:pt x="7665916" y="3842780"/>
                    <a:pt x="7665916" y="3842780"/>
                  </a:cubicBezTo>
                  <a:cubicBezTo>
                    <a:pt x="6943128" y="3842780"/>
                    <a:pt x="6943128" y="3842780"/>
                    <a:pt x="6943128" y="3842780"/>
                  </a:cubicBezTo>
                  <a:cubicBezTo>
                    <a:pt x="6938948" y="3828021"/>
                    <a:pt x="6925916" y="3817075"/>
                    <a:pt x="6909687" y="3817075"/>
                  </a:cubicBezTo>
                  <a:cubicBezTo>
                    <a:pt x="6890262" y="3817075"/>
                    <a:pt x="6874526" y="3832818"/>
                    <a:pt x="6874526" y="3852250"/>
                  </a:cubicBezTo>
                  <a:cubicBezTo>
                    <a:pt x="6874526" y="3871559"/>
                    <a:pt x="6890262" y="3887794"/>
                    <a:pt x="6909687" y="3887794"/>
                  </a:cubicBezTo>
                  <a:close/>
                  <a:moveTo>
                    <a:pt x="8562694" y="3905143"/>
                  </a:moveTo>
                  <a:cubicBezTo>
                    <a:pt x="8579536" y="3905143"/>
                    <a:pt x="8593674" y="3893560"/>
                    <a:pt x="8597362" y="3877788"/>
                  </a:cubicBezTo>
                  <a:cubicBezTo>
                    <a:pt x="9143458" y="3877788"/>
                    <a:pt x="9143458" y="3877788"/>
                    <a:pt x="9143458" y="3877788"/>
                  </a:cubicBezTo>
                  <a:cubicBezTo>
                    <a:pt x="9143458" y="3859920"/>
                    <a:pt x="9143458" y="3859920"/>
                    <a:pt x="9143458" y="3859920"/>
                  </a:cubicBezTo>
                  <a:cubicBezTo>
                    <a:pt x="8596748" y="3859920"/>
                    <a:pt x="8596748" y="3859920"/>
                    <a:pt x="8596748" y="3859920"/>
                  </a:cubicBezTo>
                  <a:cubicBezTo>
                    <a:pt x="8592568" y="3845257"/>
                    <a:pt x="8578921" y="3834782"/>
                    <a:pt x="8562694" y="3834782"/>
                  </a:cubicBezTo>
                  <a:cubicBezTo>
                    <a:pt x="8543392" y="3834782"/>
                    <a:pt x="8527656" y="3850555"/>
                    <a:pt x="8527656" y="3869901"/>
                  </a:cubicBezTo>
                  <a:cubicBezTo>
                    <a:pt x="8527656" y="3889370"/>
                    <a:pt x="8543392" y="3905143"/>
                    <a:pt x="8562694" y="3905143"/>
                  </a:cubicBezTo>
                  <a:close/>
                  <a:moveTo>
                    <a:pt x="8562694" y="4028220"/>
                  </a:moveTo>
                  <a:cubicBezTo>
                    <a:pt x="8579536" y="4028220"/>
                    <a:pt x="8593674" y="4016637"/>
                    <a:pt x="8597362" y="4000864"/>
                  </a:cubicBezTo>
                  <a:cubicBezTo>
                    <a:pt x="9143458" y="4000864"/>
                    <a:pt x="9143458" y="4000864"/>
                    <a:pt x="9143458" y="4000864"/>
                  </a:cubicBezTo>
                  <a:cubicBezTo>
                    <a:pt x="9143458" y="3982997"/>
                    <a:pt x="9143458" y="3982997"/>
                    <a:pt x="9143458" y="3982997"/>
                  </a:cubicBezTo>
                  <a:cubicBezTo>
                    <a:pt x="8596748" y="3982997"/>
                    <a:pt x="8596748" y="3982997"/>
                    <a:pt x="8596748" y="3982997"/>
                  </a:cubicBezTo>
                  <a:cubicBezTo>
                    <a:pt x="8592568" y="3968333"/>
                    <a:pt x="8578921" y="3957859"/>
                    <a:pt x="8562694" y="3957859"/>
                  </a:cubicBezTo>
                  <a:cubicBezTo>
                    <a:pt x="8543392" y="3957859"/>
                    <a:pt x="8527656" y="3973632"/>
                    <a:pt x="8527656" y="3992978"/>
                  </a:cubicBezTo>
                  <a:cubicBezTo>
                    <a:pt x="8527656" y="4012447"/>
                    <a:pt x="8543392" y="4028220"/>
                    <a:pt x="8562694" y="4028220"/>
                  </a:cubicBezTo>
                  <a:close/>
                  <a:moveTo>
                    <a:pt x="7665916" y="4116055"/>
                  </a:moveTo>
                  <a:cubicBezTo>
                    <a:pt x="7685342" y="4116055"/>
                    <a:pt x="7701078" y="4100312"/>
                    <a:pt x="7701078" y="4080879"/>
                  </a:cubicBezTo>
                  <a:cubicBezTo>
                    <a:pt x="7701078" y="4070917"/>
                    <a:pt x="7697390" y="4062061"/>
                    <a:pt x="7690628" y="4055789"/>
                  </a:cubicBezTo>
                  <a:cubicBezTo>
                    <a:pt x="8316413" y="3429760"/>
                    <a:pt x="8316413" y="3429760"/>
                    <a:pt x="8316413" y="3429760"/>
                  </a:cubicBezTo>
                  <a:cubicBezTo>
                    <a:pt x="9143458" y="3429760"/>
                    <a:pt x="9143458" y="3429760"/>
                    <a:pt x="9143458" y="3429760"/>
                  </a:cubicBezTo>
                  <a:cubicBezTo>
                    <a:pt x="9143458" y="3412418"/>
                    <a:pt x="9143458" y="3412418"/>
                    <a:pt x="9143458" y="3412418"/>
                  </a:cubicBezTo>
                  <a:cubicBezTo>
                    <a:pt x="8316413" y="3412418"/>
                    <a:pt x="8316413" y="3412418"/>
                    <a:pt x="8316413" y="3412418"/>
                  </a:cubicBezTo>
                  <a:cubicBezTo>
                    <a:pt x="7680670" y="4048409"/>
                    <a:pt x="7680670" y="4048409"/>
                    <a:pt x="7680670" y="4048409"/>
                  </a:cubicBezTo>
                  <a:cubicBezTo>
                    <a:pt x="7675875" y="4046810"/>
                    <a:pt x="7671203" y="4045334"/>
                    <a:pt x="7665916" y="4045334"/>
                  </a:cubicBezTo>
                  <a:cubicBezTo>
                    <a:pt x="7646614" y="4045334"/>
                    <a:pt x="7630878" y="4061569"/>
                    <a:pt x="7630878" y="4080879"/>
                  </a:cubicBezTo>
                  <a:cubicBezTo>
                    <a:pt x="7630878" y="4100312"/>
                    <a:pt x="7646614" y="4116055"/>
                    <a:pt x="7665916" y="4116055"/>
                  </a:cubicBezTo>
                  <a:close/>
                  <a:moveTo>
                    <a:pt x="7050114" y="4133405"/>
                  </a:moveTo>
                  <a:cubicBezTo>
                    <a:pt x="7070030" y="4133405"/>
                    <a:pt x="7085767" y="4117668"/>
                    <a:pt x="7085767" y="4098243"/>
                  </a:cubicBezTo>
                  <a:cubicBezTo>
                    <a:pt x="7085767" y="4088777"/>
                    <a:pt x="7081587" y="4079925"/>
                    <a:pt x="7075317" y="4073655"/>
                  </a:cubicBezTo>
                  <a:cubicBezTo>
                    <a:pt x="7244117" y="3904856"/>
                    <a:pt x="7244117" y="3904856"/>
                    <a:pt x="7244117" y="3904856"/>
                  </a:cubicBezTo>
                  <a:cubicBezTo>
                    <a:pt x="7665933" y="3904856"/>
                    <a:pt x="7665933" y="3904856"/>
                    <a:pt x="7665933" y="3904856"/>
                  </a:cubicBezTo>
                  <a:cubicBezTo>
                    <a:pt x="8352076" y="3218842"/>
                    <a:pt x="8352076" y="3218842"/>
                    <a:pt x="8352076" y="3218842"/>
                  </a:cubicBezTo>
                  <a:cubicBezTo>
                    <a:pt x="9143458" y="3218842"/>
                    <a:pt x="9143458" y="3218842"/>
                    <a:pt x="9143458" y="3218842"/>
                  </a:cubicBezTo>
                  <a:cubicBezTo>
                    <a:pt x="9143458" y="3201507"/>
                    <a:pt x="9143458" y="3201507"/>
                    <a:pt x="9143458" y="3201507"/>
                  </a:cubicBezTo>
                  <a:cubicBezTo>
                    <a:pt x="8352076" y="3201507"/>
                    <a:pt x="8352076" y="3201507"/>
                    <a:pt x="8352076" y="3201507"/>
                  </a:cubicBezTo>
                  <a:cubicBezTo>
                    <a:pt x="7665933" y="3887521"/>
                    <a:pt x="7665933" y="3887521"/>
                    <a:pt x="7665933" y="3887521"/>
                  </a:cubicBezTo>
                  <a:cubicBezTo>
                    <a:pt x="7244117" y="3887521"/>
                    <a:pt x="7244117" y="3887521"/>
                    <a:pt x="7244117" y="3887521"/>
                  </a:cubicBezTo>
                  <a:cubicBezTo>
                    <a:pt x="7064744" y="4066279"/>
                    <a:pt x="7064744" y="4066279"/>
                    <a:pt x="7064744" y="4066279"/>
                  </a:cubicBezTo>
                  <a:cubicBezTo>
                    <a:pt x="7060564" y="4064188"/>
                    <a:pt x="7055400" y="4063082"/>
                    <a:pt x="7050114" y="4063082"/>
                  </a:cubicBezTo>
                  <a:cubicBezTo>
                    <a:pt x="7030689" y="4063082"/>
                    <a:pt x="7014952" y="4078819"/>
                    <a:pt x="7014952" y="4098243"/>
                  </a:cubicBezTo>
                  <a:cubicBezTo>
                    <a:pt x="7014952" y="4117668"/>
                    <a:pt x="7030689" y="4133405"/>
                    <a:pt x="7050114" y="4133405"/>
                  </a:cubicBezTo>
                  <a:close/>
                  <a:moveTo>
                    <a:pt x="8562694" y="4151297"/>
                  </a:moveTo>
                  <a:cubicBezTo>
                    <a:pt x="8579536" y="4151297"/>
                    <a:pt x="8593674" y="4139734"/>
                    <a:pt x="8597362" y="4123989"/>
                  </a:cubicBezTo>
                  <a:cubicBezTo>
                    <a:pt x="9143458" y="4123989"/>
                    <a:pt x="9143458" y="4123989"/>
                    <a:pt x="9143458" y="4123989"/>
                  </a:cubicBezTo>
                  <a:cubicBezTo>
                    <a:pt x="9143458" y="4106152"/>
                    <a:pt x="9143458" y="4106152"/>
                    <a:pt x="9143458" y="4106152"/>
                  </a:cubicBezTo>
                  <a:cubicBezTo>
                    <a:pt x="8596748" y="4106152"/>
                    <a:pt x="8596748" y="4106152"/>
                    <a:pt x="8596748" y="4106152"/>
                  </a:cubicBezTo>
                  <a:cubicBezTo>
                    <a:pt x="8592568" y="4091514"/>
                    <a:pt x="8578921" y="4080935"/>
                    <a:pt x="8562694" y="4080935"/>
                  </a:cubicBezTo>
                  <a:cubicBezTo>
                    <a:pt x="8543392" y="4080935"/>
                    <a:pt x="8527656" y="4096680"/>
                    <a:pt x="8527656" y="4116116"/>
                  </a:cubicBezTo>
                  <a:cubicBezTo>
                    <a:pt x="8527656" y="4135552"/>
                    <a:pt x="8543392" y="4151297"/>
                    <a:pt x="8562694" y="4151297"/>
                  </a:cubicBezTo>
                  <a:close/>
                  <a:moveTo>
                    <a:pt x="7155722" y="4221239"/>
                  </a:moveTo>
                  <a:cubicBezTo>
                    <a:pt x="7175149" y="4221239"/>
                    <a:pt x="7190888" y="4205504"/>
                    <a:pt x="7190888" y="4186081"/>
                  </a:cubicBezTo>
                  <a:cubicBezTo>
                    <a:pt x="7190888" y="4176124"/>
                    <a:pt x="7186707" y="4167765"/>
                    <a:pt x="7180436" y="4161003"/>
                  </a:cubicBezTo>
                  <a:cubicBezTo>
                    <a:pt x="7366471" y="3974886"/>
                    <a:pt x="7366471" y="3974886"/>
                    <a:pt x="7366471" y="3974886"/>
                  </a:cubicBezTo>
                  <a:cubicBezTo>
                    <a:pt x="7665751" y="3974886"/>
                    <a:pt x="7665751" y="3974886"/>
                    <a:pt x="7665751" y="3974886"/>
                  </a:cubicBezTo>
                  <a:cubicBezTo>
                    <a:pt x="8298984" y="3341917"/>
                    <a:pt x="8298984" y="3341917"/>
                    <a:pt x="8298984" y="3341917"/>
                  </a:cubicBezTo>
                  <a:cubicBezTo>
                    <a:pt x="9143458" y="3341917"/>
                    <a:pt x="9143458" y="3341917"/>
                    <a:pt x="9143458" y="3341917"/>
                  </a:cubicBezTo>
                  <a:cubicBezTo>
                    <a:pt x="9143458" y="3324584"/>
                    <a:pt x="9143458" y="3324584"/>
                    <a:pt x="9143458" y="3324584"/>
                  </a:cubicBezTo>
                  <a:cubicBezTo>
                    <a:pt x="8298984" y="3324584"/>
                    <a:pt x="8298984" y="3324584"/>
                    <a:pt x="8298984" y="3324584"/>
                  </a:cubicBezTo>
                  <a:cubicBezTo>
                    <a:pt x="7665751" y="3957676"/>
                    <a:pt x="7665751" y="3957676"/>
                    <a:pt x="7665751" y="3957676"/>
                  </a:cubicBezTo>
                  <a:cubicBezTo>
                    <a:pt x="7366471" y="3957676"/>
                    <a:pt x="7366471" y="3957676"/>
                    <a:pt x="7366471" y="3957676"/>
                  </a:cubicBezTo>
                  <a:cubicBezTo>
                    <a:pt x="7169862" y="4154119"/>
                    <a:pt x="7169862" y="4154119"/>
                    <a:pt x="7169862" y="4154119"/>
                  </a:cubicBezTo>
                  <a:cubicBezTo>
                    <a:pt x="7165681" y="4152029"/>
                    <a:pt x="7161009" y="4151046"/>
                    <a:pt x="7155722" y="4151046"/>
                  </a:cubicBezTo>
                  <a:cubicBezTo>
                    <a:pt x="7136295" y="4151046"/>
                    <a:pt x="7120679" y="4166781"/>
                    <a:pt x="7120679" y="4186081"/>
                  </a:cubicBezTo>
                  <a:cubicBezTo>
                    <a:pt x="7120679" y="4205504"/>
                    <a:pt x="7136295" y="4221239"/>
                    <a:pt x="7155722" y="4221239"/>
                  </a:cubicBezTo>
                  <a:close/>
                  <a:moveTo>
                    <a:pt x="8562694" y="4274374"/>
                  </a:moveTo>
                  <a:cubicBezTo>
                    <a:pt x="8579536" y="4274374"/>
                    <a:pt x="8593674" y="4262187"/>
                    <a:pt x="8597362" y="4247046"/>
                  </a:cubicBezTo>
                  <a:cubicBezTo>
                    <a:pt x="9143458" y="4247046"/>
                    <a:pt x="9143458" y="4247046"/>
                    <a:pt x="9143458" y="4247046"/>
                  </a:cubicBezTo>
                  <a:cubicBezTo>
                    <a:pt x="9143458" y="4229197"/>
                    <a:pt x="9143458" y="4229197"/>
                    <a:pt x="9143458" y="4229197"/>
                  </a:cubicBezTo>
                  <a:cubicBezTo>
                    <a:pt x="8596748" y="4229197"/>
                    <a:pt x="8596748" y="4229197"/>
                    <a:pt x="8596748" y="4229197"/>
                  </a:cubicBezTo>
                  <a:cubicBezTo>
                    <a:pt x="8592568" y="4214549"/>
                    <a:pt x="8578921" y="4203470"/>
                    <a:pt x="8562694" y="4203470"/>
                  </a:cubicBezTo>
                  <a:cubicBezTo>
                    <a:pt x="8543392" y="4203470"/>
                    <a:pt x="8527656" y="4219719"/>
                    <a:pt x="8527656" y="4239168"/>
                  </a:cubicBezTo>
                  <a:cubicBezTo>
                    <a:pt x="8527656" y="4258617"/>
                    <a:pt x="8543392" y="4274374"/>
                    <a:pt x="8562694" y="4274374"/>
                  </a:cubicBezTo>
                  <a:close/>
                  <a:moveTo>
                    <a:pt x="7684086" y="4326966"/>
                  </a:moveTo>
                  <a:cubicBezTo>
                    <a:pt x="8176299" y="3834629"/>
                    <a:pt x="8176299" y="3834629"/>
                    <a:pt x="8176299" y="3834629"/>
                  </a:cubicBezTo>
                  <a:cubicBezTo>
                    <a:pt x="8176299" y="3641163"/>
                    <a:pt x="8176299" y="3641163"/>
                    <a:pt x="8176299" y="3641163"/>
                  </a:cubicBezTo>
                  <a:cubicBezTo>
                    <a:pt x="9144000" y="3641163"/>
                    <a:pt x="9144000" y="3641163"/>
                    <a:pt x="9144000" y="3641163"/>
                  </a:cubicBezTo>
                  <a:cubicBezTo>
                    <a:pt x="9144000" y="3623329"/>
                    <a:pt x="9144000" y="3623329"/>
                    <a:pt x="9144000" y="3623329"/>
                  </a:cubicBezTo>
                  <a:cubicBezTo>
                    <a:pt x="8158469" y="3623329"/>
                    <a:pt x="8158469" y="3623329"/>
                    <a:pt x="8158469" y="3623329"/>
                  </a:cubicBezTo>
                  <a:cubicBezTo>
                    <a:pt x="8158469" y="3834629"/>
                    <a:pt x="8158469" y="3834629"/>
                    <a:pt x="8158469" y="3834629"/>
                  </a:cubicBezTo>
                  <a:cubicBezTo>
                    <a:pt x="7684086" y="4309624"/>
                    <a:pt x="7684086" y="4309624"/>
                    <a:pt x="7684086" y="4309624"/>
                  </a:cubicBezTo>
                  <a:cubicBezTo>
                    <a:pt x="7480217" y="4105703"/>
                    <a:pt x="7480217" y="4105703"/>
                    <a:pt x="7480217" y="4105703"/>
                  </a:cubicBezTo>
                  <a:cubicBezTo>
                    <a:pt x="7486488" y="4099430"/>
                    <a:pt x="7490177" y="4090452"/>
                    <a:pt x="7490177" y="4080982"/>
                  </a:cubicBezTo>
                  <a:cubicBezTo>
                    <a:pt x="7490177" y="4061672"/>
                    <a:pt x="7474438" y="4045437"/>
                    <a:pt x="7455010" y="4045437"/>
                  </a:cubicBezTo>
                  <a:cubicBezTo>
                    <a:pt x="7435582" y="4045437"/>
                    <a:pt x="7419966" y="4061672"/>
                    <a:pt x="7419966" y="4080982"/>
                  </a:cubicBezTo>
                  <a:cubicBezTo>
                    <a:pt x="7419966" y="4100414"/>
                    <a:pt x="7435582" y="4116158"/>
                    <a:pt x="7455010" y="4116158"/>
                  </a:cubicBezTo>
                  <a:cubicBezTo>
                    <a:pt x="7460297" y="4116158"/>
                    <a:pt x="7464970" y="4115174"/>
                    <a:pt x="7469765" y="4112960"/>
                  </a:cubicBezTo>
                  <a:close/>
                  <a:moveTo>
                    <a:pt x="8562694" y="4397450"/>
                  </a:moveTo>
                  <a:cubicBezTo>
                    <a:pt x="8579536" y="4397450"/>
                    <a:pt x="8593674" y="4385365"/>
                    <a:pt x="8597362" y="4369582"/>
                  </a:cubicBezTo>
                  <a:cubicBezTo>
                    <a:pt x="9143458" y="4369582"/>
                    <a:pt x="9143458" y="4369582"/>
                    <a:pt x="9143458" y="4369582"/>
                  </a:cubicBezTo>
                  <a:cubicBezTo>
                    <a:pt x="9143458" y="4352318"/>
                    <a:pt x="9143458" y="4352318"/>
                    <a:pt x="9143458" y="4352318"/>
                  </a:cubicBezTo>
                  <a:cubicBezTo>
                    <a:pt x="8596748" y="4352318"/>
                    <a:pt x="8596748" y="4352318"/>
                    <a:pt x="8596748" y="4352318"/>
                  </a:cubicBezTo>
                  <a:cubicBezTo>
                    <a:pt x="8592568" y="4337521"/>
                    <a:pt x="8578921" y="4326547"/>
                    <a:pt x="8562694" y="4326547"/>
                  </a:cubicBezTo>
                  <a:cubicBezTo>
                    <a:pt x="8543392" y="4326547"/>
                    <a:pt x="8527656" y="4342330"/>
                    <a:pt x="8527656" y="4362306"/>
                  </a:cubicBezTo>
                  <a:cubicBezTo>
                    <a:pt x="8527656" y="4381666"/>
                    <a:pt x="8543392" y="4397450"/>
                    <a:pt x="8562694" y="4397450"/>
                  </a:cubicBezTo>
                  <a:close/>
                  <a:moveTo>
                    <a:pt x="7630831" y="4467934"/>
                  </a:moveTo>
                  <a:cubicBezTo>
                    <a:pt x="8228849" y="3869795"/>
                    <a:pt x="8228849" y="3869795"/>
                    <a:pt x="8228849" y="3869795"/>
                  </a:cubicBezTo>
                  <a:cubicBezTo>
                    <a:pt x="8228849" y="3676399"/>
                    <a:pt x="8228849" y="3676399"/>
                    <a:pt x="8228849" y="3676399"/>
                  </a:cubicBezTo>
                  <a:cubicBezTo>
                    <a:pt x="9143458" y="3676399"/>
                    <a:pt x="9143458" y="3676399"/>
                    <a:pt x="9143458" y="3676399"/>
                  </a:cubicBezTo>
                  <a:cubicBezTo>
                    <a:pt x="9143458" y="3658571"/>
                    <a:pt x="9143458" y="3658571"/>
                    <a:pt x="9143458" y="3658571"/>
                  </a:cubicBezTo>
                  <a:cubicBezTo>
                    <a:pt x="8211021" y="3658571"/>
                    <a:pt x="8211021" y="3658571"/>
                    <a:pt x="8211021" y="3658571"/>
                  </a:cubicBezTo>
                  <a:cubicBezTo>
                    <a:pt x="8211021" y="3869795"/>
                    <a:pt x="8211021" y="3869795"/>
                    <a:pt x="8211021" y="3869795"/>
                  </a:cubicBezTo>
                  <a:cubicBezTo>
                    <a:pt x="7630831" y="4450107"/>
                    <a:pt x="7630831" y="4450107"/>
                    <a:pt x="7630831" y="4450107"/>
                  </a:cubicBezTo>
                  <a:cubicBezTo>
                    <a:pt x="7373993" y="4193762"/>
                    <a:pt x="7373993" y="4193762"/>
                    <a:pt x="7373993" y="4193762"/>
                  </a:cubicBezTo>
                  <a:cubicBezTo>
                    <a:pt x="7380755" y="4187491"/>
                    <a:pt x="7384443" y="4178516"/>
                    <a:pt x="7384443" y="4168557"/>
                  </a:cubicBezTo>
                  <a:cubicBezTo>
                    <a:pt x="7384443" y="4149255"/>
                    <a:pt x="7368706" y="4133517"/>
                    <a:pt x="7349280" y="4133517"/>
                  </a:cubicBezTo>
                  <a:cubicBezTo>
                    <a:pt x="7329977" y="4133517"/>
                    <a:pt x="7314240" y="4149255"/>
                    <a:pt x="7314240" y="4168557"/>
                  </a:cubicBezTo>
                  <a:cubicBezTo>
                    <a:pt x="7314240" y="4187983"/>
                    <a:pt x="7329977" y="4203720"/>
                    <a:pt x="7349280" y="4203720"/>
                  </a:cubicBezTo>
                  <a:cubicBezTo>
                    <a:pt x="7354567" y="4203720"/>
                    <a:pt x="7359239" y="4202737"/>
                    <a:pt x="7364034" y="4201139"/>
                  </a:cubicBezTo>
                  <a:close/>
                  <a:moveTo>
                    <a:pt x="8791634" y="4485284"/>
                  </a:moveTo>
                  <a:cubicBezTo>
                    <a:pt x="8808484" y="4485284"/>
                    <a:pt x="8822627" y="4473701"/>
                    <a:pt x="8826194" y="4458051"/>
                  </a:cubicBezTo>
                  <a:cubicBezTo>
                    <a:pt x="9116696" y="4458051"/>
                    <a:pt x="9116696" y="4458051"/>
                    <a:pt x="9116696" y="4458051"/>
                  </a:cubicBezTo>
                  <a:cubicBezTo>
                    <a:pt x="9119894" y="4471606"/>
                    <a:pt x="9130348" y="4482203"/>
                    <a:pt x="9144000" y="4484791"/>
                  </a:cubicBezTo>
                  <a:cubicBezTo>
                    <a:pt x="9144000" y="4455341"/>
                    <a:pt x="9144000" y="4455341"/>
                    <a:pt x="9144000" y="4455341"/>
                  </a:cubicBezTo>
                  <a:cubicBezTo>
                    <a:pt x="9142893" y="4453862"/>
                    <a:pt x="9142401" y="4452260"/>
                    <a:pt x="9142401" y="4450165"/>
                  </a:cubicBezTo>
                  <a:cubicBezTo>
                    <a:pt x="9142401" y="4448563"/>
                    <a:pt x="9142893" y="4446469"/>
                    <a:pt x="9144000" y="4444866"/>
                  </a:cubicBezTo>
                  <a:cubicBezTo>
                    <a:pt x="9144000" y="4416032"/>
                    <a:pt x="9144000" y="4416032"/>
                    <a:pt x="9144000" y="4416032"/>
                  </a:cubicBezTo>
                  <a:cubicBezTo>
                    <a:pt x="9130840" y="4418620"/>
                    <a:pt x="9120878" y="4428108"/>
                    <a:pt x="9117188" y="4440677"/>
                  </a:cubicBezTo>
                  <a:cubicBezTo>
                    <a:pt x="8825702" y="4440677"/>
                    <a:pt x="8825702" y="4440677"/>
                    <a:pt x="8825702" y="4440677"/>
                  </a:cubicBezTo>
                  <a:cubicBezTo>
                    <a:pt x="8821520" y="4425890"/>
                    <a:pt x="8807868" y="4414923"/>
                    <a:pt x="8791634" y="4414923"/>
                  </a:cubicBezTo>
                  <a:cubicBezTo>
                    <a:pt x="8772202" y="4414923"/>
                    <a:pt x="8756459" y="4430696"/>
                    <a:pt x="8756459" y="4450165"/>
                  </a:cubicBezTo>
                  <a:cubicBezTo>
                    <a:pt x="8756459" y="4469511"/>
                    <a:pt x="8772202" y="4485284"/>
                    <a:pt x="8791634" y="4485284"/>
                  </a:cubicBezTo>
                  <a:close/>
                  <a:moveTo>
                    <a:pt x="7578200" y="4591011"/>
                  </a:moveTo>
                  <a:cubicBezTo>
                    <a:pt x="8264329" y="3905020"/>
                    <a:pt x="8264329" y="3905020"/>
                    <a:pt x="8264329" y="3905020"/>
                  </a:cubicBezTo>
                  <a:cubicBezTo>
                    <a:pt x="8264329" y="3711640"/>
                    <a:pt x="8264329" y="3711640"/>
                    <a:pt x="8264329" y="3711640"/>
                  </a:cubicBezTo>
                  <a:cubicBezTo>
                    <a:pt x="9144000" y="3711640"/>
                    <a:pt x="9144000" y="3711640"/>
                    <a:pt x="9144000" y="3711640"/>
                  </a:cubicBezTo>
                  <a:cubicBezTo>
                    <a:pt x="9144000" y="3693813"/>
                    <a:pt x="9144000" y="3693813"/>
                    <a:pt x="9144000" y="3693813"/>
                  </a:cubicBezTo>
                  <a:cubicBezTo>
                    <a:pt x="8246499" y="3693813"/>
                    <a:pt x="8246499" y="3693813"/>
                    <a:pt x="8246499" y="3693813"/>
                  </a:cubicBezTo>
                  <a:cubicBezTo>
                    <a:pt x="8246499" y="3905020"/>
                    <a:pt x="8246499" y="3905020"/>
                    <a:pt x="8246499" y="3905020"/>
                  </a:cubicBezTo>
                  <a:cubicBezTo>
                    <a:pt x="7578200" y="4573185"/>
                    <a:pt x="7578200" y="4573185"/>
                    <a:pt x="7578200" y="4573185"/>
                  </a:cubicBezTo>
                  <a:cubicBezTo>
                    <a:pt x="7286780" y="4281824"/>
                    <a:pt x="7286780" y="4281824"/>
                    <a:pt x="7286780" y="4281824"/>
                  </a:cubicBezTo>
                  <a:cubicBezTo>
                    <a:pt x="7293051" y="4275062"/>
                    <a:pt x="7296740" y="4266702"/>
                    <a:pt x="7296740" y="4256744"/>
                  </a:cubicBezTo>
                  <a:cubicBezTo>
                    <a:pt x="7296740" y="4237320"/>
                    <a:pt x="7281001" y="4221584"/>
                    <a:pt x="7261573" y="4221584"/>
                  </a:cubicBezTo>
                  <a:cubicBezTo>
                    <a:pt x="7242145" y="4221584"/>
                    <a:pt x="7226406" y="4237320"/>
                    <a:pt x="7226406" y="4256744"/>
                  </a:cubicBezTo>
                  <a:cubicBezTo>
                    <a:pt x="7226406" y="4276045"/>
                    <a:pt x="7242145" y="4291781"/>
                    <a:pt x="7261573" y="4291781"/>
                  </a:cubicBezTo>
                  <a:cubicBezTo>
                    <a:pt x="7266860" y="4291781"/>
                    <a:pt x="7271533" y="4290798"/>
                    <a:pt x="7276328" y="4288708"/>
                  </a:cubicBezTo>
                  <a:close/>
                  <a:moveTo>
                    <a:pt x="7261325" y="4660953"/>
                  </a:moveTo>
                  <a:cubicBezTo>
                    <a:pt x="7648104" y="4660953"/>
                    <a:pt x="7648104" y="4660953"/>
                    <a:pt x="7648104" y="4660953"/>
                  </a:cubicBezTo>
                  <a:cubicBezTo>
                    <a:pt x="8404448" y="3904616"/>
                    <a:pt x="8404448" y="3904616"/>
                    <a:pt x="8404448" y="3904616"/>
                  </a:cubicBezTo>
                  <a:cubicBezTo>
                    <a:pt x="8404448" y="3746390"/>
                    <a:pt x="8404448" y="3746390"/>
                    <a:pt x="8404448" y="3746390"/>
                  </a:cubicBezTo>
                  <a:cubicBezTo>
                    <a:pt x="9143458" y="3746390"/>
                    <a:pt x="9143458" y="3746390"/>
                    <a:pt x="9143458" y="3746390"/>
                  </a:cubicBezTo>
                  <a:cubicBezTo>
                    <a:pt x="9143458" y="3729056"/>
                    <a:pt x="9143458" y="3729056"/>
                    <a:pt x="9143458" y="3729056"/>
                  </a:cubicBezTo>
                  <a:cubicBezTo>
                    <a:pt x="8387113" y="3729056"/>
                    <a:pt x="8387113" y="3729056"/>
                    <a:pt x="8387113" y="3729056"/>
                  </a:cubicBezTo>
                  <a:cubicBezTo>
                    <a:pt x="8387113" y="3904616"/>
                    <a:pt x="8387113" y="3904616"/>
                    <a:pt x="8387113" y="3904616"/>
                  </a:cubicBezTo>
                  <a:cubicBezTo>
                    <a:pt x="7648104" y="4643127"/>
                    <a:pt x="7648104" y="4643127"/>
                    <a:pt x="7648104" y="4643127"/>
                  </a:cubicBezTo>
                  <a:cubicBezTo>
                    <a:pt x="7261325" y="4643127"/>
                    <a:pt x="7261325" y="4643127"/>
                    <a:pt x="7261325" y="4643127"/>
                  </a:cubicBezTo>
                  <a:cubicBezTo>
                    <a:pt x="6944747" y="4326552"/>
                    <a:pt x="6944747" y="4326552"/>
                    <a:pt x="6944747" y="4326552"/>
                  </a:cubicBezTo>
                  <a:cubicBezTo>
                    <a:pt x="6786519" y="4326552"/>
                    <a:pt x="6786519" y="4326552"/>
                    <a:pt x="6786519" y="4326552"/>
                  </a:cubicBezTo>
                  <a:cubicBezTo>
                    <a:pt x="6653372" y="4193406"/>
                    <a:pt x="6653372" y="4193406"/>
                    <a:pt x="6653372" y="4193406"/>
                  </a:cubicBezTo>
                  <a:cubicBezTo>
                    <a:pt x="6659642" y="4187136"/>
                    <a:pt x="6663331" y="4178162"/>
                    <a:pt x="6663331" y="4168203"/>
                  </a:cubicBezTo>
                  <a:cubicBezTo>
                    <a:pt x="6663331" y="4148901"/>
                    <a:pt x="6647594" y="4133165"/>
                    <a:pt x="6628169" y="4133165"/>
                  </a:cubicBezTo>
                  <a:cubicBezTo>
                    <a:pt x="6608867" y="4133165"/>
                    <a:pt x="6593130" y="4148901"/>
                    <a:pt x="6593130" y="4168203"/>
                  </a:cubicBezTo>
                  <a:cubicBezTo>
                    <a:pt x="6593130" y="4187628"/>
                    <a:pt x="6608867" y="4203365"/>
                    <a:pt x="6628169" y="4203365"/>
                  </a:cubicBezTo>
                  <a:cubicBezTo>
                    <a:pt x="6633456" y="4203365"/>
                    <a:pt x="6638127" y="4202381"/>
                    <a:pt x="6642922" y="4200783"/>
                  </a:cubicBezTo>
                  <a:cubicBezTo>
                    <a:pt x="6786519" y="4344378"/>
                    <a:pt x="6786519" y="4344378"/>
                    <a:pt x="6786519" y="4344378"/>
                  </a:cubicBezTo>
                  <a:cubicBezTo>
                    <a:pt x="6944747" y="4344378"/>
                    <a:pt x="6944747" y="4344378"/>
                    <a:pt x="6944747" y="4344378"/>
                  </a:cubicBezTo>
                  <a:close/>
                  <a:moveTo>
                    <a:pt x="7244113" y="4756921"/>
                  </a:moveTo>
                  <a:cubicBezTo>
                    <a:pt x="7630892" y="4756921"/>
                    <a:pt x="7630892" y="4756921"/>
                    <a:pt x="7630892" y="4756921"/>
                  </a:cubicBezTo>
                  <a:cubicBezTo>
                    <a:pt x="8474648" y="3912443"/>
                    <a:pt x="8474648" y="3912443"/>
                    <a:pt x="8474648" y="3912443"/>
                  </a:cubicBezTo>
                  <a:cubicBezTo>
                    <a:pt x="8474648" y="3807067"/>
                    <a:pt x="8474648" y="3807067"/>
                    <a:pt x="8474648" y="3807067"/>
                  </a:cubicBezTo>
                  <a:cubicBezTo>
                    <a:pt x="9143458" y="3807067"/>
                    <a:pt x="9143458" y="3807067"/>
                    <a:pt x="9143458" y="3807067"/>
                  </a:cubicBezTo>
                  <a:cubicBezTo>
                    <a:pt x="9143458" y="3789238"/>
                    <a:pt x="9143458" y="3789238"/>
                    <a:pt x="9143458" y="3789238"/>
                  </a:cubicBezTo>
                  <a:cubicBezTo>
                    <a:pt x="8457313" y="3789238"/>
                    <a:pt x="8457313" y="3789238"/>
                    <a:pt x="8457313" y="3789238"/>
                  </a:cubicBezTo>
                  <a:cubicBezTo>
                    <a:pt x="8457313" y="3912443"/>
                    <a:pt x="8457313" y="3912443"/>
                    <a:pt x="8457313" y="3912443"/>
                  </a:cubicBezTo>
                  <a:cubicBezTo>
                    <a:pt x="7630892" y="4739092"/>
                    <a:pt x="7630892" y="4739092"/>
                    <a:pt x="7630892" y="4739092"/>
                  </a:cubicBezTo>
                  <a:cubicBezTo>
                    <a:pt x="7244113" y="4739092"/>
                    <a:pt x="7244113" y="4739092"/>
                    <a:pt x="7244113" y="4739092"/>
                  </a:cubicBezTo>
                  <a:cubicBezTo>
                    <a:pt x="6909708" y="4404645"/>
                    <a:pt x="6909708" y="4404645"/>
                    <a:pt x="6909708" y="4404645"/>
                  </a:cubicBezTo>
                  <a:cubicBezTo>
                    <a:pt x="6662224" y="4404645"/>
                    <a:pt x="6662224" y="4404645"/>
                    <a:pt x="6662224" y="4404645"/>
                  </a:cubicBezTo>
                  <a:cubicBezTo>
                    <a:pt x="6658044" y="4390505"/>
                    <a:pt x="6644521" y="4379438"/>
                    <a:pt x="6628169" y="4379438"/>
                  </a:cubicBezTo>
                  <a:cubicBezTo>
                    <a:pt x="6608867" y="4379438"/>
                    <a:pt x="6593130" y="4395177"/>
                    <a:pt x="6593130" y="4414605"/>
                  </a:cubicBezTo>
                  <a:cubicBezTo>
                    <a:pt x="6593130" y="4434032"/>
                    <a:pt x="6608867" y="4449771"/>
                    <a:pt x="6628169" y="4449771"/>
                  </a:cubicBezTo>
                  <a:cubicBezTo>
                    <a:pt x="6645012" y="4449771"/>
                    <a:pt x="6659151" y="4438213"/>
                    <a:pt x="6662839" y="4422474"/>
                  </a:cubicBezTo>
                  <a:cubicBezTo>
                    <a:pt x="6909708" y="4422474"/>
                    <a:pt x="6909708" y="4422474"/>
                    <a:pt x="6909708" y="4422474"/>
                  </a:cubicBezTo>
                  <a:close/>
                  <a:moveTo>
                    <a:pt x="8123101" y="4801380"/>
                  </a:moveTo>
                  <a:cubicBezTo>
                    <a:pt x="8142401" y="4801380"/>
                    <a:pt x="8158137" y="4785646"/>
                    <a:pt x="8158137" y="4766225"/>
                  </a:cubicBezTo>
                  <a:cubicBezTo>
                    <a:pt x="8158137" y="4756884"/>
                    <a:pt x="8154449" y="4747911"/>
                    <a:pt x="8148180" y="4741642"/>
                  </a:cubicBezTo>
                  <a:cubicBezTo>
                    <a:pt x="8228948" y="4661007"/>
                    <a:pt x="8228948" y="4661007"/>
                    <a:pt x="8228948" y="4661007"/>
                  </a:cubicBezTo>
                  <a:cubicBezTo>
                    <a:pt x="8492519" y="4661007"/>
                    <a:pt x="8492519" y="4661007"/>
                    <a:pt x="8492519" y="4661007"/>
                  </a:cubicBezTo>
                  <a:cubicBezTo>
                    <a:pt x="8580540" y="4749017"/>
                    <a:pt x="8580540" y="4749017"/>
                    <a:pt x="8580540" y="4749017"/>
                  </a:cubicBezTo>
                  <a:cubicBezTo>
                    <a:pt x="9143458" y="4749017"/>
                    <a:pt x="9143458" y="4749017"/>
                    <a:pt x="9143458" y="4749017"/>
                  </a:cubicBezTo>
                  <a:cubicBezTo>
                    <a:pt x="9143458" y="4731194"/>
                    <a:pt x="9143458" y="4731194"/>
                    <a:pt x="9143458" y="4731194"/>
                  </a:cubicBezTo>
                  <a:cubicBezTo>
                    <a:pt x="8580540" y="4731194"/>
                    <a:pt x="8580540" y="4731194"/>
                    <a:pt x="8580540" y="4731194"/>
                  </a:cubicBezTo>
                  <a:cubicBezTo>
                    <a:pt x="8492519" y="4643184"/>
                    <a:pt x="8492519" y="4643184"/>
                    <a:pt x="8492519" y="4643184"/>
                  </a:cubicBezTo>
                  <a:cubicBezTo>
                    <a:pt x="8228948" y="4643184"/>
                    <a:pt x="8228948" y="4643184"/>
                    <a:pt x="8228948" y="4643184"/>
                  </a:cubicBezTo>
                  <a:cubicBezTo>
                    <a:pt x="8137730" y="4734267"/>
                    <a:pt x="8137730" y="4734267"/>
                    <a:pt x="8137730" y="4734267"/>
                  </a:cubicBezTo>
                  <a:cubicBezTo>
                    <a:pt x="8133550" y="4732177"/>
                    <a:pt x="8128264" y="4731194"/>
                    <a:pt x="8123101" y="4731194"/>
                  </a:cubicBezTo>
                  <a:cubicBezTo>
                    <a:pt x="8103677" y="4731194"/>
                    <a:pt x="8087942" y="4746927"/>
                    <a:pt x="8087942" y="4766225"/>
                  </a:cubicBezTo>
                  <a:cubicBezTo>
                    <a:pt x="8087942" y="4785646"/>
                    <a:pt x="8103677" y="4801380"/>
                    <a:pt x="8123101" y="4801380"/>
                  </a:cubicBezTo>
                  <a:close/>
                  <a:moveTo>
                    <a:pt x="7877448" y="4801380"/>
                  </a:moveTo>
                  <a:cubicBezTo>
                    <a:pt x="7896877" y="4801380"/>
                    <a:pt x="7912617" y="4785650"/>
                    <a:pt x="7912617" y="4766234"/>
                  </a:cubicBezTo>
                  <a:cubicBezTo>
                    <a:pt x="7912617" y="4756894"/>
                    <a:pt x="7908436" y="4747923"/>
                    <a:pt x="7902165" y="4741656"/>
                  </a:cubicBezTo>
                  <a:cubicBezTo>
                    <a:pt x="8123381" y="4520085"/>
                    <a:pt x="8123381" y="4520085"/>
                    <a:pt x="8123381" y="4520085"/>
                  </a:cubicBezTo>
                  <a:cubicBezTo>
                    <a:pt x="8563108" y="4520085"/>
                    <a:pt x="8563108" y="4520085"/>
                    <a:pt x="8563108" y="4520085"/>
                  </a:cubicBezTo>
                  <a:cubicBezTo>
                    <a:pt x="8686320" y="4643221"/>
                    <a:pt x="8686320" y="4643221"/>
                    <a:pt x="8686320" y="4643221"/>
                  </a:cubicBezTo>
                  <a:cubicBezTo>
                    <a:pt x="9144000" y="4643221"/>
                    <a:pt x="9144000" y="4643221"/>
                    <a:pt x="9144000" y="4643221"/>
                  </a:cubicBezTo>
                  <a:cubicBezTo>
                    <a:pt x="9144000" y="4625893"/>
                    <a:pt x="9144000" y="4625893"/>
                    <a:pt x="9144000" y="4625893"/>
                  </a:cubicBezTo>
                  <a:cubicBezTo>
                    <a:pt x="8686320" y="4625893"/>
                    <a:pt x="8686320" y="4625893"/>
                    <a:pt x="8686320" y="4625893"/>
                  </a:cubicBezTo>
                  <a:cubicBezTo>
                    <a:pt x="8563108" y="4502757"/>
                    <a:pt x="8563108" y="4502757"/>
                    <a:pt x="8563108" y="4502757"/>
                  </a:cubicBezTo>
                  <a:cubicBezTo>
                    <a:pt x="8123381" y="4502757"/>
                    <a:pt x="8123381" y="4502757"/>
                    <a:pt x="8123381" y="4502757"/>
                  </a:cubicBezTo>
                  <a:cubicBezTo>
                    <a:pt x="7891590" y="4734282"/>
                    <a:pt x="7891590" y="4734282"/>
                    <a:pt x="7891590" y="4734282"/>
                  </a:cubicBezTo>
                  <a:cubicBezTo>
                    <a:pt x="7887409" y="4732193"/>
                    <a:pt x="7882244" y="4731210"/>
                    <a:pt x="7877448" y="4731210"/>
                  </a:cubicBezTo>
                  <a:cubicBezTo>
                    <a:pt x="7858020" y="4731210"/>
                    <a:pt x="7841788" y="4746940"/>
                    <a:pt x="7841788" y="4766234"/>
                  </a:cubicBezTo>
                  <a:cubicBezTo>
                    <a:pt x="7841788" y="4785650"/>
                    <a:pt x="7858020" y="4801380"/>
                    <a:pt x="7877448" y="4801380"/>
                  </a:cubicBezTo>
                  <a:close/>
                  <a:moveTo>
                    <a:pt x="8000038" y="4801922"/>
                  </a:moveTo>
                  <a:cubicBezTo>
                    <a:pt x="8019960" y="4801922"/>
                    <a:pt x="8035702" y="4786181"/>
                    <a:pt x="8035702" y="4766750"/>
                  </a:cubicBezTo>
                  <a:cubicBezTo>
                    <a:pt x="8035702" y="4757403"/>
                    <a:pt x="8031520" y="4748426"/>
                    <a:pt x="8025125" y="4742154"/>
                  </a:cubicBezTo>
                  <a:cubicBezTo>
                    <a:pt x="8158313" y="4608474"/>
                    <a:pt x="8158313" y="4608474"/>
                    <a:pt x="8158313" y="4608474"/>
                  </a:cubicBezTo>
                  <a:cubicBezTo>
                    <a:pt x="8563041" y="4608474"/>
                    <a:pt x="8563041" y="4608474"/>
                    <a:pt x="8563041" y="4608474"/>
                  </a:cubicBezTo>
                  <a:cubicBezTo>
                    <a:pt x="8651218" y="4696528"/>
                    <a:pt x="8651218" y="4696528"/>
                    <a:pt x="8651218" y="4696528"/>
                  </a:cubicBezTo>
                  <a:cubicBezTo>
                    <a:pt x="9144000" y="4696528"/>
                    <a:pt x="9144000" y="4696528"/>
                    <a:pt x="9144000" y="4696528"/>
                  </a:cubicBezTo>
                  <a:cubicBezTo>
                    <a:pt x="9144000" y="4679311"/>
                    <a:pt x="9144000" y="4679311"/>
                    <a:pt x="9144000" y="4679311"/>
                  </a:cubicBezTo>
                  <a:cubicBezTo>
                    <a:pt x="8651218" y="4679311"/>
                    <a:pt x="8651218" y="4679311"/>
                    <a:pt x="8651218" y="4679311"/>
                  </a:cubicBezTo>
                  <a:cubicBezTo>
                    <a:pt x="8563041" y="4591134"/>
                    <a:pt x="8563041" y="4591134"/>
                    <a:pt x="8563041" y="4591134"/>
                  </a:cubicBezTo>
                  <a:cubicBezTo>
                    <a:pt x="8158313" y="4591134"/>
                    <a:pt x="8158313" y="4591134"/>
                    <a:pt x="8158313" y="4591134"/>
                  </a:cubicBezTo>
                  <a:cubicBezTo>
                    <a:pt x="8014672" y="4734775"/>
                    <a:pt x="8014672" y="4734775"/>
                    <a:pt x="8014672" y="4734775"/>
                  </a:cubicBezTo>
                  <a:cubicBezTo>
                    <a:pt x="8010491" y="4732684"/>
                    <a:pt x="8005203" y="4731700"/>
                    <a:pt x="8000038" y="4731700"/>
                  </a:cubicBezTo>
                  <a:cubicBezTo>
                    <a:pt x="7980607" y="4731700"/>
                    <a:pt x="7964865" y="4747442"/>
                    <a:pt x="7964865" y="4766750"/>
                  </a:cubicBezTo>
                  <a:cubicBezTo>
                    <a:pt x="7964865" y="4786181"/>
                    <a:pt x="7980607" y="4801922"/>
                    <a:pt x="8000038" y="4801922"/>
                  </a:cubicBezTo>
                  <a:close/>
                  <a:moveTo>
                    <a:pt x="7753756" y="4801922"/>
                  </a:moveTo>
                  <a:cubicBezTo>
                    <a:pt x="7773183" y="4801922"/>
                    <a:pt x="7788922" y="4786179"/>
                    <a:pt x="7788922" y="4766746"/>
                  </a:cubicBezTo>
                  <a:cubicBezTo>
                    <a:pt x="7788922" y="4757398"/>
                    <a:pt x="7784742" y="4748419"/>
                    <a:pt x="7778471" y="4742146"/>
                  </a:cubicBezTo>
                  <a:cubicBezTo>
                    <a:pt x="8070379" y="4450157"/>
                    <a:pt x="8070379" y="4450157"/>
                    <a:pt x="8070379" y="4450157"/>
                  </a:cubicBezTo>
                  <a:cubicBezTo>
                    <a:pt x="8597758" y="4450157"/>
                    <a:pt x="8597758" y="4450157"/>
                    <a:pt x="8597758" y="4450157"/>
                  </a:cubicBezTo>
                  <a:cubicBezTo>
                    <a:pt x="8738794" y="4591109"/>
                    <a:pt x="8738794" y="4591109"/>
                    <a:pt x="8738794" y="4591109"/>
                  </a:cubicBezTo>
                  <a:cubicBezTo>
                    <a:pt x="9143458" y="4591109"/>
                    <a:pt x="9143458" y="4591109"/>
                    <a:pt x="9143458" y="4591109"/>
                  </a:cubicBezTo>
                  <a:cubicBezTo>
                    <a:pt x="9143458" y="4573275"/>
                    <a:pt x="9143458" y="4573275"/>
                    <a:pt x="9143458" y="4573275"/>
                  </a:cubicBezTo>
                  <a:cubicBezTo>
                    <a:pt x="8738794" y="4573275"/>
                    <a:pt x="8738794" y="4573275"/>
                    <a:pt x="8738794" y="4573275"/>
                  </a:cubicBezTo>
                  <a:cubicBezTo>
                    <a:pt x="8597758" y="4432815"/>
                    <a:pt x="8597758" y="4432815"/>
                    <a:pt x="8597758" y="4432815"/>
                  </a:cubicBezTo>
                  <a:cubicBezTo>
                    <a:pt x="8070379" y="4432815"/>
                    <a:pt x="8070379" y="4432815"/>
                    <a:pt x="8070379" y="4432815"/>
                  </a:cubicBezTo>
                  <a:cubicBezTo>
                    <a:pt x="7768019" y="4734767"/>
                    <a:pt x="7768019" y="4734767"/>
                    <a:pt x="7768019" y="4734767"/>
                  </a:cubicBezTo>
                  <a:cubicBezTo>
                    <a:pt x="7763715" y="4732676"/>
                    <a:pt x="7759043" y="4731692"/>
                    <a:pt x="7753756" y="4731692"/>
                  </a:cubicBezTo>
                  <a:cubicBezTo>
                    <a:pt x="7734451" y="4731692"/>
                    <a:pt x="7718712" y="4747435"/>
                    <a:pt x="7718712" y="4766746"/>
                  </a:cubicBezTo>
                  <a:cubicBezTo>
                    <a:pt x="7718712" y="4786179"/>
                    <a:pt x="7734451" y="4801922"/>
                    <a:pt x="7753756" y="4801922"/>
                  </a:cubicBezTo>
                  <a:close/>
                  <a:moveTo>
                    <a:pt x="8510274" y="4827405"/>
                  </a:moveTo>
                  <a:cubicBezTo>
                    <a:pt x="9143458" y="4827405"/>
                    <a:pt x="9143458" y="4827405"/>
                    <a:pt x="9143458" y="4827405"/>
                  </a:cubicBezTo>
                  <a:cubicBezTo>
                    <a:pt x="9143458" y="4809588"/>
                    <a:pt x="9143458" y="4809588"/>
                    <a:pt x="9143458" y="4809588"/>
                  </a:cubicBezTo>
                  <a:cubicBezTo>
                    <a:pt x="8510274" y="4809588"/>
                    <a:pt x="8510274" y="4809588"/>
                    <a:pt x="8510274" y="4809588"/>
                  </a:cubicBezTo>
                  <a:cubicBezTo>
                    <a:pt x="8439579" y="4757242"/>
                    <a:pt x="8439579" y="4757242"/>
                    <a:pt x="8439579" y="4757242"/>
                  </a:cubicBezTo>
                  <a:cubicBezTo>
                    <a:pt x="8280238" y="4757242"/>
                    <a:pt x="8280238" y="4757242"/>
                    <a:pt x="8280238" y="4757242"/>
                  </a:cubicBezTo>
                  <a:cubicBezTo>
                    <a:pt x="8275935" y="4742496"/>
                    <a:pt x="8262411" y="4731561"/>
                    <a:pt x="8246059" y="4731561"/>
                  </a:cubicBezTo>
                  <a:cubicBezTo>
                    <a:pt x="8226756" y="4731561"/>
                    <a:pt x="8211018" y="4747289"/>
                    <a:pt x="8211018" y="4766581"/>
                  </a:cubicBezTo>
                  <a:cubicBezTo>
                    <a:pt x="8211018" y="4785995"/>
                    <a:pt x="8226756" y="4801724"/>
                    <a:pt x="8246059" y="4801724"/>
                  </a:cubicBezTo>
                  <a:cubicBezTo>
                    <a:pt x="8262902" y="4801724"/>
                    <a:pt x="8277042" y="4790173"/>
                    <a:pt x="8280730" y="4774445"/>
                  </a:cubicBezTo>
                  <a:cubicBezTo>
                    <a:pt x="8439579" y="4774445"/>
                    <a:pt x="8439579" y="4774445"/>
                    <a:pt x="8439579" y="4774445"/>
                  </a:cubicBezTo>
                  <a:close/>
                  <a:moveTo>
                    <a:pt x="7279152" y="4879997"/>
                  </a:moveTo>
                  <a:cubicBezTo>
                    <a:pt x="9143458" y="4879997"/>
                    <a:pt x="9143458" y="4879997"/>
                    <a:pt x="9143458" y="4879997"/>
                  </a:cubicBezTo>
                  <a:cubicBezTo>
                    <a:pt x="9143458" y="4862181"/>
                    <a:pt x="9143458" y="4862181"/>
                    <a:pt x="9143458" y="4862181"/>
                  </a:cubicBezTo>
                  <a:cubicBezTo>
                    <a:pt x="7279152" y="4862181"/>
                    <a:pt x="7279152" y="4862181"/>
                    <a:pt x="7279152" y="4862181"/>
                  </a:cubicBezTo>
                  <a:cubicBezTo>
                    <a:pt x="6962574" y="4545787"/>
                    <a:pt x="6962574" y="4545787"/>
                    <a:pt x="6962574" y="4545787"/>
                  </a:cubicBezTo>
                  <a:cubicBezTo>
                    <a:pt x="6662224" y="4545787"/>
                    <a:pt x="6662224" y="4545787"/>
                    <a:pt x="6662224" y="4545787"/>
                  </a:cubicBezTo>
                  <a:cubicBezTo>
                    <a:pt x="6658044" y="4531043"/>
                    <a:pt x="6644521" y="4520107"/>
                    <a:pt x="6628170" y="4520107"/>
                  </a:cubicBezTo>
                  <a:cubicBezTo>
                    <a:pt x="6608867" y="4520107"/>
                    <a:pt x="6593130" y="4536326"/>
                    <a:pt x="6593130" y="4555740"/>
                  </a:cubicBezTo>
                  <a:cubicBezTo>
                    <a:pt x="6593130" y="4575154"/>
                    <a:pt x="6608867" y="4590758"/>
                    <a:pt x="6628170" y="4590758"/>
                  </a:cubicBezTo>
                  <a:cubicBezTo>
                    <a:pt x="6645013" y="4590758"/>
                    <a:pt x="6659151" y="4578717"/>
                    <a:pt x="6662840" y="4562990"/>
                  </a:cubicBezTo>
                  <a:cubicBezTo>
                    <a:pt x="6962574" y="4562990"/>
                    <a:pt x="6962574" y="4562990"/>
                    <a:pt x="6962574" y="4562990"/>
                  </a:cubicBezTo>
                  <a:close/>
                  <a:moveTo>
                    <a:pt x="7279152" y="4950481"/>
                  </a:moveTo>
                  <a:cubicBezTo>
                    <a:pt x="9143458" y="4950481"/>
                    <a:pt x="9143458" y="4950481"/>
                    <a:pt x="9143458" y="4950481"/>
                  </a:cubicBezTo>
                  <a:cubicBezTo>
                    <a:pt x="9143458" y="4932647"/>
                    <a:pt x="9143458" y="4932647"/>
                    <a:pt x="9143458" y="4932647"/>
                  </a:cubicBezTo>
                  <a:cubicBezTo>
                    <a:pt x="7279152" y="4932647"/>
                    <a:pt x="7279152" y="4932647"/>
                    <a:pt x="7279152" y="4932647"/>
                  </a:cubicBezTo>
                  <a:cubicBezTo>
                    <a:pt x="7032774" y="4686167"/>
                    <a:pt x="7032774" y="4686167"/>
                    <a:pt x="7032774" y="4686167"/>
                  </a:cubicBezTo>
                  <a:cubicBezTo>
                    <a:pt x="6662224" y="4686167"/>
                    <a:pt x="6662224" y="4686167"/>
                    <a:pt x="6662224" y="4686167"/>
                  </a:cubicBezTo>
                  <a:cubicBezTo>
                    <a:pt x="6658044" y="4671531"/>
                    <a:pt x="6644521" y="4661076"/>
                    <a:pt x="6628170" y="4661076"/>
                  </a:cubicBezTo>
                  <a:cubicBezTo>
                    <a:pt x="6608867" y="4661076"/>
                    <a:pt x="6593130" y="4676696"/>
                    <a:pt x="6593130" y="4696130"/>
                  </a:cubicBezTo>
                  <a:cubicBezTo>
                    <a:pt x="6593130" y="4715563"/>
                    <a:pt x="6608867" y="4731306"/>
                    <a:pt x="6628170" y="4731306"/>
                  </a:cubicBezTo>
                  <a:cubicBezTo>
                    <a:pt x="6645013" y="4731306"/>
                    <a:pt x="6659151" y="4719744"/>
                    <a:pt x="6662840" y="4704001"/>
                  </a:cubicBezTo>
                  <a:cubicBezTo>
                    <a:pt x="7032774" y="4704001"/>
                    <a:pt x="7032774" y="4704001"/>
                    <a:pt x="7032774" y="4704001"/>
                  </a:cubicBezTo>
                  <a:close/>
                  <a:moveTo>
                    <a:pt x="7261613" y="4996025"/>
                  </a:moveTo>
                  <a:cubicBezTo>
                    <a:pt x="9144000" y="4996025"/>
                    <a:pt x="9144000" y="4996025"/>
                    <a:pt x="9144000" y="4996025"/>
                  </a:cubicBezTo>
                  <a:cubicBezTo>
                    <a:pt x="9144000" y="4978309"/>
                    <a:pt x="9144000" y="4978309"/>
                    <a:pt x="9144000" y="4978309"/>
                  </a:cubicBezTo>
                  <a:cubicBezTo>
                    <a:pt x="7261613" y="4978309"/>
                    <a:pt x="7261613" y="4978309"/>
                    <a:pt x="7261613" y="4978309"/>
                  </a:cubicBezTo>
                  <a:cubicBezTo>
                    <a:pt x="7086027" y="4802008"/>
                    <a:pt x="7086027" y="4802008"/>
                    <a:pt x="7086027" y="4802008"/>
                  </a:cubicBezTo>
                  <a:cubicBezTo>
                    <a:pt x="6575499" y="4802008"/>
                    <a:pt x="6575499" y="4802008"/>
                    <a:pt x="6575499" y="4802008"/>
                  </a:cubicBezTo>
                  <a:cubicBezTo>
                    <a:pt x="6432005" y="4658311"/>
                    <a:pt x="6432005" y="4658311"/>
                    <a:pt x="6432005" y="4658311"/>
                  </a:cubicBezTo>
                  <a:cubicBezTo>
                    <a:pt x="6434095" y="4654128"/>
                    <a:pt x="6435079" y="4648838"/>
                    <a:pt x="6435079" y="4643670"/>
                  </a:cubicBezTo>
                  <a:cubicBezTo>
                    <a:pt x="6435079" y="4624232"/>
                    <a:pt x="6419341" y="4608484"/>
                    <a:pt x="6400036" y="4608484"/>
                  </a:cubicBezTo>
                  <a:cubicBezTo>
                    <a:pt x="6380608" y="4608484"/>
                    <a:pt x="6364869" y="4624232"/>
                    <a:pt x="6364869" y="4643670"/>
                  </a:cubicBezTo>
                  <a:cubicBezTo>
                    <a:pt x="6364869" y="4662986"/>
                    <a:pt x="6380608" y="4679349"/>
                    <a:pt x="6400036" y="4679349"/>
                  </a:cubicBezTo>
                  <a:cubicBezTo>
                    <a:pt x="6409381" y="4679349"/>
                    <a:pt x="6418357" y="4675043"/>
                    <a:pt x="6424627" y="4668768"/>
                  </a:cubicBezTo>
                  <a:cubicBezTo>
                    <a:pt x="6575499" y="4819848"/>
                    <a:pt x="6575499" y="4819848"/>
                    <a:pt x="6575499" y="4819848"/>
                  </a:cubicBezTo>
                  <a:cubicBezTo>
                    <a:pt x="7086027" y="4819848"/>
                    <a:pt x="7086027" y="4819848"/>
                    <a:pt x="7086027" y="4819848"/>
                  </a:cubicBezTo>
                  <a:close/>
                  <a:moveTo>
                    <a:pt x="8704174" y="5056208"/>
                  </a:moveTo>
                  <a:cubicBezTo>
                    <a:pt x="9144000" y="5056208"/>
                    <a:pt x="9144000" y="5056208"/>
                    <a:pt x="9144000" y="5056208"/>
                  </a:cubicBezTo>
                  <a:cubicBezTo>
                    <a:pt x="9144000" y="5038865"/>
                    <a:pt x="9144000" y="5038865"/>
                    <a:pt x="9144000" y="5038865"/>
                  </a:cubicBezTo>
                  <a:cubicBezTo>
                    <a:pt x="8704174" y="5038865"/>
                    <a:pt x="8704174" y="5038865"/>
                    <a:pt x="8704174" y="5038865"/>
                  </a:cubicBezTo>
                  <a:cubicBezTo>
                    <a:pt x="8669008" y="5021031"/>
                    <a:pt x="8669008" y="5021031"/>
                    <a:pt x="8669008" y="5021031"/>
                  </a:cubicBezTo>
                  <a:cubicBezTo>
                    <a:pt x="7226447" y="5021031"/>
                    <a:pt x="7226447" y="5021031"/>
                    <a:pt x="7226447" y="5021031"/>
                  </a:cubicBezTo>
                  <a:cubicBezTo>
                    <a:pt x="7068197" y="4862733"/>
                    <a:pt x="7068197" y="4862733"/>
                    <a:pt x="7068197" y="4862733"/>
                  </a:cubicBezTo>
                  <a:cubicBezTo>
                    <a:pt x="6540455" y="4862733"/>
                    <a:pt x="6540455" y="4862733"/>
                    <a:pt x="6540455" y="4862733"/>
                  </a:cubicBezTo>
                  <a:cubicBezTo>
                    <a:pt x="6452908" y="4774545"/>
                    <a:pt x="6452908" y="4774545"/>
                    <a:pt x="6452908" y="4774545"/>
                  </a:cubicBezTo>
                  <a:cubicBezTo>
                    <a:pt x="6433604" y="4774545"/>
                    <a:pt x="6433604" y="4774545"/>
                    <a:pt x="6433604" y="4774545"/>
                  </a:cubicBezTo>
                  <a:cubicBezTo>
                    <a:pt x="6429300" y="4759908"/>
                    <a:pt x="6416267" y="4749453"/>
                    <a:pt x="6400036" y="4749453"/>
                  </a:cubicBezTo>
                  <a:cubicBezTo>
                    <a:pt x="6380608" y="4749453"/>
                    <a:pt x="6364869" y="4765197"/>
                    <a:pt x="6364869" y="4784507"/>
                  </a:cubicBezTo>
                  <a:cubicBezTo>
                    <a:pt x="6364869" y="4803941"/>
                    <a:pt x="6380608" y="4819684"/>
                    <a:pt x="6400036" y="4819684"/>
                  </a:cubicBezTo>
                  <a:cubicBezTo>
                    <a:pt x="6416759" y="4819684"/>
                    <a:pt x="6430898" y="4808123"/>
                    <a:pt x="6434095" y="4792379"/>
                  </a:cubicBezTo>
                  <a:cubicBezTo>
                    <a:pt x="6452908" y="4792379"/>
                    <a:pt x="6452908" y="4792379"/>
                    <a:pt x="6452908" y="4792379"/>
                  </a:cubicBezTo>
                  <a:cubicBezTo>
                    <a:pt x="6540455" y="4880568"/>
                    <a:pt x="6540455" y="4880568"/>
                    <a:pt x="6540455" y="4880568"/>
                  </a:cubicBezTo>
                  <a:cubicBezTo>
                    <a:pt x="7068197" y="4880568"/>
                    <a:pt x="7068197" y="4880568"/>
                    <a:pt x="7068197" y="4880568"/>
                  </a:cubicBezTo>
                  <a:cubicBezTo>
                    <a:pt x="7226447" y="5038865"/>
                    <a:pt x="7226447" y="5038865"/>
                    <a:pt x="7226447" y="5038865"/>
                  </a:cubicBezTo>
                  <a:cubicBezTo>
                    <a:pt x="8669008" y="5038865"/>
                    <a:pt x="8669008" y="5038865"/>
                    <a:pt x="8669008" y="5038865"/>
                  </a:cubicBezTo>
                  <a:close/>
                  <a:moveTo>
                    <a:pt x="7208740" y="5090908"/>
                  </a:moveTo>
                  <a:cubicBezTo>
                    <a:pt x="9144000" y="5090908"/>
                    <a:pt x="9144000" y="5090908"/>
                    <a:pt x="9144000" y="5090908"/>
                  </a:cubicBezTo>
                  <a:cubicBezTo>
                    <a:pt x="9144000" y="5073716"/>
                    <a:pt x="9144000" y="5073716"/>
                    <a:pt x="9144000" y="5073716"/>
                  </a:cubicBezTo>
                  <a:cubicBezTo>
                    <a:pt x="7208740" y="5073716"/>
                    <a:pt x="7208740" y="5073716"/>
                    <a:pt x="7208740" y="5073716"/>
                  </a:cubicBezTo>
                  <a:cubicBezTo>
                    <a:pt x="7050369" y="4915545"/>
                    <a:pt x="7050369" y="4915545"/>
                    <a:pt x="7050369" y="4915545"/>
                  </a:cubicBezTo>
                  <a:cubicBezTo>
                    <a:pt x="6433604" y="4915545"/>
                    <a:pt x="6433604" y="4915545"/>
                    <a:pt x="6433604" y="4915545"/>
                  </a:cubicBezTo>
                  <a:cubicBezTo>
                    <a:pt x="6429300" y="4900932"/>
                    <a:pt x="6416267" y="4889879"/>
                    <a:pt x="6400036" y="4889879"/>
                  </a:cubicBezTo>
                  <a:cubicBezTo>
                    <a:pt x="6380608" y="4889879"/>
                    <a:pt x="6364869" y="4905598"/>
                    <a:pt x="6364869" y="4925001"/>
                  </a:cubicBezTo>
                  <a:cubicBezTo>
                    <a:pt x="6364869" y="4944404"/>
                    <a:pt x="6380608" y="4960123"/>
                    <a:pt x="6400036" y="4960123"/>
                  </a:cubicBezTo>
                  <a:cubicBezTo>
                    <a:pt x="6416759" y="4960123"/>
                    <a:pt x="6430898" y="4948579"/>
                    <a:pt x="6434095" y="4932860"/>
                  </a:cubicBezTo>
                  <a:cubicBezTo>
                    <a:pt x="7050369" y="4932860"/>
                    <a:pt x="7050369" y="4932860"/>
                    <a:pt x="7050369" y="4932860"/>
                  </a:cubicBezTo>
                  <a:close/>
                  <a:moveTo>
                    <a:pt x="7173574" y="5143500"/>
                  </a:moveTo>
                  <a:cubicBezTo>
                    <a:pt x="9144000" y="5143500"/>
                    <a:pt x="9144000" y="5143500"/>
                    <a:pt x="9144000" y="5143500"/>
                  </a:cubicBezTo>
                  <a:cubicBezTo>
                    <a:pt x="9144000" y="5125691"/>
                    <a:pt x="9144000" y="5125691"/>
                    <a:pt x="9144000" y="5125691"/>
                  </a:cubicBezTo>
                  <a:cubicBezTo>
                    <a:pt x="7173574" y="5125691"/>
                    <a:pt x="7173574" y="5125691"/>
                    <a:pt x="7173574" y="5125691"/>
                  </a:cubicBezTo>
                  <a:cubicBezTo>
                    <a:pt x="7033031" y="4985304"/>
                    <a:pt x="7033031" y="4985304"/>
                    <a:pt x="7033031" y="4985304"/>
                  </a:cubicBezTo>
                  <a:cubicBezTo>
                    <a:pt x="6733748" y="4985304"/>
                    <a:pt x="6733748" y="4985304"/>
                    <a:pt x="6733748" y="4985304"/>
                  </a:cubicBezTo>
                  <a:cubicBezTo>
                    <a:pt x="6663538" y="5055559"/>
                    <a:pt x="6663538" y="5055559"/>
                    <a:pt x="6663538" y="5055559"/>
                  </a:cubicBezTo>
                  <a:cubicBezTo>
                    <a:pt x="6433604" y="5055559"/>
                    <a:pt x="6433604" y="5055559"/>
                    <a:pt x="6433604" y="5055559"/>
                  </a:cubicBezTo>
                  <a:cubicBezTo>
                    <a:pt x="6429300" y="5040820"/>
                    <a:pt x="6416267" y="5030380"/>
                    <a:pt x="6400036" y="5030380"/>
                  </a:cubicBezTo>
                  <a:cubicBezTo>
                    <a:pt x="6380608" y="5030380"/>
                    <a:pt x="6364869" y="5046102"/>
                    <a:pt x="6364869" y="5065508"/>
                  </a:cubicBezTo>
                  <a:cubicBezTo>
                    <a:pt x="6364869" y="5084791"/>
                    <a:pt x="6380608" y="5100512"/>
                    <a:pt x="6400036" y="5100512"/>
                  </a:cubicBezTo>
                  <a:cubicBezTo>
                    <a:pt x="6416759" y="5100512"/>
                    <a:pt x="6430898" y="5089089"/>
                    <a:pt x="6434095" y="5073369"/>
                  </a:cubicBezTo>
                  <a:cubicBezTo>
                    <a:pt x="6663538" y="5073369"/>
                    <a:pt x="6663538" y="5073369"/>
                    <a:pt x="6663538" y="5073369"/>
                  </a:cubicBezTo>
                  <a:cubicBezTo>
                    <a:pt x="6733748" y="5002622"/>
                    <a:pt x="6733748" y="5002622"/>
                    <a:pt x="6733748" y="5002622"/>
                  </a:cubicBezTo>
                  <a:cubicBezTo>
                    <a:pt x="7033031" y="5002622"/>
                    <a:pt x="7033031" y="5002622"/>
                    <a:pt x="7033031" y="5002622"/>
                  </a:cubicBezTo>
                  <a:close/>
                </a:path>
              </a:pathLst>
            </a:custGeom>
            <a:gradFill flip="none" rotWithShape="1">
              <a:gsLst>
                <a:gs pos="43000">
                  <a:schemeClr val="bg1"/>
                </a:gs>
                <a:gs pos="100000">
                  <a:schemeClr val="bg1"/>
                </a:gs>
              </a:gsLst>
              <a:path path="shape">
                <a:fillToRect l="50000" t="50000" r="50000" b="50000"/>
              </a:path>
              <a:tileRect/>
            </a:gradFill>
            <a:ln>
              <a:noFill/>
            </a:ln>
            <a:effectLst/>
          </p:spPr>
          <p:txBody>
            <a:bodyPr wrap="square" anchor="ctr">
              <a:noAutofit/>
            </a:bodyPr>
            <a:lstStyle/>
            <a:p>
              <a:pPr defTabSz="609307" fontAlgn="base">
                <a:spcBef>
                  <a:spcPct val="0"/>
                </a:spcBef>
                <a:spcAft>
                  <a:spcPct val="0"/>
                </a:spcAft>
              </a:pPr>
              <a:endParaRPr lang="en-US" sz="2400" dirty="0">
                <a:solidFill>
                  <a:srgbClr val="58585B"/>
                </a:solidFill>
                <a:ea typeface="ＭＳ Ｐゴシック" pitchFamily="34" charset="-128"/>
                <a:cs typeface="ＭＳ Ｐゴシック" charset="0"/>
              </a:endParaRPr>
            </a:p>
          </p:txBody>
        </p:sp>
      </p:grpSp>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670217128"/>
      </p:ext>
    </p:extLst>
  </p:cSld>
  <p:clrMapOvr>
    <a:masterClrMapping/>
  </p:clrMapOvr>
  <p:transition spd="slow">
    <p:wip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and 2 Column Content">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11212945" y="6513319"/>
            <a:ext cx="479555" cy="366183"/>
          </a:xfrm>
          <a:prstGeom prst="rect">
            <a:avLst/>
          </a:prstGeom>
        </p:spPr>
        <p:txBody>
          <a:bodyPr vert="horz" lIns="91440" tIns="45720" rIns="91440" bIns="45720" rtlCol="0" anchor="ctr"/>
          <a:lstStyle>
            <a:lvl1pPr algn="r">
              <a:defRPr lang="en-US" sz="800" kern="1200" smtClean="0">
                <a:solidFill>
                  <a:srgbClr val="000000"/>
                </a:solidFill>
                <a:latin typeface="+mn-lt"/>
                <a:ea typeface="+mn-ea"/>
                <a:cs typeface="CiscoSans Thin"/>
              </a:defRPr>
            </a:lvl1pPr>
          </a:lstStyle>
          <a:p>
            <a:pPr defTabSz="609307" fontAlgn="base">
              <a:spcBef>
                <a:spcPct val="0"/>
              </a:spcBef>
              <a:spcAft>
                <a:spcPct val="0"/>
              </a:spcAft>
            </a:pPr>
            <a:fld id="{96A97DD0-5BE7-4856-A2A9-C42C6688E607}" type="slidenum">
              <a:rPr lang="en-US" smtClean="0"/>
              <a:pPr defTabSz="609307" fontAlgn="base">
                <a:spcBef>
                  <a:spcPct val="0"/>
                </a:spcBef>
                <a:spcAft>
                  <a:spcPct val="0"/>
                </a:spcAft>
              </a:pPr>
              <a:t>‹#›</a:t>
            </a:fld>
            <a:endParaRPr lang="en-US" dirty="0"/>
          </a:p>
        </p:txBody>
      </p:sp>
      <p:sp>
        <p:nvSpPr>
          <p:cNvPr id="8" name="Footer Placeholder 2"/>
          <p:cNvSpPr>
            <a:spLocks noGrp="1"/>
          </p:cNvSpPr>
          <p:nvPr>
            <p:ph type="ftr" sz="quarter" idx="3"/>
          </p:nvPr>
        </p:nvSpPr>
        <p:spPr>
          <a:xfrm>
            <a:off x="6963378" y="6616601"/>
            <a:ext cx="955817" cy="185296"/>
          </a:xfrm>
          <a:prstGeom prst="rect">
            <a:avLst/>
          </a:prstGeom>
          <a:noFill/>
          <a:ln w="9525">
            <a:noFill/>
            <a:miter lim="800000"/>
            <a:headEnd/>
            <a:tailEnd/>
          </a:ln>
          <a:effectLst/>
        </p:spPr>
        <p:txBody>
          <a:bodyPr wrap="square" lIns="61586" tIns="30792" rIns="61586" bIns="30792" anchor="b">
            <a:spAutoFit/>
          </a:bodyPr>
          <a:lstStyle>
            <a:lvl1pPr algn="l">
              <a:defRPr lang="en-US" sz="800" dirty="0">
                <a:solidFill>
                  <a:srgbClr val="000000"/>
                </a:solidFill>
                <a:cs typeface="CiscoSans Thin"/>
              </a:defRPr>
            </a:lvl1pPr>
          </a:lstStyle>
          <a:p>
            <a:pPr defTabSz="814305" fontAlgn="base">
              <a:spcBef>
                <a:spcPct val="0"/>
              </a:spcBef>
              <a:spcAft>
                <a:spcPct val="0"/>
              </a:spcAft>
            </a:pPr>
            <a:r>
              <a:rPr lang="en-US">
                <a:ea typeface="ＭＳ Ｐゴシック" charset="0"/>
              </a:rPr>
              <a:t>Presentation ID</a:t>
            </a:r>
          </a:p>
        </p:txBody>
      </p:sp>
      <p:sp>
        <p:nvSpPr>
          <p:cNvPr id="9" name="Title 1"/>
          <p:cNvSpPr>
            <a:spLocks noGrp="1"/>
          </p:cNvSpPr>
          <p:nvPr>
            <p:ph type="title"/>
          </p:nvPr>
        </p:nvSpPr>
        <p:spPr>
          <a:xfrm>
            <a:off x="475488" y="291929"/>
            <a:ext cx="11350752" cy="1020576"/>
          </a:xfrm>
        </p:spPr>
        <p:txBody>
          <a:bodyPr/>
          <a:lstStyle>
            <a:lvl1pPr>
              <a:defRPr baseline="0">
                <a:solidFill>
                  <a:schemeClr val="tx1"/>
                </a:solidFill>
              </a:defRPr>
            </a:lvl1pPr>
          </a:lstStyle>
          <a:p>
            <a:r>
              <a:rPr lang="en-US"/>
              <a:t>Click to edit Master title style</a:t>
            </a:r>
            <a:endParaRPr lang="en-US" dirty="0"/>
          </a:p>
        </p:txBody>
      </p:sp>
      <p:sp>
        <p:nvSpPr>
          <p:cNvPr id="10" name="Content Placeholder 4"/>
          <p:cNvSpPr>
            <a:spLocks noGrp="1"/>
          </p:cNvSpPr>
          <p:nvPr>
            <p:ph sz="quarter" idx="11"/>
          </p:nvPr>
        </p:nvSpPr>
        <p:spPr>
          <a:xfrm>
            <a:off x="475488" y="1437216"/>
            <a:ext cx="5425440" cy="434397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5"/>
          <p:cNvSpPr>
            <a:spLocks noGrp="1"/>
          </p:cNvSpPr>
          <p:nvPr>
            <p:ph sz="quarter" idx="12"/>
          </p:nvPr>
        </p:nvSpPr>
        <p:spPr>
          <a:xfrm>
            <a:off x="6400800" y="1437218"/>
            <a:ext cx="5425440" cy="433794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72996806"/>
      </p:ext>
    </p:extLst>
  </p:cSld>
  <p:clrMapOvr>
    <a:masterClrMapping/>
  </p:clrMapOvr>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74189" y="1520825"/>
            <a:ext cx="5192183" cy="3571875"/>
          </a:xfrm>
          <a:prstGeom prst="rect">
            <a:avLst/>
          </a:prstGeom>
        </p:spPr>
        <p:txBody>
          <a:bodyPr lIns="91438" tIns="45719" rIns="91438" bIns="45719"/>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69567" y="1520825"/>
            <a:ext cx="5192184" cy="3571875"/>
          </a:xfrm>
          <a:prstGeom prst="rect">
            <a:avLst/>
          </a:prstGeom>
        </p:spPr>
        <p:txBody>
          <a:bodyPr lIns="91438" tIns="45719" rIns="91438" bIns="45719"/>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85464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Title Only 4 Heavy Graphics">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11212945" y="6513319"/>
            <a:ext cx="479555" cy="366183"/>
          </a:xfrm>
          <a:prstGeom prst="rect">
            <a:avLst/>
          </a:prstGeom>
        </p:spPr>
        <p:txBody>
          <a:bodyPr vert="horz" lIns="91440" tIns="45720" rIns="91440" bIns="45720" rtlCol="0" anchor="ctr"/>
          <a:lstStyle>
            <a:lvl1pPr algn="r">
              <a:defRPr lang="en-US" sz="800" kern="1200" smtClean="0">
                <a:solidFill>
                  <a:srgbClr val="000000"/>
                </a:solidFill>
                <a:latin typeface="+mn-lt"/>
                <a:ea typeface="+mn-ea"/>
                <a:cs typeface="CiscoSans Thin"/>
              </a:defRPr>
            </a:lvl1pPr>
          </a:lstStyle>
          <a:p>
            <a:pPr defTabSz="609307" fontAlgn="base">
              <a:spcBef>
                <a:spcPct val="0"/>
              </a:spcBef>
              <a:spcAft>
                <a:spcPct val="0"/>
              </a:spcAft>
            </a:pPr>
            <a:fld id="{96A97DD0-5BE7-4856-A2A9-C42C6688E607}" type="slidenum">
              <a:rPr lang="en-US" smtClean="0"/>
              <a:pPr defTabSz="609307" fontAlgn="base">
                <a:spcBef>
                  <a:spcPct val="0"/>
                </a:spcBef>
                <a:spcAft>
                  <a:spcPct val="0"/>
                </a:spcAft>
              </a:pPr>
              <a:t>‹#›</a:t>
            </a:fld>
            <a:endParaRPr lang="en-US" dirty="0"/>
          </a:p>
        </p:txBody>
      </p:sp>
      <p:sp>
        <p:nvSpPr>
          <p:cNvPr id="8" name="Footer Placeholder 2"/>
          <p:cNvSpPr>
            <a:spLocks noGrp="1"/>
          </p:cNvSpPr>
          <p:nvPr>
            <p:ph type="ftr" sz="quarter" idx="3"/>
          </p:nvPr>
        </p:nvSpPr>
        <p:spPr>
          <a:xfrm>
            <a:off x="6963378" y="6616601"/>
            <a:ext cx="955817" cy="185296"/>
          </a:xfrm>
          <a:prstGeom prst="rect">
            <a:avLst/>
          </a:prstGeom>
          <a:noFill/>
          <a:ln w="9525">
            <a:noFill/>
            <a:miter lim="800000"/>
            <a:headEnd/>
            <a:tailEnd/>
          </a:ln>
          <a:effectLst/>
        </p:spPr>
        <p:txBody>
          <a:bodyPr wrap="square" lIns="61586" tIns="30792" rIns="61586" bIns="30792" anchor="b">
            <a:spAutoFit/>
          </a:bodyPr>
          <a:lstStyle>
            <a:lvl1pPr algn="l">
              <a:defRPr lang="en-US" sz="800" dirty="0">
                <a:solidFill>
                  <a:srgbClr val="000000"/>
                </a:solidFill>
                <a:cs typeface="CiscoSans Thin"/>
              </a:defRPr>
            </a:lvl1pPr>
          </a:lstStyle>
          <a:p>
            <a:pPr defTabSz="814305" fontAlgn="base">
              <a:spcBef>
                <a:spcPct val="0"/>
              </a:spcBef>
              <a:spcAft>
                <a:spcPct val="0"/>
              </a:spcAft>
            </a:pPr>
            <a:r>
              <a:rPr lang="en-US">
                <a:ea typeface="ＭＳ Ｐゴシック" charset="0"/>
              </a:rPr>
              <a:t>BRKNMS-2199</a:t>
            </a:r>
          </a:p>
        </p:txBody>
      </p:sp>
      <p:sp>
        <p:nvSpPr>
          <p:cNvPr id="6" name="Title 1"/>
          <p:cNvSpPr>
            <a:spLocks noGrp="1"/>
          </p:cNvSpPr>
          <p:nvPr>
            <p:ph type="title" hasCustomPrompt="1"/>
          </p:nvPr>
        </p:nvSpPr>
        <p:spPr>
          <a:xfrm>
            <a:off x="475488" y="207435"/>
            <a:ext cx="11350752" cy="579965"/>
          </a:xfrm>
        </p:spPr>
        <p:txBody>
          <a:bodyPr/>
          <a:lstStyle>
            <a:lvl1pPr marL="8334" indent="-8334" algn="l" defTabSz="609585" rtl="0" eaLnBrk="0" fontAlgn="base" hangingPunct="0">
              <a:lnSpc>
                <a:spcPct val="90000"/>
              </a:lnSpc>
              <a:spcBef>
                <a:spcPct val="0"/>
              </a:spcBef>
              <a:spcAft>
                <a:spcPct val="0"/>
              </a:spcAft>
              <a:defRPr lang="en-US" sz="3733" b="0" kern="1200" baseline="0" dirty="0">
                <a:solidFill>
                  <a:schemeClr val="tx1"/>
                </a:solidFill>
                <a:latin typeface="+mj-lt"/>
                <a:ea typeface="+mj-ea"/>
                <a:cs typeface="+mj-cs"/>
                <a:sym typeface="Arial" pitchFamily="34" charset="0"/>
              </a:defRPr>
            </a:lvl1pPr>
          </a:lstStyle>
          <a:p>
            <a:r>
              <a:rPr lang="en-US" dirty="0"/>
              <a:t>Slide Title</a:t>
            </a:r>
          </a:p>
        </p:txBody>
      </p:sp>
    </p:spTree>
    <p:extLst>
      <p:ext uri="{BB962C8B-B14F-4D97-AF65-F5344CB8AC3E}">
        <p14:creationId xmlns:p14="http://schemas.microsoft.com/office/powerpoint/2010/main" val="21538357"/>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 name="Rectangle 3"/>
          <p:cNvSpPr/>
          <p:nvPr/>
        </p:nvSpPr>
        <p:spPr>
          <a:xfrm>
            <a:off x="6656917" y="728812"/>
            <a:ext cx="4840816" cy="515975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anchor="ctr"/>
          <a:lstStyle/>
          <a:p>
            <a:pPr algn="ctr" fontAlgn="auto">
              <a:spcBef>
                <a:spcPts val="0"/>
              </a:spcBef>
              <a:spcAft>
                <a:spcPts val="0"/>
              </a:spcAft>
              <a:defRPr/>
            </a:pPr>
            <a:endParaRPr lang="en-US" sz="2400">
              <a:latin typeface="+mj-lt"/>
            </a:endParaRPr>
          </a:p>
        </p:txBody>
      </p:sp>
      <p:sp>
        <p:nvSpPr>
          <p:cNvPr id="26" name="Picture Placeholder 25"/>
          <p:cNvSpPr>
            <a:spLocks noGrp="1"/>
          </p:cNvSpPr>
          <p:nvPr>
            <p:ph type="pic" sz="quarter" idx="10"/>
          </p:nvPr>
        </p:nvSpPr>
        <p:spPr>
          <a:xfrm>
            <a:off x="6656832" y="728980"/>
            <a:ext cx="4840224" cy="5159757"/>
          </a:xfrm>
          <a:prstGeom prst="rect">
            <a:avLst/>
          </a:prstGeom>
          <a:solidFill>
            <a:schemeClr val="bg1">
              <a:alpha val="30000"/>
            </a:schemeClr>
          </a:solidFill>
          <a:ln>
            <a:solidFill>
              <a:srgbClr val="2968AF"/>
            </a:solidFill>
          </a:ln>
          <a:effectLst/>
        </p:spPr>
        <p:txBody>
          <a:bodyPr lIns="91416" tIns="45710" rIns="91416" bIns="45710"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583560" y="728985"/>
            <a:ext cx="5799891" cy="1085313"/>
          </a:xfrm>
        </p:spPr>
        <p:txBody>
          <a:bodyPr wrap="none" anchor="t" anchorCtr="0">
            <a:noAutofit/>
          </a:bodyPr>
          <a:lstStyle>
            <a:lvl1pPr>
              <a:lnSpc>
                <a:spcPct val="90000"/>
              </a:lnSpc>
              <a:defRPr sz="3300">
                <a:solidFill>
                  <a:schemeClr val="bg1"/>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903418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Segue Vide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48"/>
            <a:ext cx="12192000" cy="6864096"/>
          </a:xfrm>
          <a:prstGeom prst="rect">
            <a:avLst/>
          </a:prstGeom>
        </p:spPr>
      </p:pic>
      <p:sp>
        <p:nvSpPr>
          <p:cNvPr id="8" name="Title 7"/>
          <p:cNvSpPr>
            <a:spLocks noGrp="1"/>
          </p:cNvSpPr>
          <p:nvPr>
            <p:ph type="title" hasCustomPrompt="1"/>
          </p:nvPr>
        </p:nvSpPr>
        <p:spPr bwMode="white">
          <a:xfrm>
            <a:off x="478735" y="2807013"/>
            <a:ext cx="11192621" cy="1522736"/>
          </a:xfrm>
        </p:spPr>
        <p:txBody>
          <a:bodyPr anchor="t"/>
          <a:lstStyle>
            <a:lvl1pPr marL="8334" indent="-8334" algn="l" defTabSz="1219170" rtl="0" eaLnBrk="0" fontAlgn="base" latinLnBrk="0" hangingPunct="0">
              <a:lnSpc>
                <a:spcPct val="90000"/>
              </a:lnSpc>
              <a:spcBef>
                <a:spcPct val="0"/>
              </a:spcBef>
              <a:spcAft>
                <a:spcPct val="0"/>
              </a:spcAft>
              <a:defRPr lang="en-US" sz="5333" b="0" i="0" kern="1200" baseline="0" dirty="0">
                <a:solidFill>
                  <a:schemeClr val="bg1"/>
                </a:solidFill>
                <a:latin typeface="+mj-lt"/>
                <a:ea typeface="+mj-ea"/>
                <a:cs typeface="+mj-cs"/>
                <a:sym typeface="Arial" pitchFamily="34" charset="0"/>
              </a:defRPr>
            </a:lvl1pPr>
          </a:lstStyle>
          <a:p>
            <a:r>
              <a:rPr lang="en-US" dirty="0"/>
              <a:t>Video</a:t>
            </a:r>
          </a:p>
        </p:txBody>
      </p:sp>
      <p:sp>
        <p:nvSpPr>
          <p:cNvPr id="13" name="Rectangle 4"/>
          <p:cNvSpPr>
            <a:spLocks noChangeArrowheads="1"/>
          </p:cNvSpPr>
          <p:nvPr userDrawn="1"/>
        </p:nvSpPr>
        <p:spPr bwMode="ltGray">
          <a:xfrm>
            <a:off x="7980680" y="6595873"/>
            <a:ext cx="3296181" cy="206025"/>
          </a:xfrm>
          <a:prstGeom prst="rect">
            <a:avLst/>
          </a:prstGeom>
          <a:noFill/>
          <a:ln w="9525">
            <a:noFill/>
            <a:miter lim="800000"/>
            <a:headEnd/>
            <a:tailEnd/>
          </a:ln>
          <a:effectLst/>
        </p:spPr>
        <p:txBody>
          <a:bodyPr wrap="square" lIns="82115" tIns="41056" rIns="82115" bIns="41056" anchor="b">
            <a:spAutoFit/>
          </a:bodyPr>
          <a:lstStyle/>
          <a:p>
            <a:pPr algn="r" defTabSz="814305" fontAlgn="base">
              <a:spcBef>
                <a:spcPct val="0"/>
              </a:spcBef>
              <a:spcAft>
                <a:spcPct val="0"/>
              </a:spcAft>
            </a:pPr>
            <a:r>
              <a:rPr lang="en-US" sz="800" dirty="0">
                <a:solidFill>
                  <a:srgbClr val="FFFFFF">
                    <a:alpha val="60000"/>
                  </a:srgbClr>
                </a:solidFill>
                <a:ea typeface="ＭＳ Ｐゴシック" charset="0"/>
                <a:cs typeface="CiscoSans Thin"/>
              </a:rPr>
              <a:t>© 2016  Cisco and/or its affiliates. All rights reserved.   Cisco Public</a:t>
            </a:r>
          </a:p>
        </p:txBody>
      </p:sp>
      <p:sp>
        <p:nvSpPr>
          <p:cNvPr id="9" name="Slide Number Placeholder 1"/>
          <p:cNvSpPr>
            <a:spLocks noGrp="1"/>
          </p:cNvSpPr>
          <p:nvPr>
            <p:ph type="sldNum" sz="quarter" idx="4"/>
          </p:nvPr>
        </p:nvSpPr>
        <p:spPr>
          <a:xfrm>
            <a:off x="11212945" y="6513319"/>
            <a:ext cx="479555" cy="366183"/>
          </a:xfrm>
          <a:prstGeom prst="rect">
            <a:avLst/>
          </a:prstGeom>
        </p:spPr>
        <p:txBody>
          <a:bodyPr vert="horz" lIns="91440" tIns="45720" rIns="91440" bIns="45720" rtlCol="0" anchor="ctr"/>
          <a:lstStyle>
            <a:lvl1pPr algn="r">
              <a:defRPr lang="en-US" sz="800" kern="1200" smtClean="0">
                <a:solidFill>
                  <a:schemeClr val="bg1">
                    <a:alpha val="60000"/>
                  </a:schemeClr>
                </a:solidFill>
                <a:latin typeface="+mn-lt"/>
                <a:ea typeface="+mn-ea"/>
                <a:cs typeface="CiscoSans Thin"/>
              </a:defRPr>
            </a:lvl1pPr>
          </a:lstStyle>
          <a:p>
            <a:pPr defTabSz="609307" fontAlgn="base">
              <a:spcBef>
                <a:spcPct val="0"/>
              </a:spcBef>
              <a:spcAft>
                <a:spcPct val="0"/>
              </a:spcAft>
            </a:pPr>
            <a:fld id="{96A97DD0-5BE7-4856-A2A9-C42C6688E607}" type="slidenum">
              <a:rPr lang="en-US" smtClean="0">
                <a:solidFill>
                  <a:srgbClr val="FFFFFF">
                    <a:alpha val="60000"/>
                  </a:srgbClr>
                </a:solidFill>
              </a:rPr>
              <a:pPr defTabSz="609307" fontAlgn="base">
                <a:spcBef>
                  <a:spcPct val="0"/>
                </a:spcBef>
                <a:spcAft>
                  <a:spcPct val="0"/>
                </a:spcAft>
              </a:pPr>
              <a:t>‹#›</a:t>
            </a:fld>
            <a:endParaRPr lang="en-US" dirty="0">
              <a:solidFill>
                <a:srgbClr val="FFFFFF">
                  <a:alpha val="60000"/>
                </a:srgbClr>
              </a:solidFill>
            </a:endParaRPr>
          </a:p>
        </p:txBody>
      </p:sp>
    </p:spTree>
    <p:extLst>
      <p:ext uri="{BB962C8B-B14F-4D97-AF65-F5344CB8AC3E}">
        <p14:creationId xmlns:p14="http://schemas.microsoft.com/office/powerpoint/2010/main" val="1803924664"/>
      </p:ext>
    </p:extLst>
  </p:cSld>
  <p:clrMapOvr>
    <a:masterClrMapping/>
  </p:clrMapOv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1"/>
          <p:cNvSpPr>
            <a:spLocks noGrp="1"/>
          </p:cNvSpPr>
          <p:nvPr>
            <p:ph type="sldNum" sz="quarter" idx="10"/>
          </p:nvPr>
        </p:nvSpPr>
        <p:spPr>
          <a:xfrm>
            <a:off x="11211984" y="6229351"/>
            <a:ext cx="480483" cy="366183"/>
          </a:xfrm>
          <a:prstGeom prst="rect">
            <a:avLst/>
          </a:prstGeom>
        </p:spPr>
        <p:txBody>
          <a:bodyPr/>
          <a:lstStyle>
            <a:lvl1pPr>
              <a:defRPr/>
            </a:lvl1pPr>
          </a:lstStyle>
          <a:p>
            <a:pPr defTabSz="609307" fontAlgn="base">
              <a:spcBef>
                <a:spcPct val="0"/>
              </a:spcBef>
              <a:spcAft>
                <a:spcPct val="0"/>
              </a:spcAft>
              <a:defRPr/>
            </a:pPr>
            <a:fld id="{8E804B56-FE16-4A27-B157-A97E5DCDA4A7}" type="slidenum">
              <a:rPr lang="en-US" altLang="en-US" sz="2400" smtClean="0">
                <a:solidFill>
                  <a:srgbClr val="676767"/>
                </a:solidFill>
                <a:ea typeface="ＭＳ Ｐゴシック" charset="0"/>
                <a:cs typeface="ＭＳ Ｐゴシック" charset="0"/>
              </a:rPr>
              <a:pPr defTabSz="609307" fontAlgn="base">
                <a:spcBef>
                  <a:spcPct val="0"/>
                </a:spcBef>
                <a:spcAft>
                  <a:spcPct val="0"/>
                </a:spcAft>
                <a:defRPr/>
              </a:pPr>
              <a:t>‹#›</a:t>
            </a:fld>
            <a:endParaRPr lang="en-US" altLang="en-US" sz="2400">
              <a:solidFill>
                <a:srgbClr val="676767"/>
              </a:solidFill>
              <a:ea typeface="ＭＳ Ｐゴシック" charset="0"/>
              <a:cs typeface="ＭＳ Ｐゴシック" charset="0"/>
            </a:endParaRPr>
          </a:p>
        </p:txBody>
      </p:sp>
    </p:spTree>
    <p:extLst>
      <p:ext uri="{BB962C8B-B14F-4D97-AF65-F5344CB8AC3E}">
        <p14:creationId xmlns:p14="http://schemas.microsoft.com/office/powerpoint/2010/main" val="600145116"/>
      </p:ext>
    </p:extLst>
  </p:cSld>
  <p:clrMapOvr>
    <a:masterClrMapping/>
  </p:clrMapOv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3_Title Slide-animated gradi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spid="_x0000_s6697" name="think-cell Slide" r:id="rId4" imgW="381" imgH="286" progId="TCLayout.ActiveDocument.1">
                  <p:embed/>
                </p:oleObj>
              </mc:Choice>
              <mc:Fallback>
                <p:oleObj name="think-cell Slide" r:id="rId4" imgW="381" imgH="286"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6" descr="Y:\Production\Cisco Projects\C97 Presentation (PPT-PDF)\C97-738306-01\Supporting files\Untitled-1.png"/>
          <p:cNvPicPr>
            <a:picLocks noChangeAspect="1" noChangeArrowheads="1"/>
          </p:cNvPicPr>
          <p:nvPr userDrawn="1"/>
        </p:nvPicPr>
        <p:blipFill>
          <a:blip r:embed="rId6" cstate="print"/>
          <a:srcRect/>
          <a:stretch>
            <a:fillRect/>
          </a:stretch>
        </p:blipFill>
        <p:spPr bwMode="auto">
          <a:xfrm>
            <a:off x="91963" y="4233"/>
            <a:ext cx="12100037" cy="6853767"/>
          </a:xfrm>
          <a:prstGeom prst="rect">
            <a:avLst/>
          </a:prstGeom>
          <a:noFill/>
        </p:spPr>
      </p:pic>
      <p:pic>
        <p:nvPicPr>
          <p:cNvPr id="7" name="Picture 5"/>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7267" y="431800"/>
            <a:ext cx="1255184" cy="7810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Subtitle 2"/>
          <p:cNvSpPr>
            <a:spLocks noGrp="1"/>
          </p:cNvSpPr>
          <p:nvPr>
            <p:ph type="subTitle" idx="1"/>
          </p:nvPr>
        </p:nvSpPr>
        <p:spPr>
          <a:xfrm>
            <a:off x="625995" y="5057598"/>
            <a:ext cx="11061895" cy="384175"/>
          </a:xfrm>
          <a:prstGeom prst="rect">
            <a:avLst/>
          </a:prstGeom>
        </p:spPr>
        <p:txBody>
          <a:bodyPr lIns="91420" tIns="45710" rIns="91420" bIns="45710" anchor="b" anchorCtr="0">
            <a:noAutofit/>
          </a:bodyPr>
          <a:lstStyle>
            <a:lvl1pPr marL="0" indent="0" algn="l">
              <a:buNone/>
              <a:defRPr sz="1867" b="0" i="0">
                <a:solidFill>
                  <a:srgbClr val="FFFFFE"/>
                </a:solidFill>
                <a:latin typeface="+mn-lt"/>
                <a:cs typeface="CiscoSans"/>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US"/>
              <a:t>Click to edit Master subtitle style</a:t>
            </a:r>
            <a:endParaRPr lang="en-US" dirty="0"/>
          </a:p>
        </p:txBody>
      </p:sp>
      <p:sp>
        <p:nvSpPr>
          <p:cNvPr id="17" name="Text Placeholder 38"/>
          <p:cNvSpPr>
            <a:spLocks noGrp="1"/>
          </p:cNvSpPr>
          <p:nvPr>
            <p:ph type="body" sz="quarter" idx="11"/>
          </p:nvPr>
        </p:nvSpPr>
        <p:spPr>
          <a:xfrm>
            <a:off x="625995" y="5377594"/>
            <a:ext cx="11061895" cy="384175"/>
          </a:xfrm>
          <a:prstGeom prst="rect">
            <a:avLst/>
          </a:prstGeom>
        </p:spPr>
        <p:txBody>
          <a:bodyPr lIns="91420" tIns="45710" rIns="91420" bIns="45710"/>
          <a:lstStyle>
            <a:lvl1pPr marL="0" indent="0" algn="l">
              <a:buFontTx/>
              <a:buNone/>
              <a:defRPr lang="en-US" sz="1867"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a:t>Click to edit Master text styles</a:t>
            </a:r>
          </a:p>
        </p:txBody>
      </p:sp>
      <p:sp>
        <p:nvSpPr>
          <p:cNvPr id="18" name="Text Placeholder 40"/>
          <p:cNvSpPr>
            <a:spLocks noGrp="1"/>
          </p:cNvSpPr>
          <p:nvPr>
            <p:ph type="body" sz="quarter" idx="12"/>
          </p:nvPr>
        </p:nvSpPr>
        <p:spPr>
          <a:xfrm>
            <a:off x="625995" y="5697590"/>
            <a:ext cx="11061895" cy="384175"/>
          </a:xfrm>
          <a:prstGeom prst="rect">
            <a:avLst/>
          </a:prstGeom>
        </p:spPr>
        <p:txBody>
          <a:bodyPr lIns="91420" tIns="45710" rIns="91420" bIns="45710"/>
          <a:lstStyle>
            <a:lvl1pPr marL="0" indent="0" algn="l">
              <a:buFontTx/>
              <a:buNone/>
              <a:defRPr lang="en-US" sz="1867"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a:t>Click to edit Master text styles</a:t>
            </a:r>
          </a:p>
        </p:txBody>
      </p:sp>
      <p:sp>
        <p:nvSpPr>
          <p:cNvPr id="19" name="Text Placeholder 2"/>
          <p:cNvSpPr>
            <a:spLocks noGrp="1"/>
          </p:cNvSpPr>
          <p:nvPr>
            <p:ph type="body" sz="quarter" idx="13"/>
          </p:nvPr>
        </p:nvSpPr>
        <p:spPr>
          <a:xfrm>
            <a:off x="617723" y="4281951"/>
            <a:ext cx="11070167" cy="398668"/>
          </a:xfrm>
          <a:prstGeom prst="rect">
            <a:avLst/>
          </a:prstGeom>
        </p:spPr>
        <p:txBody>
          <a:bodyPr lIns="91420" tIns="45710" rIns="91420" bIns="45710"/>
          <a:lstStyle>
            <a:lvl1pPr marL="0" indent="0">
              <a:buFont typeface="Arial" panose="020B0604020202020204" pitchFamily="34" charset="0"/>
              <a:buNone/>
              <a:defRPr sz="2933" baseline="0">
                <a:solidFill>
                  <a:srgbClr val="FFFFFE"/>
                </a:solidFill>
                <a:latin typeface="+mj-lt"/>
              </a:defRPr>
            </a:lvl1pPr>
            <a:lvl2pPr marL="406365" indent="0">
              <a:buNone/>
              <a:defRPr/>
            </a:lvl2pPr>
            <a:lvl3pPr marL="569854" indent="0">
              <a:buNone/>
              <a:defRPr/>
            </a:lvl3pPr>
            <a:lvl4pPr marL="688908" indent="0">
              <a:buNone/>
              <a:defRPr/>
            </a:lvl4pPr>
            <a:lvl5pPr marL="801608" indent="0">
              <a:buNone/>
              <a:defRPr/>
            </a:lvl5pPr>
          </a:lstStyle>
          <a:p>
            <a:pPr lvl="0"/>
            <a:r>
              <a:rPr lang="en-US"/>
              <a:t>Click to edit Master text styles</a:t>
            </a:r>
          </a:p>
        </p:txBody>
      </p:sp>
      <p:sp>
        <p:nvSpPr>
          <p:cNvPr id="20" name="Title 1"/>
          <p:cNvSpPr>
            <a:spLocks noGrp="1"/>
          </p:cNvSpPr>
          <p:nvPr>
            <p:ph type="ctrTitle"/>
          </p:nvPr>
        </p:nvSpPr>
        <p:spPr>
          <a:xfrm>
            <a:off x="567687" y="3519969"/>
            <a:ext cx="11120203" cy="859640"/>
          </a:xfrm>
          <a:prstGeom prst="rect">
            <a:avLst/>
          </a:prstGeom>
        </p:spPr>
        <p:txBody>
          <a:bodyPr anchor="b"/>
          <a:lstStyle>
            <a:lvl1pPr marL="0" indent="0" algn="l">
              <a:lnSpc>
                <a:spcPct val="90000"/>
              </a:lnSpc>
              <a:buFont typeface="Arial" panose="020B0604020202020204" pitchFamily="34" charset="0"/>
              <a:buNone/>
              <a:defRPr sz="6933" b="0" i="0" spc="0" baseline="0">
                <a:solidFill>
                  <a:srgbClr val="FFFFFE"/>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34157767"/>
      </p:ext>
    </p:extLst>
  </p:cSld>
  <p:clrMapOvr>
    <a:masterClrMapping/>
  </p:clrMapOvr>
  <p:transition spd="slow">
    <p:wip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66554" y="4279401"/>
            <a:ext cx="6246489" cy="384175"/>
          </a:xfrm>
          <a:prstGeom prst="rect">
            <a:avLst/>
          </a:prstGeom>
        </p:spPr>
        <p:txBody>
          <a:bodyPr vert="horz" lIns="68574" tIns="34288" rIns="68574" bIns="34288" rtlCol="0">
            <a:noAutofit/>
          </a:bodyPr>
          <a:lstStyle>
            <a:lvl1pPr marL="0" indent="0" algn="l" defTabSz="914308" rtl="0" eaLnBrk="1" latinLnBrk="0" hangingPunct="1">
              <a:lnSpc>
                <a:spcPct val="95000"/>
              </a:lnSpc>
              <a:spcBef>
                <a:spcPts val="1440"/>
              </a:spcBef>
              <a:buClr>
                <a:srgbClr val="92D050"/>
              </a:buClr>
              <a:buSzPct val="90000"/>
              <a:buFont typeface="Arial" pitchFamily="34" charset="0"/>
              <a:buNone/>
              <a:tabLst/>
              <a:defRPr lang="en-US" sz="2400" kern="1200" baseline="0" dirty="0">
                <a:solidFill>
                  <a:schemeClr val="tx1"/>
                </a:solidFill>
                <a:latin typeface="+mj-lt"/>
                <a:ea typeface="+mn-ea"/>
                <a:cs typeface="+mn-cs"/>
              </a:defRPr>
            </a:lvl1pPr>
            <a:lvl2pPr marL="457150" indent="0" algn="ctr">
              <a:buNone/>
              <a:defRPr>
                <a:solidFill>
                  <a:schemeClr val="tx1">
                    <a:tint val="75000"/>
                  </a:schemeClr>
                </a:solidFill>
              </a:defRPr>
            </a:lvl2pPr>
            <a:lvl3pPr marL="914308" indent="0" algn="ctr">
              <a:buNone/>
              <a:defRPr>
                <a:solidFill>
                  <a:schemeClr val="tx1">
                    <a:tint val="75000"/>
                  </a:schemeClr>
                </a:solidFill>
              </a:defRPr>
            </a:lvl3pPr>
            <a:lvl4pPr marL="1371462" indent="0" algn="ctr">
              <a:buNone/>
              <a:defRPr>
                <a:solidFill>
                  <a:schemeClr val="tx1">
                    <a:tint val="75000"/>
                  </a:schemeClr>
                </a:solidFill>
              </a:defRPr>
            </a:lvl4pPr>
            <a:lvl5pPr marL="1828618" indent="0" algn="ctr">
              <a:buNone/>
              <a:defRPr>
                <a:solidFill>
                  <a:schemeClr val="tx1">
                    <a:tint val="75000"/>
                  </a:schemeClr>
                </a:solidFill>
              </a:defRPr>
            </a:lvl5pPr>
            <a:lvl6pPr marL="2285768"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7" indent="0" algn="ctr">
              <a:buNone/>
              <a:defRPr>
                <a:solidFill>
                  <a:schemeClr val="tx1">
                    <a:tint val="75000"/>
                  </a:schemeClr>
                </a:solidFill>
              </a:defRPr>
            </a:lvl9pPr>
          </a:lstStyle>
          <a:p>
            <a:pPr lvl="0"/>
            <a:r>
              <a:rPr lang="en-US"/>
              <a:t>Click to edit Master subtitle style</a:t>
            </a:r>
            <a:endParaRPr lang="en-US" dirty="0"/>
          </a:p>
        </p:txBody>
      </p:sp>
      <p:sp>
        <p:nvSpPr>
          <p:cNvPr id="2" name="Title 1"/>
          <p:cNvSpPr>
            <a:spLocks noGrp="1"/>
          </p:cNvSpPr>
          <p:nvPr>
            <p:ph type="ctrTitle"/>
          </p:nvPr>
        </p:nvSpPr>
        <p:spPr>
          <a:xfrm>
            <a:off x="612701" y="3282703"/>
            <a:ext cx="6283409" cy="1022351"/>
          </a:xfrm>
        </p:spPr>
        <p:txBody>
          <a:bodyPr lIns="61715" tIns="34288" rIns="61715" bIns="34288" rtlCol="0" anchor="b">
            <a:noAutofit/>
          </a:bodyPr>
          <a:lstStyle>
            <a:lvl1pPr marL="0" indent="0" algn="l" defTabSz="914308" rtl="0" eaLnBrk="1" latinLnBrk="0" hangingPunct="1">
              <a:lnSpc>
                <a:spcPct val="80000"/>
              </a:lnSpc>
              <a:spcBef>
                <a:spcPct val="0"/>
              </a:spcBef>
              <a:buClr>
                <a:schemeClr val="tx1"/>
              </a:buClr>
              <a:buFont typeface="Ciscolight" pitchFamily="2" charset="0"/>
              <a:buNone/>
              <a:defRPr lang="en-US" sz="6933" b="0" kern="1200" spc="0" baseline="0" dirty="0">
                <a:solidFill>
                  <a:schemeClr val="tx2"/>
                </a:solidFill>
                <a:latin typeface="+mj-lt"/>
                <a:ea typeface="+mj-ea"/>
                <a:cs typeface="+mj-cs"/>
              </a:defRPr>
            </a:lvl1pPr>
          </a:lstStyle>
          <a:p>
            <a:r>
              <a:rPr lang="en-US"/>
              <a:t>Click to edit Master title style</a:t>
            </a:r>
            <a:endParaRPr lang="en-US" dirty="0"/>
          </a:p>
        </p:txBody>
      </p:sp>
      <p:sp>
        <p:nvSpPr>
          <p:cNvPr id="31" name="Picture Placeholder 30"/>
          <p:cNvSpPr>
            <a:spLocks noGrp="1"/>
          </p:cNvSpPr>
          <p:nvPr>
            <p:ph type="pic" sz="quarter" idx="10"/>
          </p:nvPr>
        </p:nvSpPr>
        <p:spPr>
          <a:xfrm>
            <a:off x="7387175" y="1917701"/>
            <a:ext cx="3568700" cy="2889251"/>
          </a:xfrm>
          <a:prstGeom prst="rect">
            <a:avLst/>
          </a:prstGeom>
        </p:spPr>
        <p:txBody>
          <a:bodyPr lIns="91420" tIns="45710" rIns="91420" bIns="45710" anchor="ctr" anchorCtr="1"/>
          <a:lstStyle>
            <a:lvl1pPr marL="0" indent="0" algn="ctr">
              <a:buNone/>
              <a:defRPr>
                <a:solidFill>
                  <a:schemeClr val="tx1"/>
                </a:solidFill>
                <a:latin typeface="+mj-lt"/>
              </a:defRPr>
            </a:lvl1pPr>
          </a:lstStyle>
          <a:p>
            <a:pPr lvl="0"/>
            <a:r>
              <a:rPr lang="en-US" noProof="0" dirty="0"/>
              <a:t>Click icon to add picture</a:t>
            </a:r>
          </a:p>
        </p:txBody>
      </p:sp>
    </p:spTree>
    <p:extLst>
      <p:ext uri="{BB962C8B-B14F-4D97-AF65-F5344CB8AC3E}">
        <p14:creationId xmlns:p14="http://schemas.microsoft.com/office/powerpoint/2010/main" val="255743044"/>
      </p:ext>
    </p:extLst>
  </p:cSld>
  <p:clrMapOvr>
    <a:masterClrMapping/>
  </p:clrMapOvr>
  <p:transition spd="slow">
    <p:wip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3_Segue">
    <p:spTree>
      <p:nvGrpSpPr>
        <p:cNvPr id="1" name=""/>
        <p:cNvGrpSpPr/>
        <p:nvPr/>
      </p:nvGrpSpPr>
      <p:grpSpPr>
        <a:xfrm>
          <a:off x="0" y="0"/>
          <a:ext cx="0" cy="0"/>
          <a:chOff x="0" y="0"/>
          <a:chExt cx="0" cy="0"/>
        </a:xfrm>
      </p:grpSpPr>
      <p:sp>
        <p:nvSpPr>
          <p:cNvPr id="6" name="Title 1"/>
          <p:cNvSpPr>
            <a:spLocks noGrp="1"/>
          </p:cNvSpPr>
          <p:nvPr>
            <p:ph type="ctrTitle"/>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cs typeface="CiscoSans Thin"/>
              </a:defRPr>
            </a:lvl1pPr>
          </a:lstStyle>
          <a:p>
            <a:r>
              <a:rPr lang="en-US"/>
              <a:t>Click to edit Master title style</a:t>
            </a:r>
            <a:endParaRPr lang="en-US" dirty="0"/>
          </a:p>
        </p:txBody>
      </p:sp>
      <p:sp>
        <p:nvSpPr>
          <p:cNvPr id="7" name="Rectangle 7"/>
          <p:cNvSpPr>
            <a:spLocks noChangeArrowheads="1"/>
          </p:cNvSpPr>
          <p:nvPr userDrawn="1"/>
        </p:nvSpPr>
        <p:spPr bwMode="ltGray">
          <a:xfrm>
            <a:off x="11354627" y="6561497"/>
            <a:ext cx="290868" cy="206025"/>
          </a:xfrm>
          <a:prstGeom prst="rect">
            <a:avLst/>
          </a:prstGeom>
          <a:noFill/>
          <a:ln w="9525" algn="ctr">
            <a:noFill/>
            <a:miter lim="800000"/>
            <a:headEnd/>
            <a:tailEnd/>
          </a:ln>
          <a:effectLst/>
        </p:spPr>
        <p:txBody>
          <a:bodyPr wrap="none" lIns="82115" tIns="41056" rIns="82115" bIns="41056" anchor="b">
            <a:spAutoFit/>
          </a:bodyPr>
          <a:lstStyle/>
          <a:p>
            <a:pPr algn="r" defTabSz="814305">
              <a:defRPr/>
            </a:pPr>
            <a:fld id="{4ABDCABE-3F10-B64C-92F1-862014417034}" type="slidenum">
              <a:rPr lang="en-US" sz="800">
                <a:solidFill>
                  <a:srgbClr val="FFFFFF">
                    <a:alpha val="60000"/>
                  </a:srgbClr>
                </a:solidFill>
                <a:cs typeface="CiscoSans Thin"/>
              </a:rPr>
              <a:pPr algn="r" defTabSz="814305">
                <a:defRPr/>
              </a:pPr>
              <a:t>‹#›</a:t>
            </a:fld>
            <a:endParaRPr lang="en-US" sz="800" dirty="0">
              <a:solidFill>
                <a:srgbClr val="FFFFFF">
                  <a:alpha val="60000"/>
                </a:srgbClr>
              </a:solidFill>
              <a:cs typeface="CiscoSans Thin"/>
            </a:endParaRPr>
          </a:p>
        </p:txBody>
      </p:sp>
      <p:pic>
        <p:nvPicPr>
          <p:cNvPr id="8"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632233" y="6405319"/>
            <a:ext cx="57508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ChangeArrowheads="1"/>
          </p:cNvSpPr>
          <p:nvPr userDrawn="1"/>
        </p:nvSpPr>
        <p:spPr bwMode="ltGray">
          <a:xfrm>
            <a:off x="7048501" y="6556986"/>
            <a:ext cx="4223620" cy="206025"/>
          </a:xfrm>
          <a:prstGeom prst="rect">
            <a:avLst/>
          </a:prstGeom>
          <a:noFill/>
          <a:ln w="9525">
            <a:noFill/>
            <a:miter lim="800000"/>
            <a:headEnd/>
            <a:tailEnd/>
          </a:ln>
          <a:effectLst/>
        </p:spPr>
        <p:txBody>
          <a:bodyPr wrap="square" lIns="82115" tIns="41056" rIns="82115" bIns="41056" anchor="b">
            <a:spAutoFit/>
          </a:bodyPr>
          <a:lstStyle/>
          <a:p>
            <a:pPr algn="r" defTabSz="814305">
              <a:defRPr/>
            </a:pPr>
            <a:r>
              <a:rPr lang="en-US" sz="800" dirty="0">
                <a:solidFill>
                  <a:srgbClr val="FFFFFF">
                    <a:alpha val="60000"/>
                  </a:srgbClr>
                </a:solidFill>
                <a:cs typeface="CiscoSans Thin"/>
              </a:rPr>
              <a:t>C97-738306-01 © 2017  Cisco and/or its affiliates. All rights reserved.   Cisco Confidential</a:t>
            </a:r>
          </a:p>
        </p:txBody>
      </p:sp>
    </p:spTree>
    <p:extLst>
      <p:ext uri="{BB962C8B-B14F-4D97-AF65-F5344CB8AC3E}">
        <p14:creationId xmlns:p14="http://schemas.microsoft.com/office/powerpoint/2010/main" val="731777478"/>
      </p:ext>
    </p:extLst>
  </p:cSld>
  <p:clrMapOvr>
    <a:masterClrMapping/>
  </p:clrMapOvr>
  <p:transition spd="slow">
    <p:wip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5_Segu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cs typeface="CiscoSans Thin"/>
              </a:defRPr>
            </a:lvl1pPr>
          </a:lstStyle>
          <a:p>
            <a:r>
              <a:rPr lang="en-GB" dirty="0"/>
              <a:t>Section Title Goes Here</a:t>
            </a:r>
            <a:endParaRPr lang="en-US" dirty="0"/>
          </a:p>
        </p:txBody>
      </p:sp>
      <p:sp>
        <p:nvSpPr>
          <p:cNvPr id="10" name="Rectangle 7"/>
          <p:cNvSpPr>
            <a:spLocks noChangeArrowheads="1"/>
          </p:cNvSpPr>
          <p:nvPr userDrawn="1"/>
        </p:nvSpPr>
        <p:spPr bwMode="ltGray">
          <a:xfrm>
            <a:off x="11354627" y="6561497"/>
            <a:ext cx="290868" cy="206025"/>
          </a:xfrm>
          <a:prstGeom prst="rect">
            <a:avLst/>
          </a:prstGeom>
          <a:noFill/>
          <a:ln w="9525" algn="ctr">
            <a:noFill/>
            <a:miter lim="800000"/>
            <a:headEnd/>
            <a:tailEnd/>
          </a:ln>
          <a:effectLst/>
        </p:spPr>
        <p:txBody>
          <a:bodyPr wrap="none" lIns="82115" tIns="41056" rIns="82115" bIns="41056" anchor="b">
            <a:spAutoFit/>
          </a:bodyPr>
          <a:lstStyle/>
          <a:p>
            <a:pPr algn="r" defTabSz="814305">
              <a:defRPr/>
            </a:pPr>
            <a:fld id="{4ABDCABE-3F10-B64C-92F1-862014417034}" type="slidenum">
              <a:rPr lang="en-US" sz="800">
                <a:solidFill>
                  <a:srgbClr val="FFFFFF">
                    <a:alpha val="60000"/>
                  </a:srgbClr>
                </a:solidFill>
                <a:cs typeface="CiscoSans Thin"/>
              </a:rPr>
              <a:pPr algn="r" defTabSz="814305">
                <a:defRPr/>
              </a:pPr>
              <a:t>‹#›</a:t>
            </a:fld>
            <a:endParaRPr lang="en-US" sz="800" dirty="0">
              <a:solidFill>
                <a:srgbClr val="FFFFFF">
                  <a:alpha val="60000"/>
                </a:srgbClr>
              </a:solidFill>
              <a:cs typeface="CiscoSans Thin"/>
            </a:endParaRPr>
          </a:p>
        </p:txBody>
      </p:sp>
      <p:pic>
        <p:nvPicPr>
          <p:cNvPr id="11"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632233" y="6405319"/>
            <a:ext cx="575083" cy="35356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4"/>
          <p:cNvSpPr>
            <a:spLocks noChangeArrowheads="1"/>
          </p:cNvSpPr>
          <p:nvPr userDrawn="1"/>
        </p:nvSpPr>
        <p:spPr bwMode="ltGray">
          <a:xfrm>
            <a:off x="7048501" y="6556986"/>
            <a:ext cx="4223620" cy="206025"/>
          </a:xfrm>
          <a:prstGeom prst="rect">
            <a:avLst/>
          </a:prstGeom>
          <a:noFill/>
          <a:ln w="9525">
            <a:noFill/>
            <a:miter lim="800000"/>
            <a:headEnd/>
            <a:tailEnd/>
          </a:ln>
          <a:effectLst/>
        </p:spPr>
        <p:txBody>
          <a:bodyPr wrap="square" lIns="82115" tIns="41056" rIns="82115" bIns="41056" anchor="b">
            <a:spAutoFit/>
          </a:bodyPr>
          <a:lstStyle/>
          <a:p>
            <a:pPr algn="r" defTabSz="814305">
              <a:defRPr/>
            </a:pPr>
            <a:r>
              <a:rPr lang="en-US" sz="800" dirty="0">
                <a:solidFill>
                  <a:srgbClr val="FFFFFF">
                    <a:alpha val="60000"/>
                  </a:srgbClr>
                </a:solidFill>
                <a:cs typeface="CiscoSans Thin"/>
              </a:rPr>
              <a:t>C97-738306-01 © 2017  Cisco and/or its affiliates. All rights reserved.   Cisco Confidential</a:t>
            </a:r>
          </a:p>
        </p:txBody>
      </p:sp>
    </p:spTree>
    <p:extLst>
      <p:ext uri="{BB962C8B-B14F-4D97-AF65-F5344CB8AC3E}">
        <p14:creationId xmlns:p14="http://schemas.microsoft.com/office/powerpoint/2010/main" val="1866387692"/>
      </p:ext>
    </p:extLst>
  </p:cSld>
  <p:clrMapOvr>
    <a:masterClrMapping/>
  </p:clrMapOvr>
  <p:transition spd="slow">
    <p:wip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7" name="Title 1"/>
          <p:cNvSpPr>
            <a:spLocks noGrp="1"/>
          </p:cNvSpPr>
          <p:nvPr>
            <p:ph type="ctrTitle"/>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768042632"/>
      </p:ext>
    </p:extLst>
  </p:cSld>
  <p:clrMapOvr>
    <a:masterClrMapping/>
  </p:clrMapOvr>
  <p:transition spd="slow">
    <p:wip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2"/>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3522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3688" y="1797051"/>
            <a:ext cx="11127317" cy="4224280"/>
          </a:xfrm>
          <a:prstGeom prst="rect">
            <a:avLst/>
          </a:prstGeom>
        </p:spPr>
        <p:txBody>
          <a:bodyPr lIns="91420" tIns="45710" rIns="91420" bIns="45710">
            <a:noAutofit/>
          </a:bodyPr>
          <a:lstStyle>
            <a:lvl1pPr marL="374561" indent="-298382">
              <a:lnSpc>
                <a:spcPct val="95000"/>
              </a:lnSpc>
              <a:spcBef>
                <a:spcPts val="1480"/>
              </a:spcBef>
              <a:buClr>
                <a:schemeClr val="tx2"/>
              </a:buClr>
              <a:buSzPct val="80000"/>
              <a:buFont typeface="Arial"/>
              <a:buChar char="•"/>
              <a:defRPr sz="4933" b="0" i="0">
                <a:solidFill>
                  <a:schemeClr val="tx2"/>
                </a:solidFill>
                <a:latin typeface="+mn-lt"/>
                <a:cs typeface="CiscoSans ExtraLight"/>
              </a:defRPr>
            </a:lvl1pPr>
            <a:lvl2pPr marL="677176" indent="-287799">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719" indent="-228548">
              <a:buClr>
                <a:schemeClr val="tx1"/>
              </a:buClr>
              <a:buSzPct val="80000"/>
              <a:buFont typeface="Arial"/>
              <a:buChar char="•"/>
              <a:defRPr sz="2133" b="0" i="0">
                <a:solidFill>
                  <a:srgbClr val="676767"/>
                </a:solidFill>
                <a:latin typeface="+mn-lt"/>
                <a:cs typeface="CiscoSans ExtraLight"/>
              </a:defRPr>
            </a:lvl3pPr>
            <a:lvl4pPr marL="1214683" indent="-228548">
              <a:buClr>
                <a:schemeClr val="tx1"/>
              </a:buClr>
              <a:buSzPct val="80000"/>
              <a:buFont typeface="Arial"/>
              <a:buChar char="•"/>
              <a:defRPr sz="1867"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887087914"/>
      </p:ext>
    </p:extLst>
  </p:cSld>
  <p:clrMapOvr>
    <a:masterClrMapping/>
  </p:clrMapOvr>
  <p:transition spd="med">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3688" y="1797051"/>
            <a:ext cx="11127317" cy="4224280"/>
          </a:xfrm>
          <a:prstGeom prst="rect">
            <a:avLst/>
          </a:prstGeom>
        </p:spPr>
        <p:txBody>
          <a:bodyPr lIns="91420" tIns="45710" rIns="91420" bIns="45710">
            <a:noAutofit/>
          </a:bodyPr>
          <a:lstStyle>
            <a:lvl1pPr marL="76179" indent="0">
              <a:lnSpc>
                <a:spcPct val="95000"/>
              </a:lnSpc>
              <a:spcBef>
                <a:spcPts val="1480"/>
              </a:spcBef>
              <a:buClr>
                <a:schemeClr val="tx1"/>
              </a:buClr>
              <a:buSzPct val="80000"/>
              <a:buFont typeface="Arial"/>
              <a:buNone/>
              <a:defRPr sz="4933" b="0" i="0">
                <a:solidFill>
                  <a:schemeClr val="tx2"/>
                </a:solidFill>
                <a:latin typeface="+mn-lt"/>
                <a:cs typeface="CiscoSans ExtraLight"/>
              </a:defRPr>
            </a:lvl1pPr>
            <a:lvl2pPr marL="389377"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171" indent="0">
              <a:buClr>
                <a:schemeClr val="tx1"/>
              </a:buClr>
              <a:buSzPct val="80000"/>
              <a:buFont typeface="Arial"/>
              <a:buNone/>
              <a:defRPr sz="2133" b="0" i="0">
                <a:solidFill>
                  <a:srgbClr val="676767"/>
                </a:solidFill>
                <a:latin typeface="+mn-lt"/>
                <a:cs typeface="CiscoSans ExtraLight"/>
              </a:defRPr>
            </a:lvl3pPr>
            <a:lvl4pPr marL="986135" indent="0">
              <a:buClr>
                <a:schemeClr val="tx1"/>
              </a:buClr>
              <a:buSzPct val="80000"/>
              <a:buFont typeface="Arial"/>
              <a:buNone/>
              <a:defRPr sz="1867" b="0" i="0">
                <a:solidFill>
                  <a:srgbClr val="676767"/>
                </a:solidFill>
                <a:latin typeface="+mn-lt"/>
                <a:cs typeface="CiscoSans ExtraLight"/>
              </a:defRPr>
            </a:lvl4pPr>
            <a:lvl5pPr marL="1218916" indent="0">
              <a:buClr>
                <a:schemeClr val="tx1"/>
              </a:buClr>
              <a:buSzPct val="80000"/>
              <a:buFont typeface="Arial"/>
              <a:buNone/>
              <a:defRPr sz="16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06363032"/>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9" name="Rectangle 8"/>
          <p:cNvSpPr/>
          <p:nvPr/>
        </p:nvSpPr>
        <p:spPr>
          <a:xfrm>
            <a:off x="4891617" y="311157"/>
            <a:ext cx="43582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fontAlgn="auto">
              <a:spcBef>
                <a:spcPts val="0"/>
              </a:spcBef>
              <a:spcAft>
                <a:spcPts val="0"/>
              </a:spcAft>
              <a:defRPr/>
            </a:pPr>
            <a:endParaRPr lang="en-US" sz="2400">
              <a:latin typeface="CiscoSans"/>
              <a:cs typeface="CiscoSans"/>
            </a:endParaRPr>
          </a:p>
        </p:txBody>
      </p:sp>
      <p:sp>
        <p:nvSpPr>
          <p:cNvPr id="10" name="Rectangle 9"/>
          <p:cNvSpPr/>
          <p:nvPr/>
        </p:nvSpPr>
        <p:spPr>
          <a:xfrm>
            <a:off x="446617" y="311157"/>
            <a:ext cx="43836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fontAlgn="auto">
              <a:spcBef>
                <a:spcPts val="0"/>
              </a:spcBef>
              <a:spcAft>
                <a:spcPts val="0"/>
              </a:spcAft>
              <a:defRPr/>
            </a:pPr>
            <a:endParaRPr lang="en-US" sz="2400">
              <a:latin typeface="CiscoSans"/>
              <a:cs typeface="CiscoSans"/>
            </a:endParaRPr>
          </a:p>
        </p:txBody>
      </p:sp>
      <p:sp>
        <p:nvSpPr>
          <p:cNvPr id="11" name="Rectangle 10"/>
          <p:cNvSpPr/>
          <p:nvPr/>
        </p:nvSpPr>
        <p:spPr>
          <a:xfrm>
            <a:off x="9306987" y="311151"/>
            <a:ext cx="2451100"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fontAlgn="auto">
              <a:spcBef>
                <a:spcPts val="0"/>
              </a:spcBef>
              <a:spcAft>
                <a:spcPts val="0"/>
              </a:spcAft>
              <a:defRPr/>
            </a:pPr>
            <a:endParaRPr lang="en-US" sz="2400">
              <a:latin typeface="CiscoSans"/>
              <a:cs typeface="CiscoSans"/>
            </a:endParaRPr>
          </a:p>
        </p:txBody>
      </p:sp>
      <p:sp>
        <p:nvSpPr>
          <p:cNvPr id="12" name="Rectangle 11"/>
          <p:cNvSpPr/>
          <p:nvPr/>
        </p:nvSpPr>
        <p:spPr>
          <a:xfrm>
            <a:off x="446623" y="3028957"/>
            <a:ext cx="3363383"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fontAlgn="auto">
              <a:spcBef>
                <a:spcPts val="0"/>
              </a:spcBef>
              <a:spcAft>
                <a:spcPts val="0"/>
              </a:spcAft>
              <a:defRPr/>
            </a:pPr>
            <a:endParaRPr lang="en-US" sz="2400">
              <a:latin typeface="CiscoSans"/>
              <a:cs typeface="CiscoSans"/>
            </a:endParaRPr>
          </a:p>
        </p:txBody>
      </p:sp>
      <p:sp>
        <p:nvSpPr>
          <p:cNvPr id="13" name="Rectangle 12"/>
          <p:cNvSpPr/>
          <p:nvPr/>
        </p:nvSpPr>
        <p:spPr>
          <a:xfrm>
            <a:off x="3881969" y="3028957"/>
            <a:ext cx="5367867"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fontAlgn="auto">
              <a:spcBef>
                <a:spcPts val="0"/>
              </a:spcBef>
              <a:spcAft>
                <a:spcPts val="0"/>
              </a:spcAft>
              <a:defRPr/>
            </a:pPr>
            <a:endParaRPr lang="en-US" sz="2400">
              <a:latin typeface="CiscoSans"/>
              <a:cs typeface="CiscoSans"/>
            </a:endParaRPr>
          </a:p>
        </p:txBody>
      </p:sp>
      <p:sp>
        <p:nvSpPr>
          <p:cNvPr id="14" name="Rectangle 13"/>
          <p:cNvSpPr/>
          <p:nvPr/>
        </p:nvSpPr>
        <p:spPr>
          <a:xfrm>
            <a:off x="9306987" y="1682751"/>
            <a:ext cx="2451100" cy="34438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fontAlgn="auto">
              <a:spcBef>
                <a:spcPts val="0"/>
              </a:spcBef>
              <a:spcAft>
                <a:spcPts val="0"/>
              </a:spcAft>
              <a:defRPr/>
            </a:pPr>
            <a:endParaRPr lang="en-US" sz="2400">
              <a:latin typeface="CiscoSans"/>
              <a:cs typeface="CiscoSans"/>
            </a:endParaRPr>
          </a:p>
        </p:txBody>
      </p:sp>
      <p:sp>
        <p:nvSpPr>
          <p:cNvPr id="15" name="Rectangle 14"/>
          <p:cNvSpPr/>
          <p:nvPr/>
        </p:nvSpPr>
        <p:spPr>
          <a:xfrm>
            <a:off x="9306987" y="5183717"/>
            <a:ext cx="2451100" cy="13038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fontAlgn="auto">
              <a:spcBef>
                <a:spcPts val="0"/>
              </a:spcBef>
              <a:spcAft>
                <a:spcPts val="0"/>
              </a:spcAft>
              <a:defRPr/>
            </a:pPr>
            <a:endParaRPr lang="en-US" sz="2400">
              <a:latin typeface="CiscoSans"/>
              <a:cs typeface="CiscoSans"/>
            </a:endParaRPr>
          </a:p>
        </p:txBody>
      </p:sp>
      <p:sp>
        <p:nvSpPr>
          <p:cNvPr id="49" name="Picture Placeholder 25"/>
          <p:cNvSpPr>
            <a:spLocks noGrp="1"/>
          </p:cNvSpPr>
          <p:nvPr>
            <p:ph type="pic" sz="quarter" idx="11"/>
          </p:nvPr>
        </p:nvSpPr>
        <p:spPr>
          <a:xfrm>
            <a:off x="4891995" y="311151"/>
            <a:ext cx="4357148" cy="2660652"/>
          </a:xfrm>
          <a:prstGeom prst="rect">
            <a:avLst/>
          </a:prstGeom>
          <a:solidFill>
            <a:schemeClr val="bg1">
              <a:alpha val="30000"/>
            </a:schemeClr>
          </a:solidFill>
          <a:ln>
            <a:solidFill>
              <a:schemeClr val="bg2"/>
            </a:solidFill>
          </a:ln>
          <a:effectLst/>
        </p:spPr>
        <p:txBody>
          <a:bodyPr vert="horz" lIns="68569" tIns="34286" rIns="68569" bIns="34286"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427771" y="311151"/>
            <a:ext cx="4402668" cy="2660652"/>
          </a:xfrm>
          <a:prstGeom prst="rect">
            <a:avLst/>
          </a:prstGeom>
          <a:solidFill>
            <a:schemeClr val="bg1">
              <a:alpha val="30000"/>
            </a:schemeClr>
          </a:solidFill>
          <a:ln>
            <a:solidFill>
              <a:schemeClr val="bg2"/>
            </a:solidFill>
          </a:ln>
          <a:effectLst/>
        </p:spPr>
        <p:txBody>
          <a:bodyPr vert="horz" lIns="68569" tIns="34286" rIns="68569" bIns="34286"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9306444" y="311151"/>
            <a:ext cx="2451640" cy="1308101"/>
          </a:xfrm>
          <a:prstGeom prst="rect">
            <a:avLst/>
          </a:prstGeom>
          <a:solidFill>
            <a:schemeClr val="bg1">
              <a:alpha val="30000"/>
            </a:schemeClr>
          </a:solidFill>
          <a:ln>
            <a:solidFill>
              <a:schemeClr val="bg2"/>
            </a:solidFill>
          </a:ln>
          <a:effectLst/>
        </p:spPr>
        <p:txBody>
          <a:bodyPr vert="horz" lIns="68569" tIns="34286" rIns="68569" bIns="34286"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427765" y="3028963"/>
            <a:ext cx="3383227" cy="3458935"/>
          </a:xfrm>
          <a:prstGeom prst="rect">
            <a:avLst/>
          </a:prstGeom>
          <a:solidFill>
            <a:schemeClr val="bg1">
              <a:alpha val="30000"/>
            </a:schemeClr>
          </a:solidFill>
          <a:ln>
            <a:solidFill>
              <a:schemeClr val="bg2"/>
            </a:solidFill>
          </a:ln>
          <a:effectLst/>
        </p:spPr>
        <p:txBody>
          <a:bodyPr vert="horz" lIns="68569" tIns="34286" rIns="68569" bIns="34286"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3877781" y="3028963"/>
            <a:ext cx="5371355" cy="3458935"/>
          </a:xfrm>
          <a:prstGeom prst="rect">
            <a:avLst/>
          </a:prstGeom>
          <a:solidFill>
            <a:schemeClr val="bg1">
              <a:alpha val="30000"/>
            </a:schemeClr>
          </a:solidFill>
          <a:ln>
            <a:solidFill>
              <a:schemeClr val="bg2"/>
            </a:solidFill>
          </a:ln>
          <a:effectLst/>
        </p:spPr>
        <p:txBody>
          <a:bodyPr vert="horz" lIns="68569" tIns="34286" rIns="68569" bIns="34286"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9306444" y="1676401"/>
            <a:ext cx="2451640" cy="3449411"/>
          </a:xfrm>
          <a:prstGeom prst="rect">
            <a:avLst/>
          </a:prstGeom>
          <a:solidFill>
            <a:schemeClr val="bg1">
              <a:alpha val="30000"/>
            </a:schemeClr>
          </a:solidFill>
          <a:ln>
            <a:solidFill>
              <a:schemeClr val="bg2"/>
            </a:solidFill>
          </a:ln>
          <a:effectLst/>
        </p:spPr>
        <p:txBody>
          <a:bodyPr vert="horz" lIns="68569" tIns="34286" rIns="68569" bIns="34286"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9306444" y="5182964"/>
            <a:ext cx="2451640" cy="1304925"/>
          </a:xfrm>
          <a:prstGeom prst="rect">
            <a:avLst/>
          </a:prstGeom>
          <a:solidFill>
            <a:schemeClr val="bg1">
              <a:alpha val="30000"/>
            </a:schemeClr>
          </a:solidFill>
          <a:ln>
            <a:solidFill>
              <a:schemeClr val="bg2"/>
            </a:solidFill>
          </a:ln>
          <a:effectLst/>
        </p:spPr>
        <p:txBody>
          <a:bodyPr vert="horz" lIns="68569" tIns="34286" rIns="68569" bIns="34286"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17580828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9547" y="1194135"/>
            <a:ext cx="11198319" cy="4224280"/>
          </a:xfrm>
          <a:prstGeom prst="rect">
            <a:avLst/>
          </a:prstGeom>
        </p:spPr>
        <p:txBody>
          <a:bodyPr lIns="91420" tIns="45710" rIns="91420" bIns="45710">
            <a:noAutofit/>
          </a:bodyPr>
          <a:lstStyle>
            <a:lvl1pPr marL="76179" indent="0">
              <a:lnSpc>
                <a:spcPct val="95000"/>
              </a:lnSpc>
              <a:spcBef>
                <a:spcPts val="1480"/>
              </a:spcBef>
              <a:buClr>
                <a:schemeClr val="tx1"/>
              </a:buClr>
              <a:buSzPct val="80000"/>
              <a:buFont typeface="Arial"/>
              <a:buNone/>
              <a:defRPr sz="4933" b="0" i="0">
                <a:solidFill>
                  <a:schemeClr val="tx2"/>
                </a:solidFill>
                <a:latin typeface="+mn-lt"/>
                <a:cs typeface="CiscoSans ExtraLight"/>
              </a:defRPr>
            </a:lvl1pPr>
            <a:lvl2pPr marL="389377"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171" indent="0">
              <a:buClr>
                <a:schemeClr val="tx1"/>
              </a:buClr>
              <a:buSzPct val="80000"/>
              <a:buFont typeface="Arial"/>
              <a:buNone/>
              <a:defRPr sz="2133" b="0" i="0">
                <a:solidFill>
                  <a:srgbClr val="676767"/>
                </a:solidFill>
                <a:latin typeface="+mn-lt"/>
                <a:cs typeface="CiscoSans ExtraLight"/>
              </a:defRPr>
            </a:lvl3pPr>
            <a:lvl4pPr marL="986135" indent="0">
              <a:buClr>
                <a:schemeClr val="tx1"/>
              </a:buClr>
              <a:buSzPct val="80000"/>
              <a:buFont typeface="Arial"/>
              <a:buNone/>
              <a:defRPr sz="1867" b="0" i="0">
                <a:solidFill>
                  <a:srgbClr val="676767"/>
                </a:solidFill>
                <a:latin typeface="+mn-lt"/>
                <a:cs typeface="CiscoSans ExtraLight"/>
              </a:defRPr>
            </a:lvl4pPr>
            <a:lvl5pPr marL="1218916" indent="0">
              <a:buClr>
                <a:schemeClr val="tx1"/>
              </a:buClr>
              <a:buSzPct val="80000"/>
              <a:buFont typeface="Arial"/>
              <a:buNone/>
              <a:defRPr sz="16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1683192176"/>
      </p:ext>
    </p:extLst>
  </p:cSld>
  <p:clrMapOvr>
    <a:masterClrMapping/>
  </p:clrMapOvr>
  <p:transition spd="med">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04852" y="1168479"/>
            <a:ext cx="11013016" cy="4224280"/>
          </a:xfrm>
          <a:prstGeom prst="rect">
            <a:avLst/>
          </a:prstGeom>
        </p:spPr>
        <p:txBody>
          <a:bodyPr lIns="91420" tIns="45710" rIns="91420" bIns="45710">
            <a:noAutofit/>
          </a:bodyPr>
          <a:lstStyle>
            <a:lvl1pPr marL="283193" indent="-523187">
              <a:lnSpc>
                <a:spcPts val="5920"/>
              </a:lnSpc>
              <a:spcBef>
                <a:spcPts val="0"/>
              </a:spcBef>
              <a:buClr>
                <a:schemeClr val="tx2"/>
              </a:buClr>
              <a:buSzPct val="80000"/>
              <a:buFont typeface="Arial"/>
              <a:buChar char="•"/>
              <a:defRPr sz="4933" b="0" i="0">
                <a:solidFill>
                  <a:schemeClr val="tx2"/>
                </a:solidFill>
                <a:latin typeface="+mn-lt"/>
                <a:cs typeface="CiscoSans ExtraLight"/>
              </a:defRPr>
            </a:lvl1pPr>
            <a:lvl2pPr marL="677176" indent="-287799">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719" indent="-228548">
              <a:buClr>
                <a:schemeClr val="tx1"/>
              </a:buClr>
              <a:buSzPct val="80000"/>
              <a:buFont typeface="Arial"/>
              <a:buChar char="•"/>
              <a:defRPr sz="2133" b="0" i="0">
                <a:solidFill>
                  <a:srgbClr val="676767"/>
                </a:solidFill>
                <a:latin typeface="+mn-lt"/>
                <a:cs typeface="CiscoSans ExtraLight"/>
              </a:defRPr>
            </a:lvl3pPr>
            <a:lvl4pPr marL="1214683" indent="-228548">
              <a:buClr>
                <a:schemeClr val="tx1"/>
              </a:buClr>
              <a:buSzPct val="80000"/>
              <a:buFont typeface="Arial"/>
              <a:buChar char="•"/>
              <a:defRPr sz="1867"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1827343199"/>
      </p:ext>
    </p:extLst>
  </p:cSld>
  <p:clrMapOvr>
    <a:masterClrMapping/>
  </p:clrMapOvr>
  <p:transition spd="med">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16401" y="1797051"/>
            <a:ext cx="11036459" cy="4224280"/>
          </a:xfrm>
          <a:prstGeom prst="rect">
            <a:avLst/>
          </a:prstGeom>
        </p:spPr>
        <p:txBody>
          <a:bodyPr lIns="91420" tIns="45710" rIns="91420" bIns="45710">
            <a:noAutofit/>
          </a:bodyPr>
          <a:lstStyle>
            <a:lvl1pPr marL="374561" indent="-298382">
              <a:lnSpc>
                <a:spcPct val="95000"/>
              </a:lnSpc>
              <a:spcBef>
                <a:spcPts val="1480"/>
              </a:spcBef>
              <a:buClr>
                <a:schemeClr val="tx2"/>
              </a:buClr>
              <a:buSzPct val="80000"/>
              <a:buFont typeface="Arial"/>
              <a:buChar char="•"/>
              <a:defRPr sz="2667" b="0" i="0">
                <a:solidFill>
                  <a:schemeClr val="tx2"/>
                </a:solidFill>
                <a:latin typeface="+mn-lt"/>
                <a:cs typeface="CiscoSans ExtraLight"/>
              </a:defRPr>
            </a:lvl1pPr>
            <a:lvl2pPr marL="677176"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996719" indent="-228548">
              <a:buClr>
                <a:schemeClr val="tx2"/>
              </a:buClr>
              <a:buSzPct val="80000"/>
              <a:buFont typeface="Arial"/>
              <a:buChar char="•"/>
              <a:defRPr sz="2133" b="0" i="0">
                <a:solidFill>
                  <a:schemeClr val="tx2"/>
                </a:solidFill>
                <a:latin typeface="+mn-lt"/>
                <a:cs typeface="CiscoSans ExtraLight"/>
              </a:defRPr>
            </a:lvl3pPr>
            <a:lvl4pPr marL="1214683" indent="-228548">
              <a:buClr>
                <a:schemeClr val="tx2"/>
              </a:buClr>
              <a:buSzPct val="80000"/>
              <a:buFont typeface="Arial"/>
              <a:buChar char="•"/>
              <a:defRPr sz="1867" b="0" i="0">
                <a:solidFill>
                  <a:schemeClr val="tx2"/>
                </a:solidFill>
                <a:latin typeface="+mn-lt"/>
                <a:cs typeface="CiscoSans ExtraLight"/>
              </a:defRPr>
            </a:lvl4pPr>
            <a:lvl5pPr marL="1443231" indent="-224314">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34626297"/>
      </p:ext>
    </p:extLst>
  </p:cSld>
  <p:clrMapOvr>
    <a:masterClrMapping/>
  </p:clrMapOvr>
  <p:transition spd="med">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83689" y="1797051"/>
            <a:ext cx="5201497" cy="4110792"/>
          </a:xfrm>
          <a:prstGeom prst="rect">
            <a:avLst/>
          </a:prstGeom>
        </p:spPr>
        <p:txBody>
          <a:bodyPr lIns="91420" tIns="45710" rIns="91420" bIns="45710">
            <a:noAutofit/>
          </a:bodyPr>
          <a:lstStyle>
            <a:lvl1pPr marL="304732" indent="-228548">
              <a:lnSpc>
                <a:spcPct val="95000"/>
              </a:lnSpc>
              <a:spcBef>
                <a:spcPts val="1480"/>
              </a:spcBef>
              <a:buClr>
                <a:schemeClr val="tx2"/>
              </a:buClr>
              <a:buSzPct val="80000"/>
              <a:buFont typeface="Arial"/>
              <a:buChar char="•"/>
              <a:defRPr sz="2667" b="0" i="0">
                <a:solidFill>
                  <a:schemeClr val="tx2"/>
                </a:solidFill>
                <a:latin typeface="+mn-lt"/>
                <a:cs typeface="CiscoSans ExtraLight"/>
              </a:defRPr>
            </a:lvl1pPr>
            <a:lvl2pPr marL="609458"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838006" indent="-228548">
              <a:buClr>
                <a:schemeClr val="tx2"/>
              </a:buClr>
              <a:buSzPct val="80000"/>
              <a:buFont typeface="Arial"/>
              <a:buChar char="•"/>
              <a:defRPr sz="2133" b="0" i="0">
                <a:solidFill>
                  <a:schemeClr val="tx2"/>
                </a:solidFill>
                <a:latin typeface="+mn-lt"/>
                <a:cs typeface="CiscoSans ExtraLight"/>
              </a:defRPr>
            </a:lvl3pPr>
            <a:lvl4pPr marL="1066552" indent="-228548">
              <a:buClr>
                <a:schemeClr val="tx2"/>
              </a:buClr>
              <a:buSzPct val="80000"/>
              <a:buFont typeface="Arial"/>
              <a:buChar char="•"/>
              <a:defRPr sz="1867" b="0" i="0">
                <a:solidFill>
                  <a:schemeClr val="tx2"/>
                </a:solidFill>
                <a:latin typeface="+mn-lt"/>
                <a:cs typeface="CiscoSans ExtraLight"/>
              </a:defRPr>
            </a:lvl4pPr>
            <a:lvl5pPr marL="1295097" indent="-228548">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086392" y="1797051"/>
            <a:ext cx="5624613" cy="4110792"/>
          </a:xfrm>
          <a:prstGeom prst="rect">
            <a:avLst/>
          </a:prstGeom>
        </p:spPr>
        <p:txBody>
          <a:bodyPr lIns="91420" tIns="45710" rIns="91420" bIns="45710">
            <a:noAutofit/>
          </a:bodyPr>
          <a:lstStyle>
            <a:lvl1pPr marL="304732" indent="-228548">
              <a:lnSpc>
                <a:spcPct val="95000"/>
              </a:lnSpc>
              <a:spcBef>
                <a:spcPts val="1480"/>
              </a:spcBef>
              <a:buClr>
                <a:schemeClr val="tx2"/>
              </a:buClr>
              <a:buSzPct val="80000"/>
              <a:buFont typeface="Arial"/>
              <a:buChar char="•"/>
              <a:defRPr sz="2667" b="0" i="0" baseline="0">
                <a:solidFill>
                  <a:schemeClr val="tx2"/>
                </a:solidFill>
                <a:latin typeface="+mn-lt"/>
                <a:cs typeface="CiscoSans ExtraLight"/>
              </a:defRPr>
            </a:lvl1pPr>
            <a:lvl2pPr marL="609458"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838006" indent="-228548">
              <a:buClr>
                <a:schemeClr val="tx2"/>
              </a:buClr>
              <a:buSzPct val="80000"/>
              <a:buFont typeface="Arial"/>
              <a:buChar char="•"/>
              <a:defRPr sz="2133" b="0" i="0">
                <a:solidFill>
                  <a:schemeClr val="tx2"/>
                </a:solidFill>
                <a:latin typeface="+mn-lt"/>
                <a:cs typeface="CiscoSans ExtraLight"/>
              </a:defRPr>
            </a:lvl3pPr>
            <a:lvl4pPr marL="1066552" indent="-228548">
              <a:buClr>
                <a:schemeClr val="tx2"/>
              </a:buClr>
              <a:buSzPct val="80000"/>
              <a:buFont typeface="Arial"/>
              <a:buChar char="•"/>
              <a:defRPr sz="1867" b="0" i="0">
                <a:solidFill>
                  <a:schemeClr val="tx2"/>
                </a:solidFill>
                <a:latin typeface="+mn-lt"/>
                <a:cs typeface="CiscoSans ExtraLight"/>
              </a:defRPr>
            </a:lvl4pPr>
            <a:lvl5pPr marL="1295097" indent="-228548">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624419189"/>
      </p:ext>
    </p:extLst>
  </p:cSld>
  <p:clrMapOvr>
    <a:masterClrMapping/>
  </p:clrMapOvr>
  <p:transition spd="med">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6087533"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23905" y="403341"/>
            <a:ext cx="4954660" cy="1101929"/>
          </a:xfrm>
          <a:prstGeom prst="rect">
            <a:avLst/>
          </a:prstGeom>
        </p:spPr>
        <p:txBody>
          <a:bodyPr lIns="61712" tIns="34286" rIns="61712" bIns="34286" rtlCol="0">
            <a:noAutofit/>
          </a:bodyPr>
          <a:lstStyle>
            <a:lvl1pPr algn="l" defTabSz="914270" rtl="0" eaLnBrk="1" latinLnBrk="0" hangingPunct="1">
              <a:lnSpc>
                <a:spcPct val="80000"/>
              </a:lnSpc>
              <a:spcBef>
                <a:spcPct val="0"/>
              </a:spcBef>
              <a:buNone/>
              <a:defRPr lang="en-US" sz="4000" b="0" i="0" kern="1200" spc="-100" baseline="0" dirty="0" smtClean="0">
                <a:solidFill>
                  <a:schemeClr val="tx2"/>
                </a:solidFill>
                <a:latin typeface="+mj-lt"/>
                <a:ea typeface="+mj-ea"/>
                <a:cs typeface="CiscoSans Thin"/>
              </a:defRPr>
            </a:lvl1pPr>
          </a:lstStyle>
          <a:p>
            <a:r>
              <a:rPr lang="en-US"/>
              <a:t>Click to edit Master title style</a:t>
            </a:r>
            <a:endParaRPr lang="en-US" dirty="0"/>
          </a:p>
        </p:txBody>
      </p:sp>
      <p:sp>
        <p:nvSpPr>
          <p:cNvPr id="16" name="Text Placeholder 15"/>
          <p:cNvSpPr>
            <a:spLocks noGrp="1"/>
          </p:cNvSpPr>
          <p:nvPr>
            <p:ph type="body" sz="quarter" idx="13"/>
          </p:nvPr>
        </p:nvSpPr>
        <p:spPr>
          <a:xfrm>
            <a:off x="6541286" y="403341"/>
            <a:ext cx="4954660" cy="1101928"/>
          </a:xfrm>
          <a:prstGeom prst="rect">
            <a:avLst/>
          </a:prstGeom>
        </p:spPr>
        <p:txBody>
          <a:bodyPr lIns="91420" tIns="45710" rIns="91420" bIns="45710" anchor="ctr" anchorCtr="0">
            <a:noAutofit/>
          </a:bodyPr>
          <a:lstStyle>
            <a:lvl1pPr marL="0" marR="0" indent="0" algn="l" defTabSz="914270" rtl="0" eaLnBrk="1" fontAlgn="auto" latinLnBrk="0" hangingPunct="1">
              <a:lnSpc>
                <a:spcPct val="80000"/>
              </a:lnSpc>
              <a:spcBef>
                <a:spcPct val="0"/>
              </a:spcBef>
              <a:spcAft>
                <a:spcPts val="0"/>
              </a:spcAft>
              <a:buClrTx/>
              <a:buSzTx/>
              <a:buFontTx/>
              <a:buNone/>
              <a:tabLst/>
              <a:defRPr lang="en-US" sz="4000" b="0" i="0" kern="1200" spc="-100" baseline="0" dirty="0">
                <a:solidFill>
                  <a:schemeClr val="tx2"/>
                </a:solidFill>
                <a:latin typeface="+mj-lt"/>
                <a:ea typeface="+mj-ea"/>
                <a:cs typeface="CiscoSans Thin"/>
              </a:defRPr>
            </a:lvl1pPr>
          </a:lstStyle>
          <a:p>
            <a:pPr lvl="0"/>
            <a:r>
              <a:rPr lang="en-US"/>
              <a:t>Click to edit Master text styles</a:t>
            </a:r>
          </a:p>
        </p:txBody>
      </p:sp>
      <p:sp>
        <p:nvSpPr>
          <p:cNvPr id="8" name="Text Placeholder 3"/>
          <p:cNvSpPr>
            <a:spLocks noGrp="1"/>
          </p:cNvSpPr>
          <p:nvPr>
            <p:ph type="body" sz="quarter" idx="10"/>
          </p:nvPr>
        </p:nvSpPr>
        <p:spPr>
          <a:xfrm>
            <a:off x="623905" y="1797051"/>
            <a:ext cx="4954660" cy="4110792"/>
          </a:xfrm>
          <a:prstGeom prst="rect">
            <a:avLst/>
          </a:prstGeom>
        </p:spPr>
        <p:txBody>
          <a:bodyPr lIns="91420" tIns="45710" rIns="91420" bIns="45710">
            <a:noAutofit/>
          </a:bodyPr>
          <a:lstStyle>
            <a:lvl1pPr marL="304732" indent="-228548">
              <a:lnSpc>
                <a:spcPct val="95000"/>
              </a:lnSpc>
              <a:spcBef>
                <a:spcPts val="1480"/>
              </a:spcBef>
              <a:buClr>
                <a:schemeClr val="tx2"/>
              </a:buClr>
              <a:buSzPct val="80000"/>
              <a:buFont typeface="Arial"/>
              <a:buChar char="•"/>
              <a:defRPr sz="2667" b="0" i="0">
                <a:solidFill>
                  <a:schemeClr val="tx2"/>
                </a:solidFill>
                <a:latin typeface="+mn-lt"/>
                <a:cs typeface="CiscoSans ExtraLight"/>
              </a:defRPr>
            </a:lvl1pPr>
            <a:lvl2pPr marL="609458"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838006" indent="-228548">
              <a:buClr>
                <a:schemeClr val="tx2"/>
              </a:buClr>
              <a:buSzPct val="80000"/>
              <a:buFont typeface="Arial"/>
              <a:buChar char="•"/>
              <a:defRPr sz="2133" b="0" i="0">
                <a:solidFill>
                  <a:schemeClr val="tx2"/>
                </a:solidFill>
                <a:latin typeface="+mn-lt"/>
                <a:cs typeface="CiscoSans ExtraLight"/>
              </a:defRPr>
            </a:lvl3pPr>
            <a:lvl4pPr marL="1066552" indent="-228548">
              <a:buClr>
                <a:schemeClr val="tx2"/>
              </a:buClr>
              <a:buSzPct val="80000"/>
              <a:buFont typeface="Arial"/>
              <a:buChar char="•"/>
              <a:defRPr sz="1867" b="0" i="0">
                <a:solidFill>
                  <a:schemeClr val="tx2"/>
                </a:solidFill>
                <a:latin typeface="+mn-lt"/>
                <a:cs typeface="CiscoSans ExtraLight"/>
              </a:defRPr>
            </a:lvl4pPr>
            <a:lvl5pPr marL="1295097" indent="-228548">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p:cNvSpPr>
            <a:spLocks noGrp="1"/>
          </p:cNvSpPr>
          <p:nvPr>
            <p:ph type="body" sz="quarter" idx="14"/>
          </p:nvPr>
        </p:nvSpPr>
        <p:spPr>
          <a:xfrm>
            <a:off x="6541286" y="1797051"/>
            <a:ext cx="4954660" cy="4110792"/>
          </a:xfrm>
          <a:prstGeom prst="rect">
            <a:avLst/>
          </a:prstGeom>
        </p:spPr>
        <p:txBody>
          <a:bodyPr lIns="91420" tIns="45710" rIns="91420" bIns="45710">
            <a:noAutofit/>
          </a:bodyPr>
          <a:lstStyle>
            <a:lvl1pPr marL="304732" indent="-228548">
              <a:lnSpc>
                <a:spcPct val="95000"/>
              </a:lnSpc>
              <a:spcBef>
                <a:spcPts val="1480"/>
              </a:spcBef>
              <a:buClr>
                <a:schemeClr val="tx2"/>
              </a:buClr>
              <a:buSzPct val="80000"/>
              <a:buFont typeface="Arial"/>
              <a:buChar char="•"/>
              <a:defRPr sz="2667" b="0" i="0">
                <a:solidFill>
                  <a:schemeClr val="tx2"/>
                </a:solidFill>
                <a:latin typeface="+mn-lt"/>
                <a:cs typeface="CiscoSans ExtraLight"/>
              </a:defRPr>
            </a:lvl1pPr>
            <a:lvl2pPr marL="609458"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838006" indent="-228548">
              <a:buClr>
                <a:schemeClr val="tx2"/>
              </a:buClr>
              <a:buSzPct val="80000"/>
              <a:buFont typeface="Arial"/>
              <a:buChar char="•"/>
              <a:defRPr sz="2133" b="0" i="0">
                <a:solidFill>
                  <a:schemeClr val="tx2"/>
                </a:solidFill>
                <a:latin typeface="+mn-lt"/>
                <a:cs typeface="CiscoSans ExtraLight"/>
              </a:defRPr>
            </a:lvl3pPr>
            <a:lvl4pPr marL="1066552" indent="-228548">
              <a:buClr>
                <a:schemeClr val="tx2"/>
              </a:buClr>
              <a:buSzPct val="80000"/>
              <a:buFont typeface="Arial"/>
              <a:buChar char="•"/>
              <a:defRPr sz="1867" b="0" i="0">
                <a:solidFill>
                  <a:schemeClr val="tx2"/>
                </a:solidFill>
                <a:latin typeface="+mn-lt"/>
                <a:cs typeface="CiscoSans ExtraLight"/>
              </a:defRPr>
            </a:lvl4pPr>
            <a:lvl5pPr marL="1295097" indent="-228548">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7196515"/>
      </p:ext>
    </p:extLst>
  </p:cSld>
  <p:clrMapOvr>
    <a:masterClrMapping/>
  </p:clrMapOvr>
  <p:transition spd="med">
    <p:fade/>
  </p:transition>
  <p:hf hdr="0" ftr="0" dt="0"/>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4093633"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49684" y="812801"/>
            <a:ext cx="0" cy="5312833"/>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615952" y="304425"/>
            <a:ext cx="3116145" cy="1027281"/>
          </a:xfrm>
          <a:prstGeom prst="rect">
            <a:avLst/>
          </a:prstGeom>
        </p:spPr>
        <p:txBody>
          <a:bodyPr lIns="91420" tIns="45710" rIns="91420" bIns="45710" anchor="b" anchorCtr="0">
            <a:noAutofit/>
          </a:bodyPr>
          <a:lstStyle>
            <a:lvl1pPr marL="0" marR="0" indent="0" algn="l" defTabSz="914270"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0" name="Text Placeholder 17"/>
          <p:cNvSpPr>
            <a:spLocks noGrp="1"/>
          </p:cNvSpPr>
          <p:nvPr>
            <p:ph type="body" sz="quarter" idx="22"/>
          </p:nvPr>
        </p:nvSpPr>
        <p:spPr>
          <a:xfrm>
            <a:off x="4503638" y="303785"/>
            <a:ext cx="3116145" cy="1027281"/>
          </a:xfrm>
          <a:prstGeom prst="rect">
            <a:avLst/>
          </a:prstGeom>
        </p:spPr>
        <p:txBody>
          <a:bodyPr lIns="91420" tIns="45710" rIns="91420" bIns="45710" anchor="b" anchorCtr="0">
            <a:noAutofit/>
          </a:bodyPr>
          <a:lstStyle>
            <a:lvl1pPr marL="0" marR="0" indent="0" algn="l" defTabSz="914270"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4" name="Text Placeholder 17"/>
          <p:cNvSpPr>
            <a:spLocks noGrp="1"/>
          </p:cNvSpPr>
          <p:nvPr>
            <p:ph type="body" sz="quarter" idx="24"/>
          </p:nvPr>
        </p:nvSpPr>
        <p:spPr>
          <a:xfrm>
            <a:off x="8473085" y="293972"/>
            <a:ext cx="3116145" cy="1027281"/>
          </a:xfrm>
          <a:prstGeom prst="rect">
            <a:avLst/>
          </a:prstGeom>
        </p:spPr>
        <p:txBody>
          <a:bodyPr lIns="91420" tIns="45710" rIns="91420" bIns="45710" anchor="b" anchorCtr="0">
            <a:noAutofit/>
          </a:bodyPr>
          <a:lstStyle>
            <a:lvl1pPr marL="0" marR="0" indent="0" algn="l" defTabSz="914270" rtl="0" eaLnBrk="1" fontAlgn="auto" latinLnBrk="0" hangingPunct="1">
              <a:lnSpc>
                <a:spcPct val="80000"/>
              </a:lnSpc>
              <a:spcBef>
                <a:spcPct val="0"/>
              </a:spcBef>
              <a:spcAft>
                <a:spcPts val="0"/>
              </a:spcAft>
              <a:buClrTx/>
              <a:buSzTx/>
              <a:buFontTx/>
              <a:buNone/>
              <a:tabLst/>
              <a:defRPr kumimoji="0" lang="en-US" sz="3333" b="0" i="0" u="none" strike="noStrike" kern="1200" cap="none" spc="-100"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3" name="Text Placeholder 3"/>
          <p:cNvSpPr>
            <a:spLocks noGrp="1"/>
          </p:cNvSpPr>
          <p:nvPr>
            <p:ph type="body" sz="quarter" idx="11"/>
          </p:nvPr>
        </p:nvSpPr>
        <p:spPr>
          <a:xfrm>
            <a:off x="615951" y="1601459"/>
            <a:ext cx="3116147" cy="4419872"/>
          </a:xfrm>
          <a:prstGeom prst="rect">
            <a:avLst/>
          </a:prstGeom>
        </p:spPr>
        <p:txBody>
          <a:bodyPr lIns="91420" tIns="45710" rIns="91420" bIns="45710">
            <a:noAutofit/>
          </a:bodyPr>
          <a:lstStyle>
            <a:lvl1pPr marL="311080" indent="-228548">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866" indent="-228548">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6"/>
          </p:nvPr>
        </p:nvSpPr>
        <p:spPr>
          <a:xfrm>
            <a:off x="4503637" y="1600428"/>
            <a:ext cx="3116147" cy="4419872"/>
          </a:xfrm>
          <a:prstGeom prst="rect">
            <a:avLst/>
          </a:prstGeom>
        </p:spPr>
        <p:txBody>
          <a:bodyPr lIns="91420" tIns="45710" rIns="91420" bIns="45710">
            <a:noAutofit/>
          </a:bodyPr>
          <a:lstStyle>
            <a:lvl1pPr marL="311080" indent="-228548">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866" indent="-228548">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7"/>
          </p:nvPr>
        </p:nvSpPr>
        <p:spPr>
          <a:xfrm>
            <a:off x="8473083" y="1600428"/>
            <a:ext cx="3116147" cy="4419872"/>
          </a:xfrm>
          <a:prstGeom prst="rect">
            <a:avLst/>
          </a:prstGeom>
        </p:spPr>
        <p:txBody>
          <a:bodyPr lIns="91420" tIns="45710" rIns="91420" bIns="45710">
            <a:noAutofit/>
          </a:bodyPr>
          <a:lstStyle>
            <a:lvl1pPr marL="311080" indent="-228548">
              <a:lnSpc>
                <a:spcPct val="95000"/>
              </a:lnSpc>
              <a:spcBef>
                <a:spcPts val="1480"/>
              </a:spcBef>
              <a:buClr>
                <a:schemeClr val="tx2"/>
              </a:buClr>
              <a:buSzPct val="80000"/>
              <a:buFont typeface="Arial"/>
              <a:buChar char="•"/>
              <a:defRPr sz="2133" b="0" i="0" baseline="0">
                <a:solidFill>
                  <a:schemeClr val="tx2"/>
                </a:solidFill>
                <a:latin typeface="+mn-lt"/>
                <a:cs typeface="CiscoSans ExtraLight"/>
              </a:defRPr>
            </a:lvl1pPr>
            <a:lvl2pPr>
              <a:lnSpc>
                <a:spcPct val="95000"/>
              </a:lnSpc>
              <a:spcBef>
                <a:spcPts val="600"/>
              </a:spcBef>
              <a:buClr>
                <a:schemeClr val="tx2"/>
              </a:buClr>
              <a:buSzPct val="80000"/>
              <a:defRPr b="0" i="0">
                <a:solidFill>
                  <a:schemeClr val="tx2"/>
                </a:solidFill>
                <a:latin typeface="+mn-lt"/>
                <a:cs typeface="CiscoSans ExtraLight"/>
              </a:defRPr>
            </a:lvl2pPr>
            <a:lvl3pPr marL="575866" indent="-228548">
              <a:buClr>
                <a:schemeClr val="tx2"/>
              </a:buClr>
              <a:buSzPct val="80000"/>
              <a:buFont typeface="Arial"/>
              <a:buChar char="•"/>
              <a:defRPr sz="16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291241"/>
      </p:ext>
    </p:extLst>
  </p:cSld>
  <p:clrMapOvr>
    <a:masterClrMapping/>
  </p:clrMapOvr>
  <p:transition spd="med">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6760634" y="1773767"/>
            <a:ext cx="4950884" cy="4135967"/>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anchor="ctr"/>
          <a:lstStyle/>
          <a:p>
            <a:pPr algn="ctr" defTabSz="609585">
              <a:defRPr/>
            </a:pPr>
            <a:endParaRPr lang="en-US" sz="2400" dirty="0">
              <a:solidFill>
                <a:srgbClr val="555558"/>
              </a:solidFill>
            </a:endParaRPr>
          </a:p>
        </p:txBody>
      </p:sp>
      <p:sp>
        <p:nvSpPr>
          <p:cNvPr id="12" name="Text Placeholder 11"/>
          <p:cNvSpPr>
            <a:spLocks noGrp="1"/>
          </p:cNvSpPr>
          <p:nvPr>
            <p:ph type="body" sz="quarter" idx="11"/>
          </p:nvPr>
        </p:nvSpPr>
        <p:spPr>
          <a:xfrm>
            <a:off x="6864941" y="1975668"/>
            <a:ext cx="4501216" cy="2212024"/>
          </a:xfrm>
          <a:prstGeom prst="rect">
            <a:avLst/>
          </a:prstGeom>
        </p:spPr>
        <p:txBody>
          <a:bodyPr lIns="91420" tIns="45710" rIns="91420" bIns="45710">
            <a:noAutofit/>
          </a:bodyPr>
          <a:lstStyle>
            <a:lvl1pPr marL="114288" indent="-114288" algn="l" defTabSz="914270" rtl="0" eaLnBrk="1" latinLnBrk="0" hangingPunct="1">
              <a:lnSpc>
                <a:spcPct val="90000"/>
              </a:lnSpc>
              <a:spcBef>
                <a:spcPts val="0"/>
              </a:spcBef>
              <a:buNone/>
              <a:defRPr lang="en-US" sz="2000" kern="1200" baseline="0" dirty="0" smtClean="0">
                <a:solidFill>
                  <a:schemeClr val="tx2"/>
                </a:solidFill>
                <a:latin typeface="+mn-lt"/>
                <a:ea typeface="+mn-ea"/>
                <a:cs typeface="CiscoSans ExtraLight"/>
              </a:defRPr>
            </a:lvl1pPr>
            <a:lvl2pPr marL="114288" indent="-114288" algn="l" defTabSz="914270" rtl="0" eaLnBrk="1" latinLnBrk="0" hangingPunct="1">
              <a:defRPr lang="en-US" sz="2000" kern="1200" dirty="0" smtClean="0">
                <a:solidFill>
                  <a:schemeClr val="accent2"/>
                </a:solidFill>
                <a:latin typeface="Ciscolight" pitchFamily="2" charset="0"/>
                <a:ea typeface="+mn-ea"/>
                <a:cs typeface="+mn-cs"/>
              </a:defRPr>
            </a:lvl2pPr>
            <a:lvl3pPr marL="114288" indent="-114288" algn="l" defTabSz="914270" rtl="0" eaLnBrk="1" latinLnBrk="0" hangingPunct="1">
              <a:defRPr lang="en-US" sz="2000" kern="1200" dirty="0" smtClean="0">
                <a:solidFill>
                  <a:schemeClr val="accent2"/>
                </a:solidFill>
                <a:latin typeface="Ciscolight" pitchFamily="2" charset="0"/>
                <a:ea typeface="+mn-ea"/>
                <a:cs typeface="+mn-cs"/>
              </a:defRPr>
            </a:lvl3pPr>
            <a:lvl4pPr marL="114288" indent="-114288" algn="l" defTabSz="914270" rtl="0" eaLnBrk="1" latinLnBrk="0" hangingPunct="1">
              <a:defRPr lang="en-US" sz="2000" kern="1200" dirty="0" smtClean="0">
                <a:solidFill>
                  <a:schemeClr val="accent2"/>
                </a:solidFill>
                <a:latin typeface="Ciscolight" pitchFamily="2" charset="0"/>
                <a:ea typeface="+mn-ea"/>
                <a:cs typeface="+mn-cs"/>
              </a:defRPr>
            </a:lvl4pPr>
            <a:lvl5pPr marL="114288" indent="-114288" algn="l" defTabSz="914270" rtl="0" eaLnBrk="1" latinLnBrk="0" hangingPunct="1">
              <a:defRPr lang="en-US" sz="2000" kern="1200" dirty="0" smtClean="0">
                <a:solidFill>
                  <a:schemeClr val="accent2"/>
                </a:solidFill>
                <a:latin typeface="Ciscolight" pitchFamily="2" charset="0"/>
                <a:ea typeface="+mn-ea"/>
                <a:cs typeface="+mn-cs"/>
              </a:defRPr>
            </a:lvl5pPr>
          </a:lstStyle>
          <a:p>
            <a:pPr lvl="0"/>
            <a:r>
              <a:rPr lang="en-US"/>
              <a:t>Click to edit Master text styles</a:t>
            </a:r>
          </a:p>
        </p:txBody>
      </p:sp>
      <p:sp>
        <p:nvSpPr>
          <p:cNvPr id="19" name="Text Placeholder 18"/>
          <p:cNvSpPr>
            <a:spLocks noGrp="1"/>
          </p:cNvSpPr>
          <p:nvPr>
            <p:ph type="body" sz="quarter" idx="14"/>
          </p:nvPr>
        </p:nvSpPr>
        <p:spPr>
          <a:xfrm>
            <a:off x="6864942" y="4736592"/>
            <a:ext cx="4674993" cy="338328"/>
          </a:xfrm>
          <a:prstGeom prst="rect">
            <a:avLst/>
          </a:prstGeom>
        </p:spPr>
        <p:txBody>
          <a:bodyPr lIns="91420" tIns="45710" rIns="91420" bIns="45710">
            <a:noAutofit/>
          </a:bodyPr>
          <a:lstStyle>
            <a:lvl1pPr marL="0" indent="0">
              <a:buClr>
                <a:schemeClr val="tx2"/>
              </a:buClr>
              <a:buFontTx/>
              <a:buNone/>
              <a:defRPr sz="1600">
                <a:solidFill>
                  <a:schemeClr val="tx2"/>
                </a:solidFill>
                <a:latin typeface="+mn-lt"/>
                <a:cs typeface="CiscoSans ExtraLight"/>
              </a:defRPr>
            </a:lvl1pPr>
          </a:lstStyle>
          <a:p>
            <a:pPr lvl="0"/>
            <a:r>
              <a:rPr lang="en-US"/>
              <a:t>Click to edit Master text styles</a:t>
            </a:r>
          </a:p>
        </p:txBody>
      </p:sp>
      <p:sp>
        <p:nvSpPr>
          <p:cNvPr id="9" name="Text Placeholder 3"/>
          <p:cNvSpPr>
            <a:spLocks noGrp="1"/>
          </p:cNvSpPr>
          <p:nvPr>
            <p:ph type="body" sz="quarter" idx="10"/>
          </p:nvPr>
        </p:nvSpPr>
        <p:spPr>
          <a:xfrm>
            <a:off x="583689" y="1797051"/>
            <a:ext cx="5201497" cy="4110792"/>
          </a:xfrm>
          <a:prstGeom prst="rect">
            <a:avLst/>
          </a:prstGeom>
        </p:spPr>
        <p:txBody>
          <a:bodyPr lIns="91420" tIns="45710" rIns="91420" bIns="45710">
            <a:noAutofit/>
          </a:bodyPr>
          <a:lstStyle>
            <a:lvl1pPr marL="304732" indent="-228548">
              <a:lnSpc>
                <a:spcPct val="95000"/>
              </a:lnSpc>
              <a:spcBef>
                <a:spcPts val="1480"/>
              </a:spcBef>
              <a:buClr>
                <a:schemeClr val="tx2"/>
              </a:buClr>
              <a:buSzPct val="80000"/>
              <a:buFont typeface="Arial"/>
              <a:buChar char="•"/>
              <a:defRPr sz="2667" b="0" i="0">
                <a:solidFill>
                  <a:schemeClr val="tx2"/>
                </a:solidFill>
                <a:latin typeface="+mn-lt"/>
                <a:cs typeface="CiscoSans ExtraLight"/>
              </a:defRPr>
            </a:lvl1pPr>
            <a:lvl2pPr marL="609458"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838006" indent="-228548">
              <a:buClr>
                <a:schemeClr val="tx2"/>
              </a:buClr>
              <a:buSzPct val="80000"/>
              <a:buFont typeface="Arial"/>
              <a:buChar char="•"/>
              <a:defRPr sz="2133" b="0" i="0">
                <a:solidFill>
                  <a:schemeClr val="tx2"/>
                </a:solidFill>
                <a:latin typeface="+mn-lt"/>
                <a:cs typeface="CiscoSans ExtraLight"/>
              </a:defRPr>
            </a:lvl3pPr>
            <a:lvl4pPr marL="1066552" indent="-228548">
              <a:buClr>
                <a:schemeClr val="tx2"/>
              </a:buClr>
              <a:buSzPct val="80000"/>
              <a:buFont typeface="Arial"/>
              <a:buChar char="•"/>
              <a:defRPr sz="1867" b="0" i="0">
                <a:solidFill>
                  <a:schemeClr val="tx2"/>
                </a:solidFill>
                <a:latin typeface="+mn-lt"/>
                <a:cs typeface="CiscoSans ExtraLight"/>
              </a:defRPr>
            </a:lvl4pPr>
            <a:lvl5pPr marL="1295097" indent="-228548">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183448309"/>
      </p:ext>
    </p:extLst>
  </p:cSld>
  <p:clrMapOvr>
    <a:masterClrMapping/>
  </p:clrMapOvr>
  <p:transition spd="med">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spid="_x0000_s7721" name="think-cell Slide" r:id="rId4" imgW="381" imgH="286" progId="TCLayout.ActiveDocument.1">
                  <p:embed/>
                </p:oleObj>
              </mc:Choice>
              <mc:Fallback>
                <p:oleObj name="think-cell Slide" r:id="rId4" imgW="381" imgH="286"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035020657"/>
      </p:ext>
    </p:extLst>
  </p:cSld>
  <p:clrMapOvr>
    <a:masterClrMapping/>
  </p:clrMapOvr>
  <p:transition spd="med">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2"/>
                </a:solidFill>
                <a:latin typeface="+mj-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6133"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01861541"/>
      </p:ext>
    </p:extLst>
  </p:cSld>
  <p:clrMapOvr>
    <a:masterClrMapping/>
  </p:clrMapOvr>
  <p:transition spd="med">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6146800" y="812801"/>
            <a:ext cx="0" cy="5312833"/>
          </a:xfrm>
          <a:prstGeom prst="line">
            <a:avLst/>
          </a:prstGeom>
          <a:ln w="38100" cap="flat" cmpd="sng">
            <a:solidFill>
              <a:srgbClr val="004BAF"/>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618351" y="1918747"/>
            <a:ext cx="5093797" cy="3020519"/>
          </a:xfrm>
        </p:spPr>
        <p:txBody>
          <a:bodyPr lIns="61715" tIns="34288" rIns="61715" bIns="34288" rtlCol="0">
            <a:noAutofit/>
          </a:bodyPr>
          <a:lstStyle>
            <a:lvl1pPr marL="0" indent="0" algn="l" defTabSz="914308" rtl="0" eaLnBrk="1" latinLnBrk="0" hangingPunct="1">
              <a:lnSpc>
                <a:spcPct val="80000"/>
              </a:lnSpc>
              <a:spcBef>
                <a:spcPct val="0"/>
              </a:spcBef>
              <a:buClr>
                <a:schemeClr val="tx1"/>
              </a:buClr>
              <a:buFont typeface="Ciscolight" pitchFamily="2" charset="0"/>
              <a:buNone/>
              <a:defRPr lang="en-US" sz="6000" b="0" kern="1200" spc="0" baseline="0" dirty="0">
                <a:solidFill>
                  <a:srgbClr val="555558"/>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6563360" y="872691"/>
            <a:ext cx="5154507" cy="5120640"/>
          </a:xfrm>
          <a:prstGeom prst="rect">
            <a:avLst/>
          </a:prstGeom>
        </p:spPr>
        <p:txBody>
          <a:bodyPr lIns="91420" tIns="45710" rIns="91420" bIns="45710" anchor="ctr" anchorCtr="0">
            <a:noAutofit/>
          </a:bodyPr>
          <a:lstStyle>
            <a:lvl1pPr marL="0" indent="0">
              <a:buFontTx/>
              <a:buNone/>
              <a:defRPr sz="2133" baseline="0">
                <a:solidFill>
                  <a:schemeClr val="tx2"/>
                </a:solidFill>
                <a:latin typeface="+mn-lt"/>
              </a:defRPr>
            </a:lvl1pPr>
            <a:lvl2pPr>
              <a:defRPr sz="2000"/>
            </a:lvl2pPr>
            <a:lvl3pPr>
              <a:defRPr sz="2000"/>
            </a:lvl3pPr>
            <a:lvl4pPr>
              <a:defRPr sz="2000"/>
            </a:lvl4pPr>
            <a:lvl5pPr>
              <a:defRPr sz="2000"/>
            </a:lvl5pPr>
          </a:lstStyle>
          <a:p>
            <a:pPr lvl="0"/>
            <a:r>
              <a:rPr lang="en-US"/>
              <a:t>Click to edit Master text styles</a:t>
            </a:r>
          </a:p>
        </p:txBody>
      </p:sp>
    </p:spTree>
    <p:extLst>
      <p:ext uri="{BB962C8B-B14F-4D97-AF65-F5344CB8AC3E}">
        <p14:creationId xmlns:p14="http://schemas.microsoft.com/office/powerpoint/2010/main" val="1717974982"/>
      </p:ext>
    </p:extLst>
  </p:cSld>
  <p:clrMapOvr>
    <a:masterClrMapping/>
  </p:clrMapOvr>
  <p:transition spd="slow">
    <p:wip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84043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83688" y="1797051"/>
            <a:ext cx="11127317" cy="3544971"/>
          </a:xfrm>
          <a:prstGeom prst="rect">
            <a:avLst/>
          </a:prstGeom>
        </p:spPr>
        <p:txBody>
          <a:bodyPr lIns="91420" tIns="45710" rIns="91420" bIns="45710">
            <a:noAutofit/>
          </a:bodyPr>
          <a:lstStyle>
            <a:lvl1pPr marL="0" indent="0" algn="ctr">
              <a:buNone/>
              <a:defRPr sz="2667" baseline="0">
                <a:solidFill>
                  <a:schemeClr val="tx2"/>
                </a:solidFill>
                <a:latin typeface="+mn-lt"/>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2133" b="0" i="0">
                <a:solidFill>
                  <a:schemeClr val="tx2"/>
                </a:solidFill>
                <a:latin typeface="+mj-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67240555"/>
      </p:ext>
    </p:extLst>
  </p:cSld>
  <p:clrMapOvr>
    <a:masterClrMapping/>
  </p:clrMapOvr>
  <p:transition spd="med">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83688" y="1799167"/>
            <a:ext cx="11127317" cy="3547533"/>
          </a:xfrm>
          <a:prstGeom prst="rect">
            <a:avLst/>
          </a:prstGeom>
        </p:spPr>
        <p:txBody>
          <a:bodyPr vert="horz" lIns="91420" tIns="45710" rIns="91420" bIns="45710">
            <a:noAutofit/>
          </a:bodyPr>
          <a:lstStyle>
            <a:lvl1pPr marL="0" indent="0" algn="ctr">
              <a:buNone/>
              <a:defRPr sz="2667" b="0" i="0">
                <a:solidFill>
                  <a:schemeClr val="tx2"/>
                </a:solidFill>
                <a:latin typeface="+mn-lt"/>
                <a:cs typeface="CiscoSans ExtraLight"/>
              </a:defRPr>
            </a:lvl1pPr>
          </a:lstStyle>
          <a:p>
            <a:pPr lvl="0"/>
            <a:r>
              <a:rPr lang="en-US" noProof="0" dirty="0"/>
              <a:t>Click icon to add chart</a:t>
            </a:r>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2133" b="0" i="0">
                <a:solidFill>
                  <a:schemeClr val="tx2"/>
                </a:solidFill>
                <a:latin typeface="+mj-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0952712"/>
      </p:ext>
    </p:extLst>
  </p:cSld>
  <p:clrMapOvr>
    <a:masterClrMapping/>
  </p:clrMapOvr>
  <p:transition spd="med">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583689" y="1799275"/>
            <a:ext cx="5342668" cy="4054364"/>
          </a:xfrm>
          <a:prstGeom prst="rect">
            <a:avLst/>
          </a:prstGeom>
        </p:spPr>
        <p:txBody>
          <a:bodyPr lIns="91420" tIns="45710" rIns="91420" bIns="45710"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 name="Chart Placeholder 2"/>
          <p:cNvSpPr>
            <a:spLocks noGrp="1"/>
          </p:cNvSpPr>
          <p:nvPr>
            <p:ph type="chart" sz="quarter" idx="12"/>
          </p:nvPr>
        </p:nvSpPr>
        <p:spPr>
          <a:xfrm>
            <a:off x="6279877" y="1799166"/>
            <a:ext cx="5431128" cy="4052529"/>
          </a:xfrm>
          <a:prstGeom prst="rect">
            <a:avLst/>
          </a:prstGeom>
        </p:spPr>
        <p:txBody>
          <a:bodyPr vert="horz" lIns="91420" tIns="45710" rIns="91420" bIns="45710">
            <a:noAutofit/>
          </a:bodyPr>
          <a:lstStyle>
            <a:lvl1pPr marL="0" indent="0" algn="ctr">
              <a:buNone/>
              <a:defRPr sz="2667">
                <a:solidFill>
                  <a:schemeClr val="tx2"/>
                </a:solidFill>
                <a:latin typeface="+mn-lt"/>
                <a:cs typeface="CiscoSans ExtraLight"/>
              </a:defRPr>
            </a:lvl1pPr>
          </a:lstStyle>
          <a:p>
            <a:pPr lvl="0"/>
            <a:r>
              <a:rPr lang="en-US" noProof="0" dirty="0"/>
              <a:t>Click icon to add chart</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09601716"/>
      </p:ext>
    </p:extLst>
  </p:cSld>
  <p:clrMapOvr>
    <a:masterClrMapping/>
  </p:clrMapOvr>
  <p:transition spd="med">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583689" y="1799139"/>
            <a:ext cx="5338660" cy="4054500"/>
          </a:xfrm>
          <a:prstGeom prst="rect">
            <a:avLst/>
          </a:prstGeom>
        </p:spPr>
        <p:txBody>
          <a:bodyPr lIns="91420" tIns="45710" rIns="91420" bIns="45710"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Picture Placeholder 2"/>
          <p:cNvSpPr>
            <a:spLocks noGrp="1"/>
          </p:cNvSpPr>
          <p:nvPr>
            <p:ph type="pic" sz="quarter" idx="10"/>
          </p:nvPr>
        </p:nvSpPr>
        <p:spPr>
          <a:xfrm>
            <a:off x="6277480" y="1799167"/>
            <a:ext cx="5433525" cy="4054944"/>
          </a:xfrm>
          <a:prstGeom prst="rect">
            <a:avLst/>
          </a:prstGeom>
        </p:spPr>
        <p:txBody>
          <a:bodyPr vert="horz" lIns="91420" tIns="45710" rIns="91420" bIns="45710">
            <a:noAutofit/>
          </a:bodyPr>
          <a:lstStyle>
            <a:lvl1pPr marL="0" indent="0" algn="ctr">
              <a:buNone/>
              <a:defRPr sz="2667" b="0" i="0">
                <a:solidFill>
                  <a:schemeClr val="tx2"/>
                </a:solidFill>
                <a:latin typeface="+mn-lt"/>
                <a:cs typeface="CiscoSans ExtraLight"/>
              </a:defRPr>
            </a:lvl1pPr>
          </a:lstStyle>
          <a:p>
            <a:pPr lvl="0"/>
            <a:r>
              <a:rPr lang="en-US" noProof="0" dirty="0"/>
              <a:t>Click icon to add picture</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594045643"/>
      </p:ext>
    </p:extLst>
  </p:cSld>
  <p:clrMapOvr>
    <a:masterClrMapping/>
  </p:clrMapOvr>
  <p:transition spd="med">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Oval 8"/>
          <p:cNvSpPr/>
          <p:nvPr/>
        </p:nvSpPr>
        <p:spPr>
          <a:xfrm>
            <a:off x="8113185" y="2163234"/>
            <a:ext cx="3092449" cy="309033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85" fontAlgn="base">
              <a:spcBef>
                <a:spcPct val="0"/>
              </a:spcBef>
              <a:spcAft>
                <a:spcPct val="0"/>
              </a:spcAft>
              <a:defRPr/>
            </a:pPr>
            <a:endParaRPr lang="en-US" sz="2400" dirty="0">
              <a:solidFill>
                <a:srgbClr val="FFFFFF"/>
              </a:solidFill>
              <a:cs typeface="Arial"/>
            </a:endParaRPr>
          </a:p>
        </p:txBody>
      </p:sp>
      <p:sp>
        <p:nvSpPr>
          <p:cNvPr id="10" name="Oval 9"/>
          <p:cNvSpPr/>
          <p:nvPr/>
        </p:nvSpPr>
        <p:spPr>
          <a:xfrm>
            <a:off x="4563533" y="2163234"/>
            <a:ext cx="3092451" cy="309033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85" fontAlgn="base">
              <a:spcBef>
                <a:spcPct val="0"/>
              </a:spcBef>
              <a:spcAft>
                <a:spcPct val="0"/>
              </a:spcAft>
              <a:defRPr/>
            </a:pPr>
            <a:endParaRPr lang="en-US" sz="2400" dirty="0">
              <a:solidFill>
                <a:srgbClr val="FFFFFF"/>
              </a:solidFill>
              <a:cs typeface="Arial"/>
            </a:endParaRPr>
          </a:p>
        </p:txBody>
      </p:sp>
      <p:sp>
        <p:nvSpPr>
          <p:cNvPr id="11" name="Oval 10"/>
          <p:cNvSpPr/>
          <p:nvPr/>
        </p:nvSpPr>
        <p:spPr>
          <a:xfrm>
            <a:off x="1018118" y="2163234"/>
            <a:ext cx="3092449" cy="3090333"/>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85" fontAlgn="base">
              <a:spcBef>
                <a:spcPct val="0"/>
              </a:spcBef>
              <a:spcAft>
                <a:spcPct val="0"/>
              </a:spcAft>
              <a:defRPr/>
            </a:pPr>
            <a:endParaRPr lang="en-US" sz="2400" dirty="0">
              <a:solidFill>
                <a:srgbClr val="FFFFFF"/>
              </a:solidFill>
              <a:cs typeface="Arial"/>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17" name="Text Placeholder 17"/>
          <p:cNvSpPr>
            <a:spLocks noGrp="1"/>
          </p:cNvSpPr>
          <p:nvPr>
            <p:ph type="body" sz="quarter" idx="11"/>
          </p:nvPr>
        </p:nvSpPr>
        <p:spPr>
          <a:xfrm>
            <a:off x="1036647" y="3733524"/>
            <a:ext cx="3056181" cy="804881"/>
          </a:xfrm>
          <a:prstGeom prst="rect">
            <a:avLst/>
          </a:prstGeom>
        </p:spPr>
        <p:txBody>
          <a:bodyPr lIns="91420" tIns="45710" rIns="91420" bIns="45710" anchor="ctr" anchorCtr="0">
            <a:noAutofit/>
          </a:bodyPr>
          <a:lstStyle>
            <a:lvl1pPr marL="0" indent="0" algn="ctr">
              <a:buNone/>
              <a:defRPr sz="2667"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8" name="Text Placeholder 17"/>
          <p:cNvSpPr>
            <a:spLocks noGrp="1"/>
          </p:cNvSpPr>
          <p:nvPr>
            <p:ph type="body" sz="quarter" idx="12"/>
          </p:nvPr>
        </p:nvSpPr>
        <p:spPr>
          <a:xfrm>
            <a:off x="4581926" y="3730928"/>
            <a:ext cx="3056181" cy="804881"/>
          </a:xfrm>
          <a:prstGeom prst="rect">
            <a:avLst/>
          </a:prstGeom>
        </p:spPr>
        <p:txBody>
          <a:bodyPr lIns="91420" tIns="45710" rIns="91420" bIns="45710" anchor="ctr" anchorCtr="0">
            <a:noAutofit/>
          </a:bodyPr>
          <a:lstStyle>
            <a:lvl1pPr marL="0" indent="0" algn="ctr">
              <a:buNone/>
              <a:defRPr sz="2667"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13"/>
          </p:nvPr>
        </p:nvSpPr>
        <p:spPr>
          <a:xfrm>
            <a:off x="8131107" y="3730928"/>
            <a:ext cx="3056181" cy="804881"/>
          </a:xfrm>
          <a:prstGeom prst="rect">
            <a:avLst/>
          </a:prstGeom>
        </p:spPr>
        <p:txBody>
          <a:bodyPr lIns="91420" tIns="45710" rIns="91420" bIns="45710" anchor="ctr" anchorCtr="0">
            <a:noAutofit/>
          </a:bodyPr>
          <a:lstStyle>
            <a:lvl1pPr marL="0" indent="0" algn="ctr">
              <a:buNone/>
              <a:defRPr sz="2667"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4" name="Picture Placeholder 5"/>
          <p:cNvSpPr>
            <a:spLocks noGrp="1"/>
          </p:cNvSpPr>
          <p:nvPr>
            <p:ph type="pic" sz="quarter" idx="14"/>
          </p:nvPr>
        </p:nvSpPr>
        <p:spPr>
          <a:xfrm>
            <a:off x="2027767" y="2857372"/>
            <a:ext cx="1051984" cy="1051984"/>
          </a:xfrm>
          <a:prstGeom prst="rect">
            <a:avLst/>
          </a:prstGeom>
        </p:spPr>
        <p:txBody>
          <a:bodyPr vert="horz"/>
          <a:lstStyle>
            <a:lvl1pPr marL="0" indent="0" algn="ctr">
              <a:buNone/>
              <a:defRPr sz="1600">
                <a:solidFill>
                  <a:schemeClr val="bg1"/>
                </a:solidFill>
              </a:defRPr>
            </a:lvl1pPr>
          </a:lstStyle>
          <a:p>
            <a:pPr lvl="0"/>
            <a:r>
              <a:rPr lang="en-US" noProof="0" dirty="0"/>
              <a:t>Click icon to add picture</a:t>
            </a:r>
          </a:p>
        </p:txBody>
      </p:sp>
      <p:sp>
        <p:nvSpPr>
          <p:cNvPr id="16" name="Picture Placeholder 5"/>
          <p:cNvSpPr>
            <a:spLocks noGrp="1"/>
          </p:cNvSpPr>
          <p:nvPr>
            <p:ph type="pic" sz="quarter" idx="15"/>
          </p:nvPr>
        </p:nvSpPr>
        <p:spPr>
          <a:xfrm>
            <a:off x="5603827" y="2870412"/>
            <a:ext cx="1051984" cy="1051984"/>
          </a:xfrm>
          <a:prstGeom prst="rect">
            <a:avLst/>
          </a:prstGeom>
        </p:spPr>
        <p:txBody>
          <a:bodyPr vert="horz"/>
          <a:lstStyle>
            <a:lvl1pPr marL="0" indent="0" algn="ctr">
              <a:buNone/>
              <a:defRPr sz="1600">
                <a:solidFill>
                  <a:schemeClr val="bg1"/>
                </a:solidFill>
              </a:defRPr>
            </a:lvl1pPr>
          </a:lstStyle>
          <a:p>
            <a:pPr lvl="0"/>
            <a:r>
              <a:rPr lang="en-US" noProof="0" dirty="0"/>
              <a:t>Click icon to add picture</a:t>
            </a:r>
          </a:p>
        </p:txBody>
      </p:sp>
      <p:sp>
        <p:nvSpPr>
          <p:cNvPr id="21" name="Picture Placeholder 5"/>
          <p:cNvSpPr>
            <a:spLocks noGrp="1"/>
          </p:cNvSpPr>
          <p:nvPr>
            <p:ph type="pic" sz="quarter" idx="16"/>
          </p:nvPr>
        </p:nvSpPr>
        <p:spPr>
          <a:xfrm>
            <a:off x="9122480" y="2857372"/>
            <a:ext cx="1051984" cy="1051984"/>
          </a:xfrm>
          <a:prstGeom prst="rect">
            <a:avLst/>
          </a:prstGeom>
        </p:spPr>
        <p:txBody>
          <a:bodyPr vert="horz"/>
          <a:lstStyle>
            <a:lvl1pPr marL="0" indent="0" algn="ctr">
              <a:buNone/>
              <a:defRPr sz="1600">
                <a:solidFill>
                  <a:schemeClr val="bg1"/>
                </a:solidFill>
              </a:defRPr>
            </a:lvl1pPr>
          </a:lstStyle>
          <a:p>
            <a:pPr lvl="0"/>
            <a:r>
              <a:rPr lang="en-US" noProof="0" dirty="0"/>
              <a:t>Click icon to add picture</a:t>
            </a:r>
          </a:p>
        </p:txBody>
      </p:sp>
    </p:spTree>
    <p:extLst>
      <p:ext uri="{BB962C8B-B14F-4D97-AF65-F5344CB8AC3E}">
        <p14:creationId xmlns:p14="http://schemas.microsoft.com/office/powerpoint/2010/main" val="170663121"/>
      </p:ext>
    </p:extLst>
  </p:cSld>
  <p:clrMapOvr>
    <a:masterClrMapping/>
  </p:clrMapOvr>
  <p:transition spd="slow">
    <p:wip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1032934" y="2163234"/>
            <a:ext cx="3075517" cy="3075517"/>
          </a:xfrm>
          <a:prstGeom prst="ellipse">
            <a:avLst/>
          </a:prstGeom>
          <a:solidFill>
            <a:srgbClr val="000000">
              <a:alpha val="30196"/>
            </a:srgbClr>
          </a:solidFill>
          <a:ln>
            <a:noFill/>
          </a:ln>
          <a:extLst>
            <a:ext uri="{91240B29-F687-4f45-9708-019B960494DF}">
              <a14:hiddenLine xmlns="" xmlns:a14="http://schemas.microsoft.com/office/drawing/2010/main" w="25400" algn="ctr">
                <a:solidFill>
                  <a:srgbClr val="000000"/>
                </a:solidFill>
                <a:round/>
                <a:headEnd/>
                <a:tailEnd/>
              </a14:hiddenLine>
            </a:ext>
          </a:extLst>
        </p:spPr>
        <p:txBody>
          <a:bodyPr lIns="91436" tIns="45719" rIns="91436" bIns="4571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9170" eaLnBrk="1" fontAlgn="base" hangingPunct="1">
              <a:spcBef>
                <a:spcPct val="0"/>
              </a:spcBef>
              <a:spcAft>
                <a:spcPct val="0"/>
              </a:spcAft>
            </a:pPr>
            <a:endParaRPr lang="en-US" altLang="en-US" sz="2400" dirty="0">
              <a:solidFill>
                <a:srgbClr val="FFFFFF"/>
              </a:solidFill>
            </a:endParaRPr>
          </a:p>
        </p:txBody>
      </p:sp>
      <p:sp>
        <p:nvSpPr>
          <p:cNvPr id="13" name="Oval 7"/>
          <p:cNvSpPr>
            <a:spLocks noChangeArrowheads="1"/>
          </p:cNvSpPr>
          <p:nvPr/>
        </p:nvSpPr>
        <p:spPr bwMode="auto">
          <a:xfrm>
            <a:off x="4563534" y="2163234"/>
            <a:ext cx="3075517" cy="3075517"/>
          </a:xfrm>
          <a:prstGeom prst="ellipse">
            <a:avLst/>
          </a:prstGeom>
          <a:solidFill>
            <a:srgbClr val="000000">
              <a:alpha val="30196"/>
            </a:srgbClr>
          </a:solidFill>
          <a:ln>
            <a:noFill/>
          </a:ln>
          <a:extLst>
            <a:ext uri="{91240B29-F687-4f45-9708-019B960494DF}">
              <a14:hiddenLine xmlns="" xmlns:a14="http://schemas.microsoft.com/office/drawing/2010/main" w="25400" algn="ctr">
                <a:solidFill>
                  <a:srgbClr val="000000"/>
                </a:solidFill>
                <a:round/>
                <a:headEnd/>
                <a:tailEnd/>
              </a14:hiddenLine>
            </a:ext>
          </a:extLst>
        </p:spPr>
        <p:txBody>
          <a:bodyPr lIns="91436" tIns="45719" rIns="91436" bIns="4571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9170" eaLnBrk="1" fontAlgn="base" hangingPunct="1">
              <a:spcBef>
                <a:spcPct val="0"/>
              </a:spcBef>
              <a:spcAft>
                <a:spcPct val="0"/>
              </a:spcAft>
            </a:pPr>
            <a:endParaRPr lang="en-US" altLang="en-US" sz="2400" dirty="0">
              <a:solidFill>
                <a:srgbClr val="FFFFFF"/>
              </a:solidFill>
            </a:endParaRPr>
          </a:p>
        </p:txBody>
      </p:sp>
      <p:sp>
        <p:nvSpPr>
          <p:cNvPr id="14" name="Oval 8"/>
          <p:cNvSpPr>
            <a:spLocks noChangeArrowheads="1"/>
          </p:cNvSpPr>
          <p:nvPr/>
        </p:nvSpPr>
        <p:spPr bwMode="auto">
          <a:xfrm>
            <a:off x="8117417" y="2163234"/>
            <a:ext cx="3073400" cy="3075517"/>
          </a:xfrm>
          <a:prstGeom prst="ellipse">
            <a:avLst/>
          </a:prstGeom>
          <a:solidFill>
            <a:srgbClr val="000000">
              <a:alpha val="30196"/>
            </a:srgbClr>
          </a:solidFill>
          <a:ln>
            <a:noFill/>
          </a:ln>
          <a:extLst>
            <a:ext uri="{91240B29-F687-4f45-9708-019B960494DF}">
              <a14:hiddenLine xmlns="" xmlns:a14="http://schemas.microsoft.com/office/drawing/2010/main" w="25400" algn="ctr">
                <a:solidFill>
                  <a:srgbClr val="000000"/>
                </a:solidFill>
                <a:round/>
                <a:headEnd/>
                <a:tailEnd/>
              </a14:hiddenLine>
            </a:ext>
          </a:extLst>
        </p:spPr>
        <p:txBody>
          <a:bodyPr lIns="91436" tIns="45719" rIns="91436" bIns="4571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1219170" eaLnBrk="1" fontAlgn="base" hangingPunct="1">
              <a:spcBef>
                <a:spcPct val="0"/>
              </a:spcBef>
              <a:spcAft>
                <a:spcPct val="0"/>
              </a:spcAft>
            </a:pPr>
            <a:endParaRPr lang="en-US" altLang="en-US" sz="2400" dirty="0">
              <a:solidFill>
                <a:srgbClr val="FFFFFF"/>
              </a:solidFill>
            </a:endParaRPr>
          </a:p>
        </p:txBody>
      </p:sp>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lvl="0"/>
            <a:r>
              <a:rPr lang="en-US"/>
              <a:t>Click to edit Master title style</a:t>
            </a:r>
            <a:endParaRPr lang="en-GB" dirty="0"/>
          </a:p>
        </p:txBody>
      </p:sp>
      <p:sp>
        <p:nvSpPr>
          <p:cNvPr id="35" name="Picture Placeholder 25"/>
          <p:cNvSpPr>
            <a:spLocks noGrp="1"/>
          </p:cNvSpPr>
          <p:nvPr>
            <p:ph type="pic" sz="quarter" idx="10"/>
          </p:nvPr>
        </p:nvSpPr>
        <p:spPr>
          <a:xfrm>
            <a:off x="1033287" y="2163193"/>
            <a:ext cx="3074624"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baseline="0">
                <a:solidFill>
                  <a:schemeClr val="tx1"/>
                </a:solidFill>
                <a:latin typeface="+mj-lt"/>
              </a:defRPr>
            </a:lvl1pPr>
          </a:lstStyle>
          <a:p>
            <a:pPr lvl="0"/>
            <a:r>
              <a:rPr lang="en-US" noProof="0" dirty="0"/>
              <a:t>Click icon to add picture</a:t>
            </a:r>
          </a:p>
        </p:txBody>
      </p:sp>
      <p:sp>
        <p:nvSpPr>
          <p:cNvPr id="37" name="Picture Placeholder 25"/>
          <p:cNvSpPr>
            <a:spLocks noGrp="1"/>
          </p:cNvSpPr>
          <p:nvPr>
            <p:ph type="pic" sz="quarter" idx="11"/>
          </p:nvPr>
        </p:nvSpPr>
        <p:spPr>
          <a:xfrm>
            <a:off x="4563981" y="2163193"/>
            <a:ext cx="3074624"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a:solidFill>
                  <a:schemeClr val="tx1"/>
                </a:solidFill>
                <a:latin typeface="+mj-lt"/>
              </a:defRPr>
            </a:lvl1pPr>
          </a:lstStyle>
          <a:p>
            <a:pPr lvl="0"/>
            <a:r>
              <a:rPr lang="en-US" noProof="0" dirty="0"/>
              <a:t>Click icon to add picture</a:t>
            </a:r>
          </a:p>
        </p:txBody>
      </p:sp>
      <p:sp>
        <p:nvSpPr>
          <p:cNvPr id="39" name="Picture Placeholder 25"/>
          <p:cNvSpPr>
            <a:spLocks noGrp="1"/>
          </p:cNvSpPr>
          <p:nvPr>
            <p:ph type="pic" sz="quarter" idx="12"/>
          </p:nvPr>
        </p:nvSpPr>
        <p:spPr>
          <a:xfrm>
            <a:off x="8116671" y="2163193"/>
            <a:ext cx="3074624" cy="3074624"/>
          </a:xfrm>
          <a:prstGeom prst="ellipse">
            <a:avLst/>
          </a:prstGeom>
          <a:solidFill>
            <a:schemeClr val="bg1">
              <a:alpha val="30000"/>
            </a:schemeClr>
          </a:solidFill>
          <a:ln>
            <a:noFill/>
          </a:ln>
          <a:effectLst/>
        </p:spPr>
        <p:txBody>
          <a:bodyPr lIns="91424" tIns="45712" rIns="91424" bIns="45712" anchor="ctr" anchorCtr="0"/>
          <a:lstStyle>
            <a:lvl1pPr algn="l">
              <a:buFontTx/>
              <a:buNone/>
              <a:defRPr sz="1733">
                <a:solidFill>
                  <a:schemeClr val="tx1"/>
                </a:solidFill>
                <a:latin typeface="+mj-lt"/>
              </a:defRPr>
            </a:lvl1pPr>
          </a:lstStyle>
          <a:p>
            <a:pPr lvl="0"/>
            <a:r>
              <a:rPr lang="en-US" noProof="0" dirty="0"/>
              <a:t>Click icon to add picture</a:t>
            </a:r>
          </a:p>
        </p:txBody>
      </p:sp>
      <p:sp>
        <p:nvSpPr>
          <p:cNvPr id="9" name="Text Placeholder 17"/>
          <p:cNvSpPr>
            <a:spLocks noGrp="1"/>
          </p:cNvSpPr>
          <p:nvPr>
            <p:ph type="body" sz="quarter" idx="13"/>
          </p:nvPr>
        </p:nvSpPr>
        <p:spPr>
          <a:xfrm>
            <a:off x="1051730" y="5164185"/>
            <a:ext cx="3056181" cy="804881"/>
          </a:xfrm>
          <a:prstGeom prst="rect">
            <a:avLst/>
          </a:prstGeom>
        </p:spPr>
        <p:txBody>
          <a:bodyPr lIns="91420" tIns="45710" rIns="91420" bIns="45710" anchor="ctr" anchorCtr="0">
            <a:noAutofit/>
          </a:bodyPr>
          <a:lstStyle>
            <a:lvl1pPr marL="0" indent="0" algn="ctr">
              <a:buNone/>
              <a:defRPr sz="2667"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0" name="Text Placeholder 17"/>
          <p:cNvSpPr>
            <a:spLocks noGrp="1"/>
          </p:cNvSpPr>
          <p:nvPr>
            <p:ph type="body" sz="quarter" idx="14"/>
          </p:nvPr>
        </p:nvSpPr>
        <p:spPr>
          <a:xfrm>
            <a:off x="4582424" y="5161589"/>
            <a:ext cx="3056181" cy="804881"/>
          </a:xfrm>
          <a:prstGeom prst="rect">
            <a:avLst/>
          </a:prstGeom>
        </p:spPr>
        <p:txBody>
          <a:bodyPr lIns="91420" tIns="45710" rIns="91420" bIns="45710" anchor="ctr" anchorCtr="0">
            <a:noAutofit/>
          </a:bodyPr>
          <a:lstStyle>
            <a:lvl1pPr marL="0" indent="0" algn="ctr">
              <a:buNone/>
              <a:defRPr sz="2667"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Text Placeholder 17"/>
          <p:cNvSpPr>
            <a:spLocks noGrp="1"/>
          </p:cNvSpPr>
          <p:nvPr>
            <p:ph type="body" sz="quarter" idx="15"/>
          </p:nvPr>
        </p:nvSpPr>
        <p:spPr>
          <a:xfrm>
            <a:off x="8135114" y="5161589"/>
            <a:ext cx="3056181" cy="804881"/>
          </a:xfrm>
          <a:prstGeom prst="rect">
            <a:avLst/>
          </a:prstGeom>
        </p:spPr>
        <p:txBody>
          <a:bodyPr lIns="91420" tIns="45710" rIns="91420" bIns="45710" anchor="ctr" anchorCtr="0">
            <a:noAutofit/>
          </a:bodyPr>
          <a:lstStyle>
            <a:lvl1pPr marL="0" indent="0" algn="ctr">
              <a:buNone/>
              <a:defRPr sz="2667"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Tree>
    <p:extLst>
      <p:ext uri="{BB962C8B-B14F-4D97-AF65-F5344CB8AC3E}">
        <p14:creationId xmlns:p14="http://schemas.microsoft.com/office/powerpoint/2010/main" val="974849226"/>
      </p:ext>
    </p:extLst>
  </p:cSld>
  <p:clrMapOvr>
    <a:masterClrMapping/>
  </p:clrMapOvr>
  <p:transition spd="slow">
    <p:wip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userDrawn="1"/>
        </p:nvSpPr>
        <p:spPr>
          <a:xfrm>
            <a:off x="767480" y="3403400"/>
            <a:ext cx="931499" cy="931499"/>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solidFill>
                <a:srgbClr val="049FD9"/>
              </a:solidFill>
              <a:cs typeface="Arial"/>
            </a:endParaRPr>
          </a:p>
        </p:txBody>
      </p:sp>
      <p:sp>
        <p:nvSpPr>
          <p:cNvPr id="15" name="Oval 14"/>
          <p:cNvSpPr/>
          <p:nvPr userDrawn="1"/>
        </p:nvSpPr>
        <p:spPr>
          <a:xfrm>
            <a:off x="767480" y="1902143"/>
            <a:ext cx="931499" cy="931499"/>
          </a:xfrm>
          <a:prstGeom prst="ellipse">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CD4"/>
                </a:solidFill>
              </a:ln>
              <a:solidFill>
                <a:srgbClr val="049FD9"/>
              </a:solidFill>
              <a:cs typeface="Arial"/>
            </a:endParaRPr>
          </a:p>
        </p:txBody>
      </p:sp>
      <p:sp>
        <p:nvSpPr>
          <p:cNvPr id="22" name="Oval 21"/>
          <p:cNvSpPr/>
          <p:nvPr userDrawn="1"/>
        </p:nvSpPr>
        <p:spPr>
          <a:xfrm>
            <a:off x="767480" y="4870791"/>
            <a:ext cx="931499" cy="931499"/>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solidFill>
                <a:srgbClr val="049FD9"/>
              </a:solidFill>
              <a:cs typeface="Arial"/>
            </a:endParaRPr>
          </a:p>
        </p:txBody>
      </p:sp>
      <p:sp>
        <p:nvSpPr>
          <p:cNvPr id="24" name="Text Placeholder 17"/>
          <p:cNvSpPr>
            <a:spLocks noGrp="1"/>
          </p:cNvSpPr>
          <p:nvPr>
            <p:ph type="body" sz="quarter" idx="13"/>
          </p:nvPr>
        </p:nvSpPr>
        <p:spPr>
          <a:xfrm>
            <a:off x="1820333" y="1910030"/>
            <a:ext cx="7298267"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820333" y="3410391"/>
            <a:ext cx="7298267"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820333" y="4870791"/>
            <a:ext cx="7298267"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481" y="1900269"/>
            <a:ext cx="931499" cy="924508"/>
          </a:xfrm>
          <a:prstGeom prst="rect">
            <a:avLst/>
          </a:prstGeom>
        </p:spPr>
        <p:txBody>
          <a:bodyPr lIns="91420" tIns="45710" rIns="91420" bIns="45710" anchor="ctr" anchorCtr="0">
            <a:noAutofit/>
          </a:bodyPr>
          <a:lstStyle>
            <a:lvl1pPr marL="0" indent="0" algn="ctr">
              <a:buNone/>
              <a:defRPr sz="5333"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13" name="Text Placeholder 17"/>
          <p:cNvSpPr>
            <a:spLocks noGrp="1"/>
          </p:cNvSpPr>
          <p:nvPr>
            <p:ph type="body" sz="quarter" idx="17" hasCustomPrompt="1"/>
          </p:nvPr>
        </p:nvSpPr>
        <p:spPr>
          <a:xfrm>
            <a:off x="767480" y="3388917"/>
            <a:ext cx="931499" cy="924508"/>
          </a:xfrm>
          <a:prstGeom prst="rect">
            <a:avLst/>
          </a:prstGeom>
        </p:spPr>
        <p:txBody>
          <a:bodyPr lIns="91420" tIns="45710" rIns="91420" bIns="45710" anchor="ctr" anchorCtr="0">
            <a:noAutofit/>
          </a:bodyPr>
          <a:lstStyle>
            <a:lvl1pPr marL="0" indent="0" algn="ctr">
              <a:buNone/>
              <a:defRPr sz="5333"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14" name="Text Placeholder 17"/>
          <p:cNvSpPr>
            <a:spLocks noGrp="1"/>
          </p:cNvSpPr>
          <p:nvPr>
            <p:ph type="body" sz="quarter" idx="18" hasCustomPrompt="1"/>
          </p:nvPr>
        </p:nvSpPr>
        <p:spPr>
          <a:xfrm>
            <a:off x="767481" y="4877782"/>
            <a:ext cx="931499" cy="924508"/>
          </a:xfrm>
          <a:prstGeom prst="rect">
            <a:avLst/>
          </a:prstGeom>
        </p:spPr>
        <p:txBody>
          <a:bodyPr lIns="91420" tIns="45710" rIns="91420" bIns="45710" anchor="ctr" anchorCtr="0">
            <a:noAutofit/>
          </a:bodyPr>
          <a:lstStyle>
            <a:lvl1pPr marL="0" indent="0" algn="ctr">
              <a:buNone/>
              <a:defRPr sz="5333"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Tree>
    <p:extLst>
      <p:ext uri="{BB962C8B-B14F-4D97-AF65-F5344CB8AC3E}">
        <p14:creationId xmlns:p14="http://schemas.microsoft.com/office/powerpoint/2010/main" val="2063984304"/>
      </p:ext>
    </p:extLst>
  </p:cSld>
  <p:clrMapOvr>
    <a:masterClrMapping/>
  </p:clrMapOvr>
  <p:transition spd="slow">
    <p:wip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userDrawn="1"/>
        </p:nvSpPr>
        <p:spPr>
          <a:xfrm>
            <a:off x="767480" y="3403400"/>
            <a:ext cx="931499" cy="931499"/>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solidFill>
                <a:srgbClr val="FFFFFF"/>
              </a:solidFill>
              <a:cs typeface="Arial"/>
            </a:endParaRPr>
          </a:p>
        </p:txBody>
      </p:sp>
      <p:sp>
        <p:nvSpPr>
          <p:cNvPr id="15" name="Oval 14"/>
          <p:cNvSpPr/>
          <p:nvPr userDrawn="1"/>
        </p:nvSpPr>
        <p:spPr>
          <a:xfrm>
            <a:off x="767480" y="1902143"/>
            <a:ext cx="931499" cy="931499"/>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CD4"/>
                </a:solidFill>
              </a:ln>
              <a:solidFill>
                <a:srgbClr val="FFFFFF"/>
              </a:solidFill>
              <a:cs typeface="Arial"/>
            </a:endParaRPr>
          </a:p>
        </p:txBody>
      </p:sp>
      <p:sp>
        <p:nvSpPr>
          <p:cNvPr id="22" name="Oval 21"/>
          <p:cNvSpPr/>
          <p:nvPr userDrawn="1"/>
        </p:nvSpPr>
        <p:spPr>
          <a:xfrm>
            <a:off x="767480" y="4870791"/>
            <a:ext cx="931499" cy="931499"/>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solidFill>
                <a:srgbClr val="049FD9"/>
              </a:solidFill>
              <a:cs typeface="Arial"/>
            </a:endParaRPr>
          </a:p>
        </p:txBody>
      </p:sp>
      <p:sp>
        <p:nvSpPr>
          <p:cNvPr id="24" name="Text Placeholder 17"/>
          <p:cNvSpPr>
            <a:spLocks noGrp="1"/>
          </p:cNvSpPr>
          <p:nvPr>
            <p:ph type="body" sz="quarter" idx="13"/>
          </p:nvPr>
        </p:nvSpPr>
        <p:spPr>
          <a:xfrm>
            <a:off x="1820333" y="1910030"/>
            <a:ext cx="7298267"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820333" y="3410391"/>
            <a:ext cx="7298267"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820333" y="4870791"/>
            <a:ext cx="7298267" cy="924508"/>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8" name="Text Placeholder 17"/>
          <p:cNvSpPr>
            <a:spLocks noGrp="1"/>
          </p:cNvSpPr>
          <p:nvPr>
            <p:ph type="body" sz="quarter" idx="17" hasCustomPrompt="1"/>
          </p:nvPr>
        </p:nvSpPr>
        <p:spPr>
          <a:xfrm>
            <a:off x="767480" y="3403401"/>
            <a:ext cx="931499" cy="924508"/>
          </a:xfrm>
          <a:prstGeom prst="rect">
            <a:avLst/>
          </a:prstGeom>
        </p:spPr>
        <p:txBody>
          <a:bodyPr lIns="91420" tIns="45710" rIns="91420" bIns="45710" anchor="ctr" anchorCtr="0">
            <a:noAutofit/>
          </a:bodyPr>
          <a:lstStyle>
            <a:lvl1pPr marL="0" indent="0" algn="ctr">
              <a:buNone/>
              <a:defRPr sz="5333"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481" y="4868187"/>
            <a:ext cx="931499" cy="924508"/>
          </a:xfrm>
          <a:prstGeom prst="rect">
            <a:avLst/>
          </a:prstGeom>
          <a:ln>
            <a:noFill/>
          </a:ln>
        </p:spPr>
        <p:txBody>
          <a:bodyPr lIns="91420" tIns="45710" rIns="91420" bIns="45710" anchor="ctr" anchorCtr="0">
            <a:noAutofit/>
          </a:bodyPr>
          <a:lstStyle>
            <a:lvl1pPr marL="0" indent="0" algn="ctr">
              <a:buNone/>
              <a:defRPr sz="5333"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Text Placeholder 17"/>
          <p:cNvSpPr>
            <a:spLocks noGrp="1"/>
          </p:cNvSpPr>
          <p:nvPr>
            <p:ph type="body" sz="quarter" idx="19" hasCustomPrompt="1"/>
          </p:nvPr>
        </p:nvSpPr>
        <p:spPr>
          <a:xfrm>
            <a:off x="767480" y="1902998"/>
            <a:ext cx="931499" cy="924508"/>
          </a:xfrm>
          <a:prstGeom prst="rect">
            <a:avLst/>
          </a:prstGeom>
        </p:spPr>
        <p:txBody>
          <a:bodyPr lIns="91420" tIns="45710" rIns="91420" bIns="45710" anchor="ctr" anchorCtr="0">
            <a:noAutofit/>
          </a:bodyPr>
          <a:lstStyle>
            <a:lvl1pPr marL="0" indent="0" algn="ctr">
              <a:buNone/>
              <a:defRPr sz="5333"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Tree>
    <p:extLst>
      <p:ext uri="{BB962C8B-B14F-4D97-AF65-F5344CB8AC3E}">
        <p14:creationId xmlns:p14="http://schemas.microsoft.com/office/powerpoint/2010/main" val="237022986"/>
      </p:ext>
    </p:extLst>
  </p:cSld>
  <p:clrMapOvr>
    <a:masterClrMapping/>
  </p:clrMapOvr>
  <p:transition spd="slow">
    <p:wip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3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userDrawn="1"/>
        </p:nvSpPr>
        <p:spPr>
          <a:xfrm>
            <a:off x="767482" y="2639092"/>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CD4"/>
                </a:solidFill>
              </a:ln>
              <a:solidFill>
                <a:srgbClr val="049CD4"/>
              </a:solidFill>
              <a:cs typeface="Arial"/>
            </a:endParaRPr>
          </a:p>
        </p:txBody>
      </p:sp>
      <p:sp>
        <p:nvSpPr>
          <p:cNvPr id="15" name="Oval 14"/>
          <p:cNvSpPr/>
          <p:nvPr userDrawn="1"/>
        </p:nvSpPr>
        <p:spPr>
          <a:xfrm>
            <a:off x="767481" y="1771904"/>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CD4"/>
                </a:solidFill>
              </a:ln>
              <a:solidFill>
                <a:srgbClr val="049CD4"/>
              </a:solidFill>
              <a:cs typeface="Arial"/>
            </a:endParaRPr>
          </a:p>
        </p:txBody>
      </p:sp>
      <p:sp>
        <p:nvSpPr>
          <p:cNvPr id="22" name="Oval 21"/>
          <p:cNvSpPr/>
          <p:nvPr userDrawn="1"/>
        </p:nvSpPr>
        <p:spPr>
          <a:xfrm>
            <a:off x="767482" y="3503262"/>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CD4"/>
                </a:solidFill>
              </a:ln>
              <a:solidFill>
                <a:srgbClr val="049CD4"/>
              </a:solidFill>
              <a:cs typeface="Arial"/>
            </a:endParaRPr>
          </a:p>
        </p:txBody>
      </p:sp>
      <p:sp>
        <p:nvSpPr>
          <p:cNvPr id="24" name="Text Placeholder 17"/>
          <p:cNvSpPr>
            <a:spLocks noGrp="1"/>
          </p:cNvSpPr>
          <p:nvPr>
            <p:ph type="body" sz="quarter" idx="13"/>
          </p:nvPr>
        </p:nvSpPr>
        <p:spPr>
          <a:xfrm>
            <a:off x="1563179" y="1779790"/>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3180" y="2646082"/>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3180" y="3503262"/>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482" y="1770029"/>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482" y="2639091"/>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484" y="3500658"/>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userDrawn="1"/>
        </p:nvSpPr>
        <p:spPr>
          <a:xfrm>
            <a:off x="767484" y="4366109"/>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CD4"/>
                </a:solidFill>
              </a:ln>
              <a:solidFill>
                <a:srgbClr val="049CD4"/>
              </a:solidFill>
              <a:cs typeface="Arial"/>
            </a:endParaRPr>
          </a:p>
        </p:txBody>
      </p:sp>
      <p:sp>
        <p:nvSpPr>
          <p:cNvPr id="14" name="Text Placeholder 17"/>
          <p:cNvSpPr>
            <a:spLocks noGrp="1"/>
          </p:cNvSpPr>
          <p:nvPr>
            <p:ph type="body" sz="quarter" idx="19"/>
          </p:nvPr>
        </p:nvSpPr>
        <p:spPr>
          <a:xfrm>
            <a:off x="1563181" y="4366109"/>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485" y="4363505"/>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userDrawn="1"/>
        </p:nvSpPr>
        <p:spPr>
          <a:xfrm>
            <a:off x="767485" y="5228956"/>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CD4"/>
                </a:solidFill>
              </a:ln>
              <a:solidFill>
                <a:srgbClr val="049CD4"/>
              </a:solidFill>
              <a:cs typeface="Arial"/>
            </a:endParaRPr>
          </a:p>
        </p:txBody>
      </p:sp>
      <p:sp>
        <p:nvSpPr>
          <p:cNvPr id="18" name="Text Placeholder 17"/>
          <p:cNvSpPr>
            <a:spLocks noGrp="1"/>
          </p:cNvSpPr>
          <p:nvPr>
            <p:ph type="body" sz="quarter" idx="21"/>
          </p:nvPr>
        </p:nvSpPr>
        <p:spPr>
          <a:xfrm>
            <a:off x="1563183" y="5228955"/>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486" y="5226351"/>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681887601"/>
      </p:ext>
    </p:extLst>
  </p:cSld>
  <p:clrMapOvr>
    <a:masterClrMapping/>
  </p:clrMapOvr>
  <p:transition spd="slow">
    <p:wip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5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userDrawn="1"/>
        </p:nvSpPr>
        <p:spPr>
          <a:xfrm>
            <a:off x="767482" y="2639092"/>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CD4"/>
                </a:solidFill>
              </a:ln>
              <a:solidFill>
                <a:srgbClr val="049CD4"/>
              </a:solidFill>
              <a:cs typeface="Arial"/>
            </a:endParaRPr>
          </a:p>
        </p:txBody>
      </p:sp>
      <p:sp>
        <p:nvSpPr>
          <p:cNvPr id="15" name="Oval 14"/>
          <p:cNvSpPr/>
          <p:nvPr userDrawn="1"/>
        </p:nvSpPr>
        <p:spPr>
          <a:xfrm>
            <a:off x="767481" y="1771904"/>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CD4"/>
                </a:solidFill>
              </a:ln>
              <a:solidFill>
                <a:srgbClr val="049CD4"/>
              </a:solidFill>
              <a:cs typeface="Arial"/>
            </a:endParaRPr>
          </a:p>
        </p:txBody>
      </p:sp>
      <p:sp>
        <p:nvSpPr>
          <p:cNvPr id="22" name="Oval 21"/>
          <p:cNvSpPr/>
          <p:nvPr userDrawn="1"/>
        </p:nvSpPr>
        <p:spPr>
          <a:xfrm>
            <a:off x="767482" y="3503262"/>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CD4"/>
                </a:solidFill>
              </a:ln>
              <a:solidFill>
                <a:srgbClr val="049CD4"/>
              </a:solidFill>
              <a:cs typeface="Arial"/>
            </a:endParaRPr>
          </a:p>
        </p:txBody>
      </p:sp>
      <p:sp>
        <p:nvSpPr>
          <p:cNvPr id="24" name="Text Placeholder 17"/>
          <p:cNvSpPr>
            <a:spLocks noGrp="1"/>
          </p:cNvSpPr>
          <p:nvPr>
            <p:ph type="body" sz="quarter" idx="13"/>
          </p:nvPr>
        </p:nvSpPr>
        <p:spPr>
          <a:xfrm>
            <a:off x="1563179" y="1779790"/>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3180" y="2646082"/>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3180" y="3503262"/>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482" y="1770029"/>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482" y="2639091"/>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484" y="3500658"/>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userDrawn="1"/>
        </p:nvSpPr>
        <p:spPr>
          <a:xfrm>
            <a:off x="767484" y="4366109"/>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CD4"/>
                </a:solidFill>
              </a:ln>
              <a:solidFill>
                <a:srgbClr val="049CD4"/>
              </a:solidFill>
              <a:cs typeface="Arial"/>
            </a:endParaRPr>
          </a:p>
        </p:txBody>
      </p:sp>
      <p:sp>
        <p:nvSpPr>
          <p:cNvPr id="14" name="Text Placeholder 17"/>
          <p:cNvSpPr>
            <a:spLocks noGrp="1"/>
          </p:cNvSpPr>
          <p:nvPr>
            <p:ph type="body" sz="quarter" idx="19"/>
          </p:nvPr>
        </p:nvSpPr>
        <p:spPr>
          <a:xfrm>
            <a:off x="1563181" y="4366109"/>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485" y="4363505"/>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userDrawn="1"/>
        </p:nvSpPr>
        <p:spPr>
          <a:xfrm>
            <a:off x="767485" y="5228956"/>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5333" dirty="0">
              <a:ln>
                <a:solidFill>
                  <a:srgbClr val="049CD4"/>
                </a:solidFill>
              </a:ln>
              <a:solidFill>
                <a:srgbClr val="049CD4"/>
              </a:solidFill>
              <a:cs typeface="Arial"/>
            </a:endParaRPr>
          </a:p>
        </p:txBody>
      </p:sp>
      <p:sp>
        <p:nvSpPr>
          <p:cNvPr id="18" name="Text Placeholder 17"/>
          <p:cNvSpPr>
            <a:spLocks noGrp="1"/>
          </p:cNvSpPr>
          <p:nvPr>
            <p:ph type="body" sz="quarter" idx="21"/>
          </p:nvPr>
        </p:nvSpPr>
        <p:spPr>
          <a:xfrm>
            <a:off x="1563183" y="5228955"/>
            <a:ext cx="7571664" cy="615103"/>
          </a:xfrm>
          <a:prstGeom prst="rect">
            <a:avLst/>
          </a:prstGeom>
        </p:spPr>
        <p:txBody>
          <a:bodyPr lIns="91420" tIns="45710" rIns="91420" bIns="45710" anchor="ctr" anchorCtr="0">
            <a:noAutofit/>
          </a:bodyPr>
          <a:lstStyle>
            <a:lvl1pPr marL="0" indent="0" algn="l">
              <a:buNone/>
              <a:defRPr sz="2667"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486" y="5226351"/>
            <a:ext cx="619753" cy="615103"/>
          </a:xfrm>
          <a:prstGeom prst="rect">
            <a:avLst/>
          </a:prstGeom>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1713240707"/>
      </p:ext>
    </p:extLst>
  </p:cSld>
  <p:clrMapOvr>
    <a:masterClrMapping/>
  </p:clrMapOvr>
  <p:transition spd="slow">
    <p:wip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Wide screen video">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704857" y="777240"/>
            <a:ext cx="10886575"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69" tIns="34286" rIns="68569" bIns="34286" rtlCol="0" anchor="ctr">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19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321452550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7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userDrawn="1"/>
        </p:nvSpPr>
        <p:spPr>
          <a:xfrm>
            <a:off x="767482" y="2639092"/>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15" name="Oval 14"/>
          <p:cNvSpPr/>
          <p:nvPr userDrawn="1"/>
        </p:nvSpPr>
        <p:spPr>
          <a:xfrm>
            <a:off x="767481" y="1771904"/>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22" name="Oval 21"/>
          <p:cNvSpPr/>
          <p:nvPr userDrawn="1"/>
        </p:nvSpPr>
        <p:spPr>
          <a:xfrm>
            <a:off x="767482" y="3503262"/>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24" name="Text Placeholder 17"/>
          <p:cNvSpPr>
            <a:spLocks noGrp="1"/>
          </p:cNvSpPr>
          <p:nvPr>
            <p:ph type="body" sz="quarter" idx="13"/>
          </p:nvPr>
        </p:nvSpPr>
        <p:spPr>
          <a:xfrm>
            <a:off x="1563179" y="1779790"/>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563180" y="2646082"/>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563180" y="3503262"/>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767482" y="1770029"/>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767482" y="2639091"/>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767484" y="3500658"/>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userDrawn="1"/>
        </p:nvSpPr>
        <p:spPr>
          <a:xfrm>
            <a:off x="767484" y="4366109"/>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14" name="Text Placeholder 17"/>
          <p:cNvSpPr>
            <a:spLocks noGrp="1"/>
          </p:cNvSpPr>
          <p:nvPr>
            <p:ph type="body" sz="quarter" idx="19"/>
          </p:nvPr>
        </p:nvSpPr>
        <p:spPr>
          <a:xfrm>
            <a:off x="1563182" y="4366109"/>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767485" y="4363505"/>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userDrawn="1"/>
        </p:nvSpPr>
        <p:spPr>
          <a:xfrm>
            <a:off x="767485" y="5228956"/>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18" name="Text Placeholder 17"/>
          <p:cNvSpPr>
            <a:spLocks noGrp="1"/>
          </p:cNvSpPr>
          <p:nvPr>
            <p:ph type="body" sz="quarter" idx="21"/>
          </p:nvPr>
        </p:nvSpPr>
        <p:spPr>
          <a:xfrm>
            <a:off x="1563183" y="5228955"/>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767486" y="5226351"/>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20" name="Oval 19"/>
          <p:cNvSpPr/>
          <p:nvPr userDrawn="1"/>
        </p:nvSpPr>
        <p:spPr>
          <a:xfrm>
            <a:off x="5886102" y="2644113"/>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21" name="Oval 20"/>
          <p:cNvSpPr/>
          <p:nvPr userDrawn="1"/>
        </p:nvSpPr>
        <p:spPr>
          <a:xfrm>
            <a:off x="5886101" y="1776925"/>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23" name="Oval 22"/>
          <p:cNvSpPr/>
          <p:nvPr userDrawn="1"/>
        </p:nvSpPr>
        <p:spPr>
          <a:xfrm>
            <a:off x="5886102" y="3508284"/>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30" name="Text Placeholder 17"/>
          <p:cNvSpPr>
            <a:spLocks noGrp="1"/>
          </p:cNvSpPr>
          <p:nvPr>
            <p:ph type="body" sz="quarter" idx="23"/>
          </p:nvPr>
        </p:nvSpPr>
        <p:spPr>
          <a:xfrm>
            <a:off x="6681799" y="1784811"/>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1" name="Text Placeholder 17"/>
          <p:cNvSpPr>
            <a:spLocks noGrp="1"/>
          </p:cNvSpPr>
          <p:nvPr>
            <p:ph type="body" sz="quarter" idx="24"/>
          </p:nvPr>
        </p:nvSpPr>
        <p:spPr>
          <a:xfrm>
            <a:off x="6681800" y="2651103"/>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2" name="Text Placeholder 17"/>
          <p:cNvSpPr>
            <a:spLocks noGrp="1"/>
          </p:cNvSpPr>
          <p:nvPr>
            <p:ph type="body" sz="quarter" idx="25"/>
          </p:nvPr>
        </p:nvSpPr>
        <p:spPr>
          <a:xfrm>
            <a:off x="6681800" y="3508283"/>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3" name="Text Placeholder 17"/>
          <p:cNvSpPr>
            <a:spLocks noGrp="1"/>
          </p:cNvSpPr>
          <p:nvPr>
            <p:ph type="body" sz="quarter" idx="26" hasCustomPrompt="1"/>
          </p:nvPr>
        </p:nvSpPr>
        <p:spPr>
          <a:xfrm>
            <a:off x="5886102" y="1775050"/>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34" name="Text Placeholder 17"/>
          <p:cNvSpPr>
            <a:spLocks noGrp="1"/>
          </p:cNvSpPr>
          <p:nvPr>
            <p:ph type="body" sz="quarter" idx="27" hasCustomPrompt="1"/>
          </p:nvPr>
        </p:nvSpPr>
        <p:spPr>
          <a:xfrm>
            <a:off x="5886102" y="2644113"/>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35" name="Text Placeholder 17"/>
          <p:cNvSpPr>
            <a:spLocks noGrp="1"/>
          </p:cNvSpPr>
          <p:nvPr>
            <p:ph type="body" sz="quarter" idx="28" hasCustomPrompt="1"/>
          </p:nvPr>
        </p:nvSpPr>
        <p:spPr>
          <a:xfrm>
            <a:off x="5886104" y="3505679"/>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36" name="Oval 35"/>
          <p:cNvSpPr/>
          <p:nvPr userDrawn="1"/>
        </p:nvSpPr>
        <p:spPr>
          <a:xfrm>
            <a:off x="5886104" y="4371130"/>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37" name="Text Placeholder 17"/>
          <p:cNvSpPr>
            <a:spLocks noGrp="1"/>
          </p:cNvSpPr>
          <p:nvPr>
            <p:ph type="body" sz="quarter" idx="29"/>
          </p:nvPr>
        </p:nvSpPr>
        <p:spPr>
          <a:xfrm>
            <a:off x="6681801" y="4371130"/>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8" name="Text Placeholder 17"/>
          <p:cNvSpPr>
            <a:spLocks noGrp="1"/>
          </p:cNvSpPr>
          <p:nvPr>
            <p:ph type="body" sz="quarter" idx="30" hasCustomPrompt="1"/>
          </p:nvPr>
        </p:nvSpPr>
        <p:spPr>
          <a:xfrm>
            <a:off x="5886105" y="4368526"/>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39" name="Oval 38"/>
          <p:cNvSpPr/>
          <p:nvPr userDrawn="1"/>
        </p:nvSpPr>
        <p:spPr>
          <a:xfrm>
            <a:off x="5886105" y="5233977"/>
            <a:ext cx="619753" cy="619753"/>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40" name="Text Placeholder 17"/>
          <p:cNvSpPr>
            <a:spLocks noGrp="1"/>
          </p:cNvSpPr>
          <p:nvPr>
            <p:ph type="body" sz="quarter" idx="31"/>
          </p:nvPr>
        </p:nvSpPr>
        <p:spPr>
          <a:xfrm>
            <a:off x="6681803" y="5233977"/>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1" name="Text Placeholder 17"/>
          <p:cNvSpPr>
            <a:spLocks noGrp="1"/>
          </p:cNvSpPr>
          <p:nvPr>
            <p:ph type="body" sz="quarter" idx="32" hasCustomPrompt="1"/>
          </p:nvPr>
        </p:nvSpPr>
        <p:spPr>
          <a:xfrm>
            <a:off x="5886106" y="5231373"/>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334179272"/>
      </p:ext>
    </p:extLst>
  </p:cSld>
  <p:clrMapOvr>
    <a:masterClrMapping/>
  </p:clrMapOvr>
  <p:transition spd="slow">
    <p:wip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6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42" name="Oval 41"/>
          <p:cNvSpPr/>
          <p:nvPr userDrawn="1"/>
        </p:nvSpPr>
        <p:spPr>
          <a:xfrm>
            <a:off x="767482" y="2639092"/>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43" name="Oval 42"/>
          <p:cNvSpPr/>
          <p:nvPr userDrawn="1"/>
        </p:nvSpPr>
        <p:spPr>
          <a:xfrm>
            <a:off x="767481" y="1771904"/>
            <a:ext cx="619753" cy="619753"/>
          </a:xfrm>
          <a:prstGeom prst="ellipse">
            <a:avLst/>
          </a:prstGeom>
          <a:solidFill>
            <a:schemeClr val="bg2"/>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FFFFFF"/>
              </a:solidFill>
              <a:cs typeface="Arial"/>
            </a:endParaRPr>
          </a:p>
        </p:txBody>
      </p:sp>
      <p:sp>
        <p:nvSpPr>
          <p:cNvPr id="44" name="Oval 43"/>
          <p:cNvSpPr/>
          <p:nvPr userDrawn="1"/>
        </p:nvSpPr>
        <p:spPr>
          <a:xfrm>
            <a:off x="767482" y="3503262"/>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45" name="Text Placeholder 17"/>
          <p:cNvSpPr>
            <a:spLocks noGrp="1"/>
          </p:cNvSpPr>
          <p:nvPr>
            <p:ph type="body" sz="quarter" idx="13"/>
          </p:nvPr>
        </p:nvSpPr>
        <p:spPr>
          <a:xfrm>
            <a:off x="1563179" y="1779790"/>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6" name="Text Placeholder 17"/>
          <p:cNvSpPr>
            <a:spLocks noGrp="1"/>
          </p:cNvSpPr>
          <p:nvPr>
            <p:ph type="body" sz="quarter" idx="14"/>
          </p:nvPr>
        </p:nvSpPr>
        <p:spPr>
          <a:xfrm>
            <a:off x="1563180" y="2646082"/>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7" name="Text Placeholder 17"/>
          <p:cNvSpPr>
            <a:spLocks noGrp="1"/>
          </p:cNvSpPr>
          <p:nvPr>
            <p:ph type="body" sz="quarter" idx="15"/>
          </p:nvPr>
        </p:nvSpPr>
        <p:spPr>
          <a:xfrm>
            <a:off x="1563180" y="3503262"/>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8" name="Text Placeholder 17"/>
          <p:cNvSpPr>
            <a:spLocks noGrp="1"/>
          </p:cNvSpPr>
          <p:nvPr>
            <p:ph type="body" sz="quarter" idx="16" hasCustomPrompt="1"/>
          </p:nvPr>
        </p:nvSpPr>
        <p:spPr>
          <a:xfrm>
            <a:off x="767482" y="1770029"/>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49" name="Text Placeholder 17"/>
          <p:cNvSpPr>
            <a:spLocks noGrp="1"/>
          </p:cNvSpPr>
          <p:nvPr>
            <p:ph type="body" sz="quarter" idx="17" hasCustomPrompt="1"/>
          </p:nvPr>
        </p:nvSpPr>
        <p:spPr>
          <a:xfrm>
            <a:off x="767482" y="2639091"/>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50" name="Text Placeholder 17"/>
          <p:cNvSpPr>
            <a:spLocks noGrp="1"/>
          </p:cNvSpPr>
          <p:nvPr>
            <p:ph type="body" sz="quarter" idx="18" hasCustomPrompt="1"/>
          </p:nvPr>
        </p:nvSpPr>
        <p:spPr>
          <a:xfrm>
            <a:off x="767484" y="3500658"/>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51" name="Oval 50"/>
          <p:cNvSpPr/>
          <p:nvPr userDrawn="1"/>
        </p:nvSpPr>
        <p:spPr>
          <a:xfrm>
            <a:off x="767484" y="4366109"/>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52" name="Text Placeholder 17"/>
          <p:cNvSpPr>
            <a:spLocks noGrp="1"/>
          </p:cNvSpPr>
          <p:nvPr>
            <p:ph type="body" sz="quarter" idx="19"/>
          </p:nvPr>
        </p:nvSpPr>
        <p:spPr>
          <a:xfrm>
            <a:off x="1563182" y="4366109"/>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3" name="Text Placeholder 17"/>
          <p:cNvSpPr>
            <a:spLocks noGrp="1"/>
          </p:cNvSpPr>
          <p:nvPr>
            <p:ph type="body" sz="quarter" idx="20" hasCustomPrompt="1"/>
          </p:nvPr>
        </p:nvSpPr>
        <p:spPr>
          <a:xfrm>
            <a:off x="767485" y="4363505"/>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54" name="Oval 53"/>
          <p:cNvSpPr/>
          <p:nvPr userDrawn="1"/>
        </p:nvSpPr>
        <p:spPr>
          <a:xfrm>
            <a:off x="767485" y="5228956"/>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55" name="Text Placeholder 17"/>
          <p:cNvSpPr>
            <a:spLocks noGrp="1"/>
          </p:cNvSpPr>
          <p:nvPr>
            <p:ph type="body" sz="quarter" idx="21"/>
          </p:nvPr>
        </p:nvSpPr>
        <p:spPr>
          <a:xfrm>
            <a:off x="1563183" y="5228955"/>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6" name="Text Placeholder 17"/>
          <p:cNvSpPr>
            <a:spLocks noGrp="1"/>
          </p:cNvSpPr>
          <p:nvPr>
            <p:ph type="body" sz="quarter" idx="22" hasCustomPrompt="1"/>
          </p:nvPr>
        </p:nvSpPr>
        <p:spPr>
          <a:xfrm>
            <a:off x="767486" y="5226351"/>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57" name="Oval 56"/>
          <p:cNvSpPr/>
          <p:nvPr userDrawn="1"/>
        </p:nvSpPr>
        <p:spPr>
          <a:xfrm>
            <a:off x="5886102" y="2644113"/>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58" name="Oval 57"/>
          <p:cNvSpPr/>
          <p:nvPr userDrawn="1"/>
        </p:nvSpPr>
        <p:spPr>
          <a:xfrm>
            <a:off x="5886101" y="1776925"/>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59" name="Oval 58"/>
          <p:cNvSpPr/>
          <p:nvPr userDrawn="1"/>
        </p:nvSpPr>
        <p:spPr>
          <a:xfrm>
            <a:off x="5886102" y="3508284"/>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60" name="Text Placeholder 17"/>
          <p:cNvSpPr>
            <a:spLocks noGrp="1"/>
          </p:cNvSpPr>
          <p:nvPr>
            <p:ph type="body" sz="quarter" idx="23"/>
          </p:nvPr>
        </p:nvSpPr>
        <p:spPr>
          <a:xfrm>
            <a:off x="6681799" y="1784811"/>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1" name="Text Placeholder 17"/>
          <p:cNvSpPr>
            <a:spLocks noGrp="1"/>
          </p:cNvSpPr>
          <p:nvPr>
            <p:ph type="body" sz="quarter" idx="24"/>
          </p:nvPr>
        </p:nvSpPr>
        <p:spPr>
          <a:xfrm>
            <a:off x="6681800" y="2651103"/>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2" name="Text Placeholder 17"/>
          <p:cNvSpPr>
            <a:spLocks noGrp="1"/>
          </p:cNvSpPr>
          <p:nvPr>
            <p:ph type="body" sz="quarter" idx="25"/>
          </p:nvPr>
        </p:nvSpPr>
        <p:spPr>
          <a:xfrm>
            <a:off x="6681800" y="3508283"/>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3" name="Text Placeholder 17"/>
          <p:cNvSpPr>
            <a:spLocks noGrp="1"/>
          </p:cNvSpPr>
          <p:nvPr>
            <p:ph type="body" sz="quarter" idx="26" hasCustomPrompt="1"/>
          </p:nvPr>
        </p:nvSpPr>
        <p:spPr>
          <a:xfrm>
            <a:off x="5886102" y="1775050"/>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64" name="Text Placeholder 17"/>
          <p:cNvSpPr>
            <a:spLocks noGrp="1"/>
          </p:cNvSpPr>
          <p:nvPr>
            <p:ph type="body" sz="quarter" idx="27" hasCustomPrompt="1"/>
          </p:nvPr>
        </p:nvSpPr>
        <p:spPr>
          <a:xfrm>
            <a:off x="5886102" y="2644113"/>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65" name="Text Placeholder 17"/>
          <p:cNvSpPr>
            <a:spLocks noGrp="1"/>
          </p:cNvSpPr>
          <p:nvPr>
            <p:ph type="body" sz="quarter" idx="28" hasCustomPrompt="1"/>
          </p:nvPr>
        </p:nvSpPr>
        <p:spPr>
          <a:xfrm>
            <a:off x="5886104" y="3505679"/>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66" name="Oval 65"/>
          <p:cNvSpPr/>
          <p:nvPr userDrawn="1"/>
        </p:nvSpPr>
        <p:spPr>
          <a:xfrm>
            <a:off x="5886104" y="4371130"/>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67" name="Text Placeholder 17"/>
          <p:cNvSpPr>
            <a:spLocks noGrp="1"/>
          </p:cNvSpPr>
          <p:nvPr>
            <p:ph type="body" sz="quarter" idx="29"/>
          </p:nvPr>
        </p:nvSpPr>
        <p:spPr>
          <a:xfrm>
            <a:off x="6681801" y="4371130"/>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8" name="Text Placeholder 17"/>
          <p:cNvSpPr>
            <a:spLocks noGrp="1"/>
          </p:cNvSpPr>
          <p:nvPr>
            <p:ph type="body" sz="quarter" idx="30" hasCustomPrompt="1"/>
          </p:nvPr>
        </p:nvSpPr>
        <p:spPr>
          <a:xfrm>
            <a:off x="5886105" y="4368526"/>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69" name="Oval 68"/>
          <p:cNvSpPr/>
          <p:nvPr userDrawn="1"/>
        </p:nvSpPr>
        <p:spPr>
          <a:xfrm>
            <a:off x="5886105" y="5233977"/>
            <a:ext cx="619753" cy="619753"/>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121920" rtlCol="0" anchor="ctr" anchorCtr="0"/>
          <a:lstStyle/>
          <a:p>
            <a:pPr algn="ctr" defTabSz="609585" fontAlgn="base">
              <a:spcBef>
                <a:spcPct val="0"/>
              </a:spcBef>
              <a:spcAft>
                <a:spcPct val="0"/>
              </a:spcAft>
            </a:pPr>
            <a:endParaRPr lang="en-US" sz="2667" dirty="0">
              <a:ln>
                <a:solidFill>
                  <a:srgbClr val="049CD4"/>
                </a:solidFill>
              </a:ln>
              <a:solidFill>
                <a:srgbClr val="049CD4"/>
              </a:solidFill>
              <a:cs typeface="Arial"/>
            </a:endParaRPr>
          </a:p>
        </p:txBody>
      </p:sp>
      <p:sp>
        <p:nvSpPr>
          <p:cNvPr id="70" name="Text Placeholder 17"/>
          <p:cNvSpPr>
            <a:spLocks noGrp="1"/>
          </p:cNvSpPr>
          <p:nvPr>
            <p:ph type="body" sz="quarter" idx="31"/>
          </p:nvPr>
        </p:nvSpPr>
        <p:spPr>
          <a:xfrm>
            <a:off x="6681803" y="5233977"/>
            <a:ext cx="2901181" cy="615103"/>
          </a:xfrm>
          <a:prstGeom prst="rect">
            <a:avLst/>
          </a:prstGeom>
        </p:spPr>
        <p:txBody>
          <a:bodyPr lIns="91420" tIns="45710" rIns="91420" bIns="45710" anchor="ctr" anchorCtr="0">
            <a:noAutofit/>
          </a:bodyPr>
          <a:lstStyle>
            <a:lvl1pPr marL="0" indent="0" algn="l">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71" name="Text Placeholder 17"/>
          <p:cNvSpPr>
            <a:spLocks noGrp="1"/>
          </p:cNvSpPr>
          <p:nvPr>
            <p:ph type="body" sz="quarter" idx="32" hasCustomPrompt="1"/>
          </p:nvPr>
        </p:nvSpPr>
        <p:spPr>
          <a:xfrm>
            <a:off x="5886106" y="5231373"/>
            <a:ext cx="619753" cy="615103"/>
          </a:xfrm>
          <a:prstGeom prst="rect">
            <a:avLst/>
          </a:prstGeom>
          <a:noFill/>
          <a:ln>
            <a:noFill/>
          </a:ln>
        </p:spPr>
        <p:txBody>
          <a:bodyPr lIns="91420" tIns="45710" rIns="91420" bIns="45710" anchor="ctr" anchorCtr="0">
            <a:noAutofit/>
          </a:bodyPr>
          <a:lstStyle>
            <a:lvl1pPr marL="0" indent="0" algn="ctr">
              <a:buNone/>
              <a:defRPr sz="2667"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605963034"/>
      </p:ext>
    </p:extLst>
  </p:cSld>
  <p:clrMapOvr>
    <a:masterClrMapping/>
  </p:clrMapOvr>
  <p:transition spd="slow">
    <p:wip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1085" y="6172201"/>
            <a:ext cx="977900" cy="4868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666751" y="4635530"/>
            <a:ext cx="10852149" cy="694207"/>
          </a:xfrm>
          <a:prstGeom prst="rect">
            <a:avLst/>
          </a:prstGeom>
          <a:solidFill>
            <a:schemeClr val="bg1">
              <a:alpha val="70000"/>
            </a:schemeClr>
          </a:solidFill>
        </p:spPr>
        <p:txBody>
          <a:bodyPr wrap="square" lIns="108000" tIns="0" rIns="91440" bIns="45720" numCol="1" anchor="ctr" anchorCtr="0" compatLnSpc="1">
            <a:prstTxWarp prst="textNoShape">
              <a:avLst/>
            </a:prstTxWarp>
            <a:spAutoFit/>
          </a:bodyPr>
          <a:lstStyle>
            <a:lvl1pPr marL="230394" indent="0">
              <a:lnSpc>
                <a:spcPts val="4907"/>
              </a:lnSpc>
              <a:spcBef>
                <a:spcPts val="0"/>
              </a:spcBef>
              <a:buNone/>
              <a:defRPr sz="3200" i="1">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405621527"/>
      </p:ext>
    </p:extLst>
  </p:cSld>
  <p:clrMapOvr>
    <a:masterClrMapping/>
  </p:clrMapOvr>
  <p:transition spd="med">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4" y="401383"/>
            <a:ext cx="11417563" cy="3389567"/>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1041172197"/>
      </p:ext>
    </p:extLst>
  </p:cSld>
  <p:clrMapOvr>
    <a:masterClrMapping/>
  </p:clrMapOvr>
  <p:transition spd="med">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1085" y="6172201"/>
            <a:ext cx="977900" cy="4868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2"/>
                </a:solidFill>
                <a:latin typeface="+mn-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867324964"/>
      </p:ext>
    </p:extLst>
  </p:cSld>
  <p:clrMapOvr>
    <a:masterClrMapping/>
  </p:clrMapOvr>
  <p:transition spd="med">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20_Full bleed photo">
    <p:spTree>
      <p:nvGrpSpPr>
        <p:cNvPr id="1" name=""/>
        <p:cNvGrpSpPr/>
        <p:nvPr/>
      </p:nvGrpSpPr>
      <p:grpSpPr>
        <a:xfrm>
          <a:off x="0" y="0"/>
          <a:ext cx="0" cy="0"/>
          <a:chOff x="0" y="0"/>
          <a:chExt cx="0" cy="0"/>
        </a:xfrm>
      </p:grpSpPr>
      <p:pic>
        <p:nvPicPr>
          <p:cNvPr id="3" name="Picture Placeholder 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0"/>
            <a:ext cx="12196233"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 name="Text Placeholder 2"/>
          <p:cNvSpPr>
            <a:spLocks noGrp="1"/>
          </p:cNvSpPr>
          <p:nvPr>
            <p:ph type="body" sz="quarter" idx="12"/>
          </p:nvPr>
        </p:nvSpPr>
        <p:spPr bwMode="auto">
          <a:xfrm>
            <a:off x="666751" y="4622131"/>
            <a:ext cx="10852149" cy="695347"/>
          </a:xfrm>
          <a:prstGeom prst="rect">
            <a:avLst/>
          </a:prstGeom>
          <a:solidFill>
            <a:schemeClr val="bg1">
              <a:alpha val="70000"/>
            </a:schemeClr>
          </a:solidFill>
        </p:spPr>
        <p:txBody>
          <a:bodyPr wrap="square" lIns="108000" tIns="0" rIns="91440" bIns="45720" numCol="1" anchor="b" anchorCtr="0" compatLnSpc="1">
            <a:prstTxWarp prst="textNoShape">
              <a:avLst/>
            </a:prstTxWarp>
            <a:spAutoFit/>
          </a:bodyPr>
          <a:lstStyle>
            <a:lvl1pPr marL="230394" indent="-239994">
              <a:lnSpc>
                <a:spcPts val="4907"/>
              </a:lnSpc>
              <a:spcBef>
                <a:spcPts val="0"/>
              </a:spcBef>
              <a:buNone/>
              <a:defRPr sz="4267" i="1">
                <a:solidFill>
                  <a:schemeClr val="tx2"/>
                </a:solidFill>
              </a:defRPr>
            </a:lvl1pPr>
          </a:lstStyle>
          <a:p>
            <a:pPr lvl="0"/>
            <a:r>
              <a:rPr lang="en-US"/>
              <a:t>Click to edit Master text styles</a:t>
            </a:r>
          </a:p>
        </p:txBody>
      </p:sp>
      <p:sp>
        <p:nvSpPr>
          <p:cNvPr id="7" name="Rectangle 7"/>
          <p:cNvSpPr>
            <a:spLocks noChangeArrowheads="1"/>
          </p:cNvSpPr>
          <p:nvPr userDrawn="1"/>
        </p:nvSpPr>
        <p:spPr bwMode="ltGray">
          <a:xfrm>
            <a:off x="11354627" y="6561497"/>
            <a:ext cx="290868" cy="206025"/>
          </a:xfrm>
          <a:prstGeom prst="rect">
            <a:avLst/>
          </a:prstGeom>
          <a:noFill/>
          <a:ln w="9525" algn="ctr">
            <a:noFill/>
            <a:miter lim="800000"/>
            <a:headEnd/>
            <a:tailEnd/>
          </a:ln>
          <a:effectLst/>
        </p:spPr>
        <p:txBody>
          <a:bodyPr wrap="none" lIns="82115" tIns="41056" rIns="82115" bIns="41056" anchor="b">
            <a:spAutoFit/>
          </a:bodyPr>
          <a:lstStyle/>
          <a:p>
            <a:pPr algn="r" defTabSz="814305">
              <a:defRPr/>
            </a:pPr>
            <a:fld id="{4ABDCABE-3F10-B64C-92F1-862014417034}" type="slidenum">
              <a:rPr lang="en-US" sz="800">
                <a:solidFill>
                  <a:srgbClr val="FFFFFF">
                    <a:alpha val="60000"/>
                  </a:srgbClr>
                </a:solidFill>
                <a:cs typeface="CiscoSans Thin"/>
              </a:rPr>
              <a:pPr algn="r" defTabSz="814305">
                <a:defRPr/>
              </a:pPr>
              <a:t>‹#›</a:t>
            </a:fld>
            <a:endParaRPr lang="en-US" sz="800" dirty="0">
              <a:solidFill>
                <a:srgbClr val="FFFFFF">
                  <a:alpha val="60000"/>
                </a:srgbClr>
              </a:solidFill>
              <a:cs typeface="CiscoSans Thin"/>
            </a:endParaRPr>
          </a:p>
        </p:txBody>
      </p:sp>
      <p:pic>
        <p:nvPicPr>
          <p:cNvPr id="8" name="Picture 2" descr="C:\Users\spius\Pictures\cisco logo blue gradient.png"/>
          <p:cNvPicPr>
            <a:picLocks noChangeAspect="1" noChangeArrowheads="1"/>
          </p:cNvPicPr>
          <p:nvPr userDrawn="1"/>
        </p:nvPicPr>
        <p:blipFill>
          <a:blip r:embed="rId3" cstate="print">
            <a:biLevel thresh="25000"/>
            <a:alphaModFix amt="60000"/>
            <a:extLst>
              <a:ext uri="{28A0092B-C50C-407E-A947-70E740481C1C}">
                <a14:useLocalDpi xmlns:a14="http://schemas.microsoft.com/office/drawing/2010/main"/>
              </a:ext>
            </a:extLst>
          </a:blip>
          <a:srcRect/>
          <a:stretch>
            <a:fillRect/>
          </a:stretch>
        </p:blipFill>
        <p:spPr bwMode="auto">
          <a:xfrm>
            <a:off x="632233" y="6405319"/>
            <a:ext cx="57508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ChangeArrowheads="1"/>
          </p:cNvSpPr>
          <p:nvPr userDrawn="1"/>
        </p:nvSpPr>
        <p:spPr bwMode="ltGray">
          <a:xfrm>
            <a:off x="7048501" y="6556986"/>
            <a:ext cx="4223620" cy="206025"/>
          </a:xfrm>
          <a:prstGeom prst="rect">
            <a:avLst/>
          </a:prstGeom>
          <a:noFill/>
          <a:ln w="9525">
            <a:noFill/>
            <a:miter lim="800000"/>
            <a:headEnd/>
            <a:tailEnd/>
          </a:ln>
          <a:effectLst/>
        </p:spPr>
        <p:txBody>
          <a:bodyPr wrap="square" lIns="82115" tIns="41056" rIns="82115" bIns="41056" anchor="b">
            <a:spAutoFit/>
          </a:bodyPr>
          <a:lstStyle/>
          <a:p>
            <a:pPr algn="r" defTabSz="814305">
              <a:defRPr/>
            </a:pPr>
            <a:r>
              <a:rPr lang="en-US" sz="800" dirty="0">
                <a:solidFill>
                  <a:srgbClr val="FFFFFF">
                    <a:alpha val="60000"/>
                  </a:srgbClr>
                </a:solidFill>
                <a:cs typeface="CiscoSans Thin"/>
              </a:rPr>
              <a:t>C97-738306-01 © 2017  Cisco and/or its affiliates. All rights reserved.   Cisco Confidential</a:t>
            </a:r>
          </a:p>
        </p:txBody>
      </p:sp>
    </p:spTree>
    <p:extLst>
      <p:ext uri="{BB962C8B-B14F-4D97-AF65-F5344CB8AC3E}">
        <p14:creationId xmlns:p14="http://schemas.microsoft.com/office/powerpoint/2010/main" val="1093235671"/>
      </p:ext>
    </p:extLst>
  </p:cSld>
  <p:clrMapOvr>
    <a:masterClrMapping/>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3" y="320842"/>
            <a:ext cx="11307184" cy="5688861"/>
          </a:xfrm>
          <a:prstGeom prst="rect">
            <a:avLst/>
          </a:prstGeom>
        </p:spPr>
        <p:txBody>
          <a:bodyPr vert="horz" lIns="91424" tIns="45712" rIns="91424" bIns="45712"/>
          <a:lstStyle>
            <a:lvl1pPr marL="0" indent="0" algn="ctr">
              <a:buNone/>
              <a:defRPr sz="2000" baseline="0">
                <a:solidFill>
                  <a:schemeClr val="tx2"/>
                </a:solidFill>
                <a:latin typeface="+mn-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77275185"/>
      </p:ext>
    </p:extLst>
  </p:cSld>
  <p:clrMapOvr>
    <a:masterClrMapping/>
  </p:clrMapOvr>
  <p:transition spd="med">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4" name="Rectangle 3"/>
          <p:cNvSpPr/>
          <p:nvPr/>
        </p:nvSpPr>
        <p:spPr>
          <a:xfrm>
            <a:off x="2523067" y="795867"/>
            <a:ext cx="7131051" cy="40047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defTabSz="609585">
              <a:defRPr/>
            </a:pPr>
            <a:endParaRPr lang="en-US" sz="2400" dirty="0">
              <a:solidFill>
                <a:srgbClr val="FFFFFF"/>
              </a:solidFill>
            </a:endParaRPr>
          </a:p>
        </p:txBody>
      </p:sp>
      <p:sp>
        <p:nvSpPr>
          <p:cNvPr id="5" name="Rectangle 4"/>
          <p:cNvSpPr/>
          <p:nvPr/>
        </p:nvSpPr>
        <p:spPr>
          <a:xfrm>
            <a:off x="2523067" y="4794251"/>
            <a:ext cx="7128933" cy="99694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defTabSz="609585">
              <a:defRPr/>
            </a:pPr>
            <a:endParaRPr lang="en-US" sz="2400" dirty="0">
              <a:solidFill>
                <a:srgbClr val="FFFFFF"/>
              </a:solidFill>
            </a:endParaRPr>
          </a:p>
        </p:txBody>
      </p:sp>
      <p:sp>
        <p:nvSpPr>
          <p:cNvPr id="26" name="Picture Placeholder 25"/>
          <p:cNvSpPr>
            <a:spLocks noGrp="1"/>
          </p:cNvSpPr>
          <p:nvPr>
            <p:ph type="pic" sz="quarter" idx="10"/>
          </p:nvPr>
        </p:nvSpPr>
        <p:spPr>
          <a:xfrm>
            <a:off x="2533651" y="795528"/>
            <a:ext cx="7105651" cy="4005072"/>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dirty="0"/>
              <a:t>Click icon to add picture</a:t>
            </a:r>
          </a:p>
        </p:txBody>
      </p:sp>
      <p:sp>
        <p:nvSpPr>
          <p:cNvPr id="11" name="Title 10"/>
          <p:cNvSpPr>
            <a:spLocks noGrp="1"/>
          </p:cNvSpPr>
          <p:nvPr>
            <p:ph type="title"/>
          </p:nvPr>
        </p:nvSpPr>
        <p:spPr>
          <a:xfrm>
            <a:off x="2754495" y="4873439"/>
            <a:ext cx="6765427" cy="838200"/>
          </a:xfrm>
        </p:spPr>
        <p:txBody>
          <a:bodyPr/>
          <a:lstStyle>
            <a:lvl1pPr>
              <a:defRPr sz="2667">
                <a:solidFill>
                  <a:schemeClr val="bg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5624459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4" name="Rectangle 3"/>
          <p:cNvSpPr/>
          <p:nvPr/>
        </p:nvSpPr>
        <p:spPr>
          <a:xfrm>
            <a:off x="732367" y="311151"/>
            <a:ext cx="4364567" cy="24595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defTabSz="609585">
              <a:defRPr/>
            </a:pPr>
            <a:endParaRPr lang="en-US" sz="2400" dirty="0">
              <a:solidFill>
                <a:srgbClr val="FFFFFF"/>
              </a:solidFill>
            </a:endParaRPr>
          </a:p>
        </p:txBody>
      </p:sp>
      <p:sp>
        <p:nvSpPr>
          <p:cNvPr id="26" name="Picture Placeholder 25"/>
          <p:cNvSpPr>
            <a:spLocks noGrp="1"/>
          </p:cNvSpPr>
          <p:nvPr>
            <p:ph type="pic" sz="quarter" idx="10"/>
          </p:nvPr>
        </p:nvSpPr>
        <p:spPr>
          <a:xfrm>
            <a:off x="733321" y="310896"/>
            <a:ext cx="4364736" cy="2459736"/>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914346"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pPr lvl="0"/>
            <a:r>
              <a:rPr lang="en-US" noProof="0" dirty="0"/>
              <a:t>Click icon to add picture</a:t>
            </a:r>
          </a:p>
        </p:txBody>
      </p:sp>
      <p:sp>
        <p:nvSpPr>
          <p:cNvPr id="9" name="Title 8"/>
          <p:cNvSpPr>
            <a:spLocks noGrp="1"/>
          </p:cNvSpPr>
          <p:nvPr>
            <p:ph type="title"/>
          </p:nvPr>
        </p:nvSpPr>
        <p:spPr>
          <a:xfrm>
            <a:off x="574581" y="3307591"/>
            <a:ext cx="8973153" cy="2152559"/>
          </a:xfrm>
        </p:spPr>
        <p:txBody>
          <a:bodyPr>
            <a:noAutofit/>
          </a:bodyPr>
          <a:lstStyle>
            <a:lvl1pPr marL="0" marR="0" indent="0" algn="l" defTabSz="914346" rtl="0" eaLnBrk="1" fontAlgn="auto" latinLnBrk="0" hangingPunct="1">
              <a:lnSpc>
                <a:spcPct val="80000"/>
              </a:lnSpc>
              <a:spcBef>
                <a:spcPct val="0"/>
              </a:spcBef>
              <a:spcAft>
                <a:spcPts val="0"/>
              </a:spcAft>
              <a:buClrTx/>
              <a:buSzTx/>
              <a:buFontTx/>
              <a:buNone/>
              <a:tabLst/>
              <a:defRPr sz="6000">
                <a:solidFill>
                  <a:schemeClr val="bg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119574688"/>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 name="Rectangle 3"/>
          <p:cNvSpPr/>
          <p:nvPr/>
        </p:nvSpPr>
        <p:spPr>
          <a:xfrm>
            <a:off x="6656917" y="728134"/>
            <a:ext cx="4840816" cy="51604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defTabSz="609585">
              <a:defRPr/>
            </a:pPr>
            <a:endParaRPr lang="en-US" sz="2400" dirty="0">
              <a:solidFill>
                <a:srgbClr val="FFFFFF"/>
              </a:solidFill>
            </a:endParaRPr>
          </a:p>
        </p:txBody>
      </p:sp>
      <p:sp>
        <p:nvSpPr>
          <p:cNvPr id="26" name="Picture Placeholder 25"/>
          <p:cNvSpPr>
            <a:spLocks noGrp="1"/>
          </p:cNvSpPr>
          <p:nvPr>
            <p:ph type="pic" sz="quarter" idx="10"/>
          </p:nvPr>
        </p:nvSpPr>
        <p:spPr>
          <a:xfrm>
            <a:off x="6656832" y="728979"/>
            <a:ext cx="4840224" cy="5159757"/>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dirty="0"/>
              <a:t>Click icon to add picture</a:t>
            </a:r>
          </a:p>
        </p:txBody>
      </p:sp>
      <p:sp>
        <p:nvSpPr>
          <p:cNvPr id="9" name="Title 8"/>
          <p:cNvSpPr>
            <a:spLocks noGrp="1"/>
          </p:cNvSpPr>
          <p:nvPr>
            <p:ph type="title"/>
          </p:nvPr>
        </p:nvSpPr>
        <p:spPr>
          <a:xfrm>
            <a:off x="583559" y="728980"/>
            <a:ext cx="5799891" cy="1085313"/>
          </a:xfrm>
        </p:spPr>
        <p:txBody>
          <a:bodyPr wrap="none" anchor="t">
            <a:noAutofit/>
          </a:bodyPr>
          <a:lstStyle>
            <a:lvl1pPr>
              <a:lnSpc>
                <a:spcPct val="90000"/>
              </a:lnSpc>
              <a:defRPr sz="3333">
                <a:solidFill>
                  <a:srgbClr val="555558"/>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56642391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tandard video">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905785" y="778669"/>
            <a:ext cx="5899416"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69" tIns="34286" rIns="68569" bIns="34286" rtlCol="0" anchor="ctr">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1900"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8963119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9" name="Rectangle 8"/>
          <p:cNvSpPr/>
          <p:nvPr/>
        </p:nvSpPr>
        <p:spPr>
          <a:xfrm>
            <a:off x="4891617" y="311152"/>
            <a:ext cx="43582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609585">
              <a:defRPr/>
            </a:pPr>
            <a:endParaRPr lang="en-US" sz="2400" dirty="0">
              <a:solidFill>
                <a:srgbClr val="FFFFFF"/>
              </a:solidFill>
              <a:latin typeface="CiscoSans"/>
              <a:cs typeface="CiscoSans"/>
            </a:endParaRPr>
          </a:p>
        </p:txBody>
      </p:sp>
      <p:sp>
        <p:nvSpPr>
          <p:cNvPr id="10" name="Rectangle 9"/>
          <p:cNvSpPr/>
          <p:nvPr/>
        </p:nvSpPr>
        <p:spPr>
          <a:xfrm>
            <a:off x="446617" y="311152"/>
            <a:ext cx="43836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609585">
              <a:defRPr/>
            </a:pPr>
            <a:endParaRPr lang="en-US" sz="2400" dirty="0">
              <a:solidFill>
                <a:srgbClr val="FFFFFF"/>
              </a:solidFill>
              <a:latin typeface="CiscoSans"/>
              <a:cs typeface="CiscoSans"/>
            </a:endParaRPr>
          </a:p>
        </p:txBody>
      </p:sp>
      <p:sp>
        <p:nvSpPr>
          <p:cNvPr id="11" name="Rectangle 10"/>
          <p:cNvSpPr/>
          <p:nvPr/>
        </p:nvSpPr>
        <p:spPr>
          <a:xfrm>
            <a:off x="9306985" y="311151"/>
            <a:ext cx="2451100"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609585">
              <a:defRPr/>
            </a:pPr>
            <a:endParaRPr lang="en-US" sz="2400" dirty="0">
              <a:solidFill>
                <a:srgbClr val="FFFFFF"/>
              </a:solidFill>
              <a:latin typeface="CiscoSans"/>
              <a:cs typeface="CiscoSans"/>
            </a:endParaRPr>
          </a:p>
        </p:txBody>
      </p:sp>
      <p:sp>
        <p:nvSpPr>
          <p:cNvPr id="12" name="Rectangle 11"/>
          <p:cNvSpPr/>
          <p:nvPr/>
        </p:nvSpPr>
        <p:spPr>
          <a:xfrm>
            <a:off x="446618" y="3028952"/>
            <a:ext cx="3363383"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609585">
              <a:defRPr/>
            </a:pPr>
            <a:endParaRPr lang="en-US" sz="2400" dirty="0">
              <a:solidFill>
                <a:srgbClr val="FFFFFF"/>
              </a:solidFill>
              <a:latin typeface="CiscoSans"/>
              <a:cs typeface="CiscoSans"/>
            </a:endParaRPr>
          </a:p>
        </p:txBody>
      </p:sp>
      <p:sp>
        <p:nvSpPr>
          <p:cNvPr id="13" name="Rectangle 12"/>
          <p:cNvSpPr/>
          <p:nvPr/>
        </p:nvSpPr>
        <p:spPr>
          <a:xfrm>
            <a:off x="3881967" y="3028952"/>
            <a:ext cx="5367867"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609585">
              <a:defRPr/>
            </a:pPr>
            <a:endParaRPr lang="en-US" sz="2400" dirty="0">
              <a:solidFill>
                <a:srgbClr val="FFFFFF"/>
              </a:solidFill>
              <a:latin typeface="CiscoSans"/>
              <a:cs typeface="CiscoSans"/>
            </a:endParaRPr>
          </a:p>
        </p:txBody>
      </p:sp>
      <p:sp>
        <p:nvSpPr>
          <p:cNvPr id="14" name="Rectangle 13"/>
          <p:cNvSpPr/>
          <p:nvPr/>
        </p:nvSpPr>
        <p:spPr>
          <a:xfrm>
            <a:off x="9306985" y="1682751"/>
            <a:ext cx="2451100" cy="34438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609585">
              <a:defRPr/>
            </a:pPr>
            <a:endParaRPr lang="en-US" sz="2400" dirty="0">
              <a:solidFill>
                <a:srgbClr val="FFFFFF"/>
              </a:solidFill>
              <a:latin typeface="CiscoSans"/>
              <a:cs typeface="CiscoSans"/>
            </a:endParaRPr>
          </a:p>
        </p:txBody>
      </p:sp>
      <p:sp>
        <p:nvSpPr>
          <p:cNvPr id="15" name="Rectangle 14"/>
          <p:cNvSpPr/>
          <p:nvPr/>
        </p:nvSpPr>
        <p:spPr>
          <a:xfrm>
            <a:off x="9306985" y="5183717"/>
            <a:ext cx="2451100" cy="13038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anchor="ctr"/>
          <a:lstStyle/>
          <a:p>
            <a:pPr algn="ctr" defTabSz="609585">
              <a:defRPr/>
            </a:pPr>
            <a:endParaRPr lang="en-US" sz="2400" dirty="0">
              <a:solidFill>
                <a:srgbClr val="FFFFFF"/>
              </a:solidFill>
              <a:latin typeface="CiscoSans"/>
              <a:cs typeface="CiscoSans"/>
            </a:endParaRPr>
          </a:p>
        </p:txBody>
      </p:sp>
      <p:sp>
        <p:nvSpPr>
          <p:cNvPr id="49" name="Picture Placeholder 25"/>
          <p:cNvSpPr>
            <a:spLocks noGrp="1"/>
          </p:cNvSpPr>
          <p:nvPr>
            <p:ph type="pic" sz="quarter" idx="11"/>
          </p:nvPr>
        </p:nvSpPr>
        <p:spPr>
          <a:xfrm>
            <a:off x="4891994" y="311151"/>
            <a:ext cx="4357148" cy="2660652"/>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1"/>
                </a:solidFill>
                <a:latin typeface="+mn-lt"/>
                <a:ea typeface="+mn-ea"/>
                <a:cs typeface="Broadway" panose="04040905080B02020502" pitchFamily="82" charset="0"/>
              </a:defRPr>
            </a:lvl1pPr>
          </a:lstStyle>
          <a:p>
            <a:pPr lvl="0"/>
            <a:r>
              <a:rPr lang="en-US" noProof="0" dirty="0"/>
              <a:t>Click icon to add picture</a:t>
            </a:r>
          </a:p>
        </p:txBody>
      </p:sp>
      <p:sp>
        <p:nvSpPr>
          <p:cNvPr id="26" name="Picture Placeholder 25"/>
          <p:cNvSpPr>
            <a:spLocks noGrp="1"/>
          </p:cNvSpPr>
          <p:nvPr>
            <p:ph type="pic" sz="quarter" idx="10"/>
          </p:nvPr>
        </p:nvSpPr>
        <p:spPr>
          <a:xfrm>
            <a:off x="427771" y="311151"/>
            <a:ext cx="4402668" cy="2660652"/>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dirty="0"/>
              <a:t>Click icon to add picture</a:t>
            </a:r>
          </a:p>
        </p:txBody>
      </p:sp>
      <p:sp>
        <p:nvSpPr>
          <p:cNvPr id="51" name="Picture Placeholder 25"/>
          <p:cNvSpPr>
            <a:spLocks noGrp="1"/>
          </p:cNvSpPr>
          <p:nvPr>
            <p:ph type="pic" sz="quarter" idx="12"/>
          </p:nvPr>
        </p:nvSpPr>
        <p:spPr>
          <a:xfrm>
            <a:off x="9306444" y="311151"/>
            <a:ext cx="2451640" cy="13081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dirty="0"/>
              <a:t>Click icon to add picture</a:t>
            </a:r>
          </a:p>
        </p:txBody>
      </p:sp>
      <p:sp>
        <p:nvSpPr>
          <p:cNvPr id="53" name="Picture Placeholder 25"/>
          <p:cNvSpPr>
            <a:spLocks noGrp="1"/>
          </p:cNvSpPr>
          <p:nvPr>
            <p:ph type="pic" sz="quarter" idx="13"/>
          </p:nvPr>
        </p:nvSpPr>
        <p:spPr>
          <a:xfrm>
            <a:off x="427765" y="3028958"/>
            <a:ext cx="3383227" cy="345893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dirty="0"/>
              <a:t>Click icon to add picture</a:t>
            </a:r>
          </a:p>
        </p:txBody>
      </p:sp>
      <p:sp>
        <p:nvSpPr>
          <p:cNvPr id="55" name="Picture Placeholder 25"/>
          <p:cNvSpPr>
            <a:spLocks noGrp="1"/>
          </p:cNvSpPr>
          <p:nvPr>
            <p:ph type="pic" sz="quarter" idx="14"/>
          </p:nvPr>
        </p:nvSpPr>
        <p:spPr>
          <a:xfrm>
            <a:off x="3877779" y="3028958"/>
            <a:ext cx="5371355" cy="345893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dirty="0"/>
              <a:t>Click icon to add picture</a:t>
            </a:r>
          </a:p>
        </p:txBody>
      </p:sp>
      <p:sp>
        <p:nvSpPr>
          <p:cNvPr id="57" name="Picture Placeholder 25"/>
          <p:cNvSpPr>
            <a:spLocks noGrp="1"/>
          </p:cNvSpPr>
          <p:nvPr>
            <p:ph type="pic" sz="quarter" idx="15"/>
          </p:nvPr>
        </p:nvSpPr>
        <p:spPr>
          <a:xfrm>
            <a:off x="9306444" y="1676401"/>
            <a:ext cx="2451640" cy="344941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dirty="0"/>
              <a:t>Click icon to add picture</a:t>
            </a:r>
          </a:p>
        </p:txBody>
      </p:sp>
      <p:sp>
        <p:nvSpPr>
          <p:cNvPr id="59" name="Picture Placeholder 25"/>
          <p:cNvSpPr>
            <a:spLocks noGrp="1"/>
          </p:cNvSpPr>
          <p:nvPr>
            <p:ph type="pic" sz="quarter" idx="16"/>
          </p:nvPr>
        </p:nvSpPr>
        <p:spPr>
          <a:xfrm>
            <a:off x="9306444" y="5182964"/>
            <a:ext cx="2451640" cy="1304925"/>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1"/>
                </a:solidFill>
                <a:latin typeface="+mn-lt"/>
                <a:ea typeface="+mn-ea"/>
                <a:cs typeface="Broadway" panose="04040905080B02020502" pitchFamily="82" charset="0"/>
              </a:defRPr>
            </a:lvl1pPr>
          </a:lstStyle>
          <a:p>
            <a:pPr lvl="0"/>
            <a:r>
              <a:rPr lang="en-US" noProof="0" dirty="0"/>
              <a:t>Click icon to add picture</a:t>
            </a:r>
          </a:p>
        </p:txBody>
      </p:sp>
    </p:spTree>
    <p:extLst>
      <p:ext uri="{BB962C8B-B14F-4D97-AF65-F5344CB8AC3E}">
        <p14:creationId xmlns:p14="http://schemas.microsoft.com/office/powerpoint/2010/main" val="58584183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899033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Wide screen video">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704851" y="777240"/>
            <a:ext cx="10886575"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1867" kern="1200" baseline="0" smtClean="0">
                <a:solidFill>
                  <a:schemeClr val="lt1"/>
                </a:solidFill>
                <a:latin typeface="+mn-lt"/>
                <a:ea typeface="+mn-ea"/>
                <a:cs typeface="CiscoSans"/>
              </a:defRPr>
            </a:lvl1pPr>
          </a:lstStyle>
          <a:p>
            <a:pPr lvl="0"/>
            <a:r>
              <a:rPr lang="en-US" noProof="0" dirty="0"/>
              <a:t>Click icon to add media</a:t>
            </a:r>
          </a:p>
        </p:txBody>
      </p:sp>
    </p:spTree>
    <p:extLst>
      <p:ext uri="{BB962C8B-B14F-4D97-AF65-F5344CB8AC3E}">
        <p14:creationId xmlns:p14="http://schemas.microsoft.com/office/powerpoint/2010/main" val="96717397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tandard video">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905785" y="778669"/>
            <a:ext cx="5899416"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1867" kern="1200">
                <a:solidFill>
                  <a:schemeClr val="lt1"/>
                </a:solidFill>
                <a:latin typeface="+mn-lt"/>
                <a:ea typeface="+mn-ea"/>
                <a:cs typeface="CiscoSans"/>
              </a:defRPr>
            </a:lvl1pPr>
          </a:lstStyle>
          <a:p>
            <a:pPr lvl="0"/>
            <a:r>
              <a:rPr lang="en-US" noProof="0" dirty="0"/>
              <a:t>Click icon to add media</a:t>
            </a:r>
          </a:p>
        </p:txBody>
      </p:sp>
    </p:spTree>
    <p:extLst>
      <p:ext uri="{BB962C8B-B14F-4D97-AF65-F5344CB8AC3E}">
        <p14:creationId xmlns:p14="http://schemas.microsoft.com/office/powerpoint/2010/main" val="62190305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pic>
        <p:nvPicPr>
          <p:cNvPr id="3" name="Picture 6"/>
          <p:cNvPicPr>
            <a:picLocks noChangeAspect="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4768851" y="2194985"/>
            <a:ext cx="2654300" cy="24765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49324802"/>
      </p:ext>
    </p:extLst>
  </p:cSld>
  <p:clrMapOvr>
    <a:masterClrMapping/>
  </p:clrMapOvr>
  <p:transition spd="slow">
    <p:wip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0567" y="291929"/>
            <a:ext cx="11350752" cy="1020576"/>
          </a:xfrm>
        </p:spPr>
        <p:txBody>
          <a:bodyPr/>
          <a:lstStyle>
            <a:lvl1pPr>
              <a:defRPr baseline="0"/>
            </a:lvl1pPr>
          </a:lstStyle>
          <a:p>
            <a:r>
              <a:rPr lang="en-US"/>
              <a:t>Click to edit Master title style</a:t>
            </a:r>
            <a:endParaRPr lang="en-US" dirty="0"/>
          </a:p>
        </p:txBody>
      </p:sp>
      <p:sp>
        <p:nvSpPr>
          <p:cNvPr id="5" name="Content Placeholder 4"/>
          <p:cNvSpPr>
            <a:spLocks noGrp="1"/>
          </p:cNvSpPr>
          <p:nvPr>
            <p:ph sz="quarter" idx="11"/>
          </p:nvPr>
        </p:nvSpPr>
        <p:spPr>
          <a:xfrm>
            <a:off x="470567" y="1437218"/>
            <a:ext cx="11350752" cy="453178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7" name="Slide Number Placeholder 1"/>
          <p:cNvSpPr>
            <a:spLocks noGrp="1"/>
          </p:cNvSpPr>
          <p:nvPr>
            <p:ph type="sldNum" sz="quarter" idx="4"/>
          </p:nvPr>
        </p:nvSpPr>
        <p:spPr>
          <a:xfrm>
            <a:off x="11212945" y="6513319"/>
            <a:ext cx="479555" cy="366183"/>
          </a:xfrm>
          <a:prstGeom prst="rect">
            <a:avLst/>
          </a:prstGeom>
        </p:spPr>
        <p:txBody>
          <a:bodyPr vert="horz" lIns="91440" tIns="45720" rIns="91440" bIns="45720" rtlCol="0" anchor="ctr"/>
          <a:lstStyle>
            <a:lvl1pPr algn="r">
              <a:defRPr lang="en-US" sz="8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6963378" y="6616600"/>
            <a:ext cx="955817" cy="185296"/>
          </a:xfrm>
          <a:prstGeom prst="rect">
            <a:avLst/>
          </a:prstGeom>
          <a:noFill/>
          <a:ln w="9525">
            <a:noFill/>
            <a:miter lim="800000"/>
            <a:headEnd/>
            <a:tailEnd/>
          </a:ln>
          <a:effectLst/>
        </p:spPr>
        <p:txBody>
          <a:bodyPr wrap="square" lIns="61586" tIns="30792" rIns="61586" bIns="30792" anchor="b">
            <a:spAutoFit/>
          </a:bodyPr>
          <a:lstStyle>
            <a:lvl1pPr algn="l">
              <a:defRPr lang="en-US" sz="800" dirty="0">
                <a:solidFill>
                  <a:srgbClr val="000000"/>
                </a:solidFill>
                <a:cs typeface="CiscoSans Thin"/>
              </a:defRPr>
            </a:lvl1pPr>
          </a:lstStyle>
          <a:p>
            <a:pPr defTabSz="814305"/>
            <a:endParaRPr lang="en-US">
              <a:ea typeface="ＭＳ Ｐゴシック" charset="0"/>
            </a:endParaRPr>
          </a:p>
        </p:txBody>
      </p:sp>
    </p:spTree>
    <p:extLst>
      <p:ext uri="{BB962C8B-B14F-4D97-AF65-F5344CB8AC3E}">
        <p14:creationId xmlns:p14="http://schemas.microsoft.com/office/powerpoint/2010/main" val="57301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04"/>
            <a:ext cx="12192000" cy="6857193"/>
          </a:xfrm>
          <a:prstGeom prst="rect">
            <a:avLst/>
          </a:prstGeom>
        </p:spPr>
      </p:pic>
      <p:sp>
        <p:nvSpPr>
          <p:cNvPr id="13" name="Rectangle 4"/>
          <p:cNvSpPr>
            <a:spLocks noChangeArrowheads="1"/>
          </p:cNvSpPr>
          <p:nvPr userDrawn="1"/>
        </p:nvSpPr>
        <p:spPr bwMode="ltGray">
          <a:xfrm>
            <a:off x="7980680" y="6595873"/>
            <a:ext cx="3296181" cy="206025"/>
          </a:xfrm>
          <a:prstGeom prst="rect">
            <a:avLst/>
          </a:prstGeom>
          <a:noFill/>
          <a:ln w="9525">
            <a:noFill/>
            <a:miter lim="800000"/>
            <a:headEnd/>
            <a:tailEnd/>
          </a:ln>
          <a:effectLst/>
        </p:spPr>
        <p:txBody>
          <a:bodyPr wrap="square" lIns="82115" tIns="41056" rIns="82115" bIns="41056" anchor="b">
            <a:spAutoFit/>
          </a:bodyPr>
          <a:lstStyle/>
          <a:p>
            <a:pPr algn="r" defTabSz="814305"/>
            <a:r>
              <a:rPr lang="en-US" sz="800" dirty="0">
                <a:solidFill>
                  <a:srgbClr val="FFFFFF">
                    <a:alpha val="60000"/>
                  </a:srgbClr>
                </a:solidFill>
                <a:cs typeface="CiscoSans Thin"/>
              </a:rPr>
              <a:t>© 2017  Cisco and/or its affiliates. All rights reserved.   Cisco Public</a:t>
            </a:r>
          </a:p>
        </p:txBody>
      </p:sp>
      <p:sp>
        <p:nvSpPr>
          <p:cNvPr id="9" name="Slide Number Placeholder 1"/>
          <p:cNvSpPr>
            <a:spLocks noGrp="1"/>
          </p:cNvSpPr>
          <p:nvPr>
            <p:ph type="sldNum" sz="quarter" idx="4"/>
          </p:nvPr>
        </p:nvSpPr>
        <p:spPr>
          <a:xfrm>
            <a:off x="11212945" y="6513319"/>
            <a:ext cx="479555" cy="366183"/>
          </a:xfrm>
          <a:prstGeom prst="rect">
            <a:avLst/>
          </a:prstGeom>
        </p:spPr>
        <p:txBody>
          <a:bodyPr vert="horz" lIns="91440" tIns="45720" rIns="91440" bIns="45720" rtlCol="0" anchor="ctr"/>
          <a:lstStyle>
            <a:lvl1pPr algn="r">
              <a:defRPr lang="en-US" sz="8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rPr>
              <a:pPr/>
              <a:t>‹#›</a:t>
            </a:fld>
            <a:endParaRPr dirty="0">
              <a:solidFill>
                <a:srgbClr val="FFFFFF">
                  <a:alpha val="60000"/>
                </a:srgbClr>
              </a:solidFill>
            </a:endParaRPr>
          </a:p>
        </p:txBody>
      </p:sp>
      <p:sp>
        <p:nvSpPr>
          <p:cNvPr id="10" name="Text Placeholder 3"/>
          <p:cNvSpPr>
            <a:spLocks noGrp="1"/>
          </p:cNvSpPr>
          <p:nvPr>
            <p:ph type="body" sz="quarter" idx="10" hasCustomPrompt="1"/>
          </p:nvPr>
        </p:nvSpPr>
        <p:spPr>
          <a:xfrm>
            <a:off x="404368" y="1797051"/>
            <a:ext cx="11036459" cy="3807477"/>
          </a:xfrm>
          <a:prstGeom prst="rect">
            <a:avLst/>
          </a:prstGeom>
        </p:spPr>
        <p:txBody>
          <a:bodyPr lIns="91420" tIns="45710" rIns="91420" bIns="45710">
            <a:noAutofit/>
          </a:bodyPr>
          <a:lstStyle>
            <a:lvl1pPr marL="374561" indent="-298382">
              <a:lnSpc>
                <a:spcPct val="95000"/>
              </a:lnSpc>
              <a:spcBef>
                <a:spcPts val="1480"/>
              </a:spcBef>
              <a:buClrTx/>
              <a:buSzPct val="80000"/>
              <a:buFont typeface="Arial"/>
              <a:buChar char="•"/>
              <a:defRPr sz="2667" b="0" i="0">
                <a:solidFill>
                  <a:schemeClr val="bg1"/>
                </a:solidFill>
                <a:latin typeface="+mn-lt"/>
                <a:cs typeface="CiscoSans ExtraLight"/>
              </a:defRPr>
            </a:lvl1pPr>
            <a:lvl2pPr marL="677176" indent="-287799">
              <a:lnSpc>
                <a:spcPct val="95000"/>
              </a:lnSpc>
              <a:spcBef>
                <a:spcPts val="600"/>
              </a:spcBef>
              <a:buClrTx/>
              <a:buSzPct val="80000"/>
              <a:buFont typeface="Arial"/>
              <a:buChar char="•"/>
              <a:defRPr sz="2400" b="0" i="0">
                <a:solidFill>
                  <a:schemeClr val="bg1"/>
                </a:solidFill>
                <a:latin typeface="+mn-lt"/>
                <a:cs typeface="CiscoSans ExtraLight"/>
              </a:defRPr>
            </a:lvl2pPr>
            <a:lvl3pPr marL="996719" indent="-228548">
              <a:buClrTx/>
              <a:buSzPct val="80000"/>
              <a:buFont typeface="Arial"/>
              <a:buChar char="•"/>
              <a:defRPr sz="2133" b="0" i="0">
                <a:solidFill>
                  <a:schemeClr val="bg1"/>
                </a:solidFill>
                <a:latin typeface="+mn-lt"/>
                <a:cs typeface="CiscoSans ExtraLight"/>
              </a:defRPr>
            </a:lvl3pPr>
            <a:lvl4pPr marL="1214683" indent="-228548">
              <a:buClrTx/>
              <a:buSzPct val="80000"/>
              <a:buFont typeface="Arial"/>
              <a:buChar char="•"/>
              <a:defRPr sz="1867" b="0" i="0">
                <a:solidFill>
                  <a:schemeClr val="bg1"/>
                </a:solidFill>
                <a:latin typeface="+mn-lt"/>
                <a:cs typeface="CiscoSans ExtraLight"/>
              </a:defRPr>
            </a:lvl4pPr>
            <a:lvl5pPr marL="1443231" indent="-224314">
              <a:buClrTx/>
              <a:buSzPct val="80000"/>
              <a:buFont typeface="Arial"/>
              <a:buChar char="•"/>
              <a:defRPr sz="1600" b="0" i="0">
                <a:solidFill>
                  <a:schemeClr val="bg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1" name="Title Placeholder 5"/>
          <p:cNvSpPr>
            <a:spLocks noGrp="1"/>
          </p:cNvSpPr>
          <p:nvPr>
            <p:ph type="title"/>
          </p:nvPr>
        </p:nvSpPr>
        <p:spPr bwMode="auto">
          <a:xfrm>
            <a:off x="4754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a:solidFill>
                  <a:srgbClr val="FFFFFF"/>
                </a:solidFill>
              </a:defRPr>
            </a:lvl1pPr>
          </a:lstStyle>
          <a:p>
            <a:pPr lvl="0"/>
            <a:r>
              <a:rPr lang="en-US"/>
              <a:t>Click to edit Master title style</a:t>
            </a:r>
            <a:endParaRPr lang="en-GB" dirty="0"/>
          </a:p>
        </p:txBody>
      </p:sp>
      <p:sp>
        <p:nvSpPr>
          <p:cNvPr id="14" name="Footer Placeholder 2"/>
          <p:cNvSpPr>
            <a:spLocks noGrp="1"/>
          </p:cNvSpPr>
          <p:nvPr>
            <p:ph type="ftr" sz="quarter" idx="3"/>
          </p:nvPr>
        </p:nvSpPr>
        <p:spPr>
          <a:xfrm>
            <a:off x="6963378" y="6616600"/>
            <a:ext cx="955817" cy="185296"/>
          </a:xfrm>
          <a:prstGeom prst="rect">
            <a:avLst/>
          </a:prstGeom>
          <a:noFill/>
          <a:ln w="9525">
            <a:noFill/>
            <a:miter lim="800000"/>
            <a:headEnd/>
            <a:tailEnd/>
          </a:ln>
          <a:effectLst/>
        </p:spPr>
        <p:txBody>
          <a:bodyPr wrap="square" lIns="61586" tIns="30792" rIns="61586" bIns="30792" anchor="b">
            <a:spAutoFit/>
          </a:bodyPr>
          <a:lstStyle>
            <a:lvl1pPr algn="l">
              <a:defRPr lang="en-US" sz="800" dirty="0">
                <a:solidFill>
                  <a:schemeClr val="bg1">
                    <a:alpha val="60000"/>
                  </a:schemeClr>
                </a:solidFill>
                <a:cs typeface="CiscoSans Thin"/>
              </a:defRPr>
            </a:lvl1pPr>
          </a:lstStyle>
          <a:p>
            <a:pPr defTabSz="814305"/>
            <a:r>
              <a:rPr lang="de-DE">
                <a:ea typeface="ＭＳ Ｐゴシック" charset="0"/>
              </a:rPr>
              <a:t>ONS 2017</a:t>
            </a:r>
          </a:p>
        </p:txBody>
      </p:sp>
    </p:spTree>
    <p:extLst>
      <p:ext uri="{BB962C8B-B14F-4D97-AF65-F5344CB8AC3E}">
        <p14:creationId xmlns:p14="http://schemas.microsoft.com/office/powerpoint/2010/main" val="1999783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12192000" cy="6866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4768727" y="2194987"/>
            <a:ext cx="2654548"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6039976"/>
      </p:ext>
    </p:extLst>
  </p:cSld>
  <p:clrMapOvr>
    <a:masterClrMapping/>
  </p:clrMapOvr>
  <p:transition spd="slow">
    <p:wip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losing_Photo">
    <p:spTree>
      <p:nvGrpSpPr>
        <p:cNvPr id="1" name=""/>
        <p:cNvGrpSpPr/>
        <p:nvPr/>
      </p:nvGrpSpPr>
      <p:grpSpPr>
        <a:xfrm>
          <a:off x="0" y="0"/>
          <a:ext cx="0" cy="0"/>
          <a:chOff x="0" y="0"/>
          <a:chExt cx="0" cy="0"/>
        </a:xfrm>
      </p:grpSpPr>
      <p:pic>
        <p:nvPicPr>
          <p:cNvPr id="16" name="Picture Placeholder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288" y="-3428"/>
            <a:ext cx="12200575" cy="6864856"/>
          </a:xfrm>
          <a:prstGeom prst="rect">
            <a:avLst/>
          </a:prstGeom>
        </p:spPr>
      </p:pic>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8880" y="2191512"/>
            <a:ext cx="2774237" cy="2474976"/>
          </a:xfrm>
          <a:prstGeom prst="rect">
            <a:avLst/>
          </a:prstGeom>
        </p:spPr>
      </p:pic>
    </p:spTree>
    <p:extLst>
      <p:ext uri="{BB962C8B-B14F-4D97-AF65-F5344CB8AC3E}">
        <p14:creationId xmlns:p14="http://schemas.microsoft.com/office/powerpoint/2010/main" val="2586206140"/>
      </p:ext>
    </p:extLst>
  </p:cSld>
  <p:clrMapOvr>
    <a:masterClrMapping/>
  </p:clrMapOvr>
  <p:transition spd="slow">
    <p:wip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Bullet_Title only">
    <p:spTree>
      <p:nvGrpSpPr>
        <p:cNvPr id="1" name=""/>
        <p:cNvGrpSpPr/>
        <p:nvPr/>
      </p:nvGrpSpPr>
      <p:grpSpPr>
        <a:xfrm>
          <a:off x="0" y="0"/>
          <a:ext cx="0" cy="0"/>
          <a:chOff x="0" y="0"/>
          <a:chExt cx="0" cy="0"/>
        </a:xfrm>
      </p:grpSpPr>
      <p:grpSp>
        <p:nvGrpSpPr>
          <p:cNvPr id="4" name="Group 3"/>
          <p:cNvGrpSpPr/>
          <p:nvPr userDrawn="1"/>
        </p:nvGrpSpPr>
        <p:grpSpPr>
          <a:xfrm>
            <a:off x="0" y="-85"/>
            <a:ext cx="12192000" cy="7061285"/>
            <a:chOff x="0" y="-64"/>
            <a:chExt cx="9144000" cy="5295964"/>
          </a:xfrm>
        </p:grpSpPr>
        <p:sp>
          <p:nvSpPr>
            <p:cNvPr id="5" name="Rectangle 4"/>
            <p:cNvSpPr/>
            <p:nvPr userDrawn="1"/>
          </p:nvSpPr>
          <p:spPr>
            <a:xfrm>
              <a:off x="0" y="0"/>
              <a:ext cx="9144000" cy="51435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dirty="0">
                <a:solidFill>
                  <a:srgbClr val="FFFFFF"/>
                </a:solidFill>
                <a:latin typeface="Arial"/>
              </a:endParaRPr>
            </a:p>
          </p:txBody>
        </p:sp>
        <p:sp>
          <p:nvSpPr>
            <p:cNvPr id="6" name="Oval 5"/>
            <p:cNvSpPr/>
            <p:nvPr userDrawn="1"/>
          </p:nvSpPr>
          <p:spPr>
            <a:xfrm>
              <a:off x="341575" y="259428"/>
              <a:ext cx="8595609" cy="4884072"/>
            </a:xfrm>
            <a:prstGeom prst="ellipse">
              <a:avLst/>
            </a:prstGeom>
            <a:gradFill flip="none" rotWithShape="1">
              <a:gsLst>
                <a:gs pos="17000">
                  <a:schemeClr val="bg1"/>
                </a:gs>
                <a:gs pos="100000">
                  <a:schemeClr val="bg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latin typeface="Arial"/>
              </a:endParaRPr>
            </a:p>
          </p:txBody>
        </p:sp>
        <p:sp>
          <p:nvSpPr>
            <p:cNvPr id="7" name="Oval 6"/>
            <p:cNvSpPr/>
            <p:nvPr userDrawn="1"/>
          </p:nvSpPr>
          <p:spPr>
            <a:xfrm>
              <a:off x="493975" y="411828"/>
              <a:ext cx="8595609" cy="4884072"/>
            </a:xfrm>
            <a:prstGeom prst="ellipse">
              <a:avLst/>
            </a:prstGeom>
            <a:gradFill flip="none" rotWithShape="1">
              <a:gsLst>
                <a:gs pos="17000">
                  <a:schemeClr val="bg1"/>
                </a:gs>
                <a:gs pos="100000">
                  <a:schemeClr val="bg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latin typeface="Arial"/>
              </a:endParaRPr>
            </a:p>
          </p:txBody>
        </p:sp>
        <p:sp>
          <p:nvSpPr>
            <p:cNvPr id="8" name="Freeform 7"/>
            <p:cNvSpPr>
              <a:spLocks noChangeArrowheads="1"/>
            </p:cNvSpPr>
            <p:nvPr userDrawn="1"/>
          </p:nvSpPr>
          <p:spPr bwMode="auto">
            <a:xfrm flipV="1">
              <a:off x="0" y="-64"/>
              <a:ext cx="9144000" cy="5143500"/>
            </a:xfrm>
            <a:custGeom>
              <a:avLst/>
              <a:gdLst>
                <a:gd name="connsiteX0" fmla="*/ 1990457 w 9144000"/>
                <a:gd name="connsiteY0" fmla="*/ 175005 h 5143500"/>
                <a:gd name="connsiteX1" fmla="*/ 2025490 w 9144000"/>
                <a:gd name="connsiteY1" fmla="*/ 139857 h 5143500"/>
                <a:gd name="connsiteX2" fmla="*/ 1990457 w 9144000"/>
                <a:gd name="connsiteY2" fmla="*/ 104831 h 5143500"/>
                <a:gd name="connsiteX3" fmla="*/ 1956899 w 9144000"/>
                <a:gd name="connsiteY3" fmla="*/ 129902 h 5143500"/>
                <a:gd name="connsiteX4" fmla="*/ 1752476 w 9144000"/>
                <a:gd name="connsiteY4" fmla="*/ 129902 h 5143500"/>
                <a:gd name="connsiteX5" fmla="*/ 1687571 w 9144000"/>
                <a:gd name="connsiteY5" fmla="*/ 129902 h 5143500"/>
                <a:gd name="connsiteX6" fmla="*/ 1685974 w 9144000"/>
                <a:gd name="connsiteY6" fmla="*/ 124740 h 5143500"/>
                <a:gd name="connsiteX7" fmla="*/ 1229064 w 9144000"/>
                <a:gd name="connsiteY7" fmla="*/ 124740 h 5143500"/>
                <a:gd name="connsiteX8" fmla="*/ 1211240 w 9144000"/>
                <a:gd name="connsiteY8" fmla="*/ 106921 h 5143500"/>
                <a:gd name="connsiteX9" fmla="*/ 1104296 w 9144000"/>
                <a:gd name="connsiteY9" fmla="*/ 1 h 5143500"/>
                <a:gd name="connsiteX10" fmla="*/ 1087086 w 9144000"/>
                <a:gd name="connsiteY10" fmla="*/ 1 h 5143500"/>
                <a:gd name="connsiteX11" fmla="*/ 1193908 w 9144000"/>
                <a:gd name="connsiteY11" fmla="*/ 106921 h 5143500"/>
                <a:gd name="connsiteX12" fmla="*/ 1211240 w 9144000"/>
                <a:gd name="connsiteY12" fmla="*/ 124740 h 5143500"/>
                <a:gd name="connsiteX13" fmla="*/ 1234227 w 9144000"/>
                <a:gd name="connsiteY13" fmla="*/ 147722 h 5143500"/>
                <a:gd name="connsiteX14" fmla="*/ 1956407 w 9144000"/>
                <a:gd name="connsiteY14" fmla="*/ 147722 h 5143500"/>
                <a:gd name="connsiteX15" fmla="*/ 1990457 w 9144000"/>
                <a:gd name="connsiteY15" fmla="*/ 175005 h 5143500"/>
                <a:gd name="connsiteX16" fmla="*/ 0 w 9144000"/>
                <a:gd name="connsiteY16" fmla="*/ 272058 h 5143500"/>
                <a:gd name="connsiteX17" fmla="*/ 1 w 9144000"/>
                <a:gd name="connsiteY17" fmla="*/ 272058 h 5143500"/>
                <a:gd name="connsiteX18" fmla="*/ 4755 w 9144000"/>
                <a:gd name="connsiteY18" fmla="*/ 272058 h 5143500"/>
                <a:gd name="connsiteX19" fmla="*/ 1626 w 9144000"/>
                <a:gd name="connsiteY19" fmla="*/ 268925 h 5143500"/>
                <a:gd name="connsiteX20" fmla="*/ 0 w 9144000"/>
                <a:gd name="connsiteY20" fmla="*/ 272058 h 5143500"/>
                <a:gd name="connsiteX21" fmla="*/ 239055 w 9144000"/>
                <a:gd name="connsiteY21" fmla="*/ 299165 h 5143500"/>
                <a:gd name="connsiteX22" fmla="*/ 274224 w 9144000"/>
                <a:gd name="connsiteY22" fmla="*/ 264046 h 5143500"/>
                <a:gd name="connsiteX23" fmla="*/ 239055 w 9144000"/>
                <a:gd name="connsiteY23" fmla="*/ 228804 h 5143500"/>
                <a:gd name="connsiteX24" fmla="*/ 204992 w 9144000"/>
                <a:gd name="connsiteY24" fmla="*/ 254558 h 5143500"/>
                <a:gd name="connsiteX25" fmla="*/ 36489 w 9144000"/>
                <a:gd name="connsiteY25" fmla="*/ 254558 h 5143500"/>
                <a:gd name="connsiteX26" fmla="*/ 16572 w 9144000"/>
                <a:gd name="connsiteY26" fmla="*/ 254558 h 5143500"/>
                <a:gd name="connsiteX27" fmla="*/ 13344 w 9144000"/>
                <a:gd name="connsiteY27" fmla="*/ 250388 h 5143500"/>
                <a:gd name="connsiteX28" fmla="*/ 8345 w 9144000"/>
                <a:gd name="connsiteY28" fmla="*/ 248866 h 5143500"/>
                <a:gd name="connsiteX29" fmla="*/ 2 w 9144000"/>
                <a:gd name="connsiteY29" fmla="*/ 254706 h 5143500"/>
                <a:gd name="connsiteX30" fmla="*/ 262 w 9144000"/>
                <a:gd name="connsiteY30" fmla="*/ 254706 h 5143500"/>
                <a:gd name="connsiteX31" fmla="*/ 464 w 9144000"/>
                <a:gd name="connsiteY31" fmla="*/ 254706 h 5143500"/>
                <a:gd name="connsiteX32" fmla="*/ 385 w 9144000"/>
                <a:gd name="connsiteY32" fmla="*/ 255122 h 5143500"/>
                <a:gd name="connsiteX33" fmla="*/ 434 w 9144000"/>
                <a:gd name="connsiteY33" fmla="*/ 254829 h 5143500"/>
                <a:gd name="connsiteX34" fmla="*/ 1 w 9144000"/>
                <a:gd name="connsiteY34" fmla="*/ 254829 h 5143500"/>
                <a:gd name="connsiteX35" fmla="*/ 1 w 9144000"/>
                <a:gd name="connsiteY35" fmla="*/ 255152 h 5143500"/>
                <a:gd name="connsiteX36" fmla="*/ 1 w 9144000"/>
                <a:gd name="connsiteY36" fmla="*/ 257144 h 5143500"/>
                <a:gd name="connsiteX37" fmla="*/ 0 w 9144000"/>
                <a:gd name="connsiteY37" fmla="*/ 257145 h 5143500"/>
                <a:gd name="connsiteX38" fmla="*/ 0 w 9144000"/>
                <a:gd name="connsiteY38" fmla="*/ 264046 h 5143500"/>
                <a:gd name="connsiteX39" fmla="*/ 0 w 9144000"/>
                <a:gd name="connsiteY39" fmla="*/ 265032 h 5143500"/>
                <a:gd name="connsiteX40" fmla="*/ 0 w 9144000"/>
                <a:gd name="connsiteY40" fmla="*/ 271932 h 5143500"/>
                <a:gd name="connsiteX41" fmla="*/ 1599 w 9144000"/>
                <a:gd name="connsiteY41" fmla="*/ 268728 h 5143500"/>
                <a:gd name="connsiteX42" fmla="*/ 4673 w 9144000"/>
                <a:gd name="connsiteY42" fmla="*/ 271932 h 5143500"/>
                <a:gd name="connsiteX43" fmla="*/ 8854 w 9144000"/>
                <a:gd name="connsiteY43" fmla="*/ 272918 h 5143500"/>
                <a:gd name="connsiteX44" fmla="*/ 13158 w 9144000"/>
                <a:gd name="connsiteY44" fmla="*/ 271932 h 5143500"/>
                <a:gd name="connsiteX45" fmla="*/ 204500 w 9144000"/>
                <a:gd name="connsiteY45" fmla="*/ 271932 h 5143500"/>
                <a:gd name="connsiteX46" fmla="*/ 239055 w 9144000"/>
                <a:gd name="connsiteY46" fmla="*/ 299165 h 5143500"/>
                <a:gd name="connsiteX47" fmla="*/ 1234548 w 9144000"/>
                <a:gd name="connsiteY47" fmla="*/ 403807 h 5143500"/>
                <a:gd name="connsiteX48" fmla="*/ 1270223 w 9144000"/>
                <a:gd name="connsiteY48" fmla="*/ 368630 h 5143500"/>
                <a:gd name="connsiteX49" fmla="*/ 1234548 w 9144000"/>
                <a:gd name="connsiteY49" fmla="*/ 333452 h 5143500"/>
                <a:gd name="connsiteX50" fmla="*/ 1220402 w 9144000"/>
                <a:gd name="connsiteY50" fmla="*/ 336650 h 5143500"/>
                <a:gd name="connsiteX51" fmla="*/ 1008570 w 9144000"/>
                <a:gd name="connsiteY51" fmla="*/ 124845 h 5143500"/>
                <a:gd name="connsiteX52" fmla="*/ 990733 w 9144000"/>
                <a:gd name="connsiteY52" fmla="*/ 107010 h 5143500"/>
                <a:gd name="connsiteX53" fmla="*/ 883710 w 9144000"/>
                <a:gd name="connsiteY53" fmla="*/ 1 h 5143500"/>
                <a:gd name="connsiteX54" fmla="*/ 865874 w 9144000"/>
                <a:gd name="connsiteY54" fmla="*/ 1 h 5143500"/>
                <a:gd name="connsiteX55" fmla="*/ 973388 w 9144000"/>
                <a:gd name="connsiteY55" fmla="*/ 107010 h 5143500"/>
                <a:gd name="connsiteX56" fmla="*/ 990733 w 9144000"/>
                <a:gd name="connsiteY56" fmla="*/ 124845 h 5143500"/>
                <a:gd name="connsiteX57" fmla="*/ 1209945 w 9144000"/>
                <a:gd name="connsiteY57" fmla="*/ 344029 h 5143500"/>
                <a:gd name="connsiteX58" fmla="*/ 1199489 w 9144000"/>
                <a:gd name="connsiteY58" fmla="*/ 368630 h 5143500"/>
                <a:gd name="connsiteX59" fmla="*/ 1234548 w 9144000"/>
                <a:gd name="connsiteY59" fmla="*/ 403807 h 5143500"/>
                <a:gd name="connsiteX60" fmla="*/ 1850434 w 9144000"/>
                <a:gd name="connsiteY60" fmla="*/ 421699 h 5143500"/>
                <a:gd name="connsiteX61" fmla="*/ 1885606 w 9144000"/>
                <a:gd name="connsiteY61" fmla="*/ 386517 h 5143500"/>
                <a:gd name="connsiteX62" fmla="*/ 1850434 w 9144000"/>
                <a:gd name="connsiteY62" fmla="*/ 351334 h 5143500"/>
                <a:gd name="connsiteX63" fmla="*/ 1835799 w 9144000"/>
                <a:gd name="connsiteY63" fmla="*/ 354533 h 5143500"/>
                <a:gd name="connsiteX64" fmla="*/ 1656986 w 9144000"/>
                <a:gd name="connsiteY64" fmla="*/ 175175 h 5143500"/>
                <a:gd name="connsiteX65" fmla="*/ 1234426 w 9144000"/>
                <a:gd name="connsiteY65" fmla="*/ 175175 h 5143500"/>
                <a:gd name="connsiteX66" fmla="*/ 1184127 w 9144000"/>
                <a:gd name="connsiteY66" fmla="*/ 124862 h 5143500"/>
                <a:gd name="connsiteX67" fmla="*/ 1166910 w 9144000"/>
                <a:gd name="connsiteY67" fmla="*/ 107024 h 5143500"/>
                <a:gd name="connsiteX68" fmla="*/ 1059917 w 9144000"/>
                <a:gd name="connsiteY68" fmla="*/ 0 h 5143500"/>
                <a:gd name="connsiteX69" fmla="*/ 1042085 w 9144000"/>
                <a:gd name="connsiteY69" fmla="*/ 0 h 5143500"/>
                <a:gd name="connsiteX70" fmla="*/ 1149078 w 9144000"/>
                <a:gd name="connsiteY70" fmla="*/ 107024 h 5143500"/>
                <a:gd name="connsiteX71" fmla="*/ 1166910 w 9144000"/>
                <a:gd name="connsiteY71" fmla="*/ 124862 h 5143500"/>
                <a:gd name="connsiteX72" fmla="*/ 1234426 w 9144000"/>
                <a:gd name="connsiteY72" fmla="*/ 193013 h 5143500"/>
                <a:gd name="connsiteX73" fmla="*/ 1656986 w 9144000"/>
                <a:gd name="connsiteY73" fmla="*/ 193013 h 5143500"/>
                <a:gd name="connsiteX74" fmla="*/ 1825346 w 9144000"/>
                <a:gd name="connsiteY74" fmla="*/ 361298 h 5143500"/>
                <a:gd name="connsiteX75" fmla="*/ 1815384 w 9144000"/>
                <a:gd name="connsiteY75" fmla="*/ 386517 h 5143500"/>
                <a:gd name="connsiteX76" fmla="*/ 1850434 w 9144000"/>
                <a:gd name="connsiteY76" fmla="*/ 421699 h 5143500"/>
                <a:gd name="connsiteX77" fmla="*/ 342635 w 9144000"/>
                <a:gd name="connsiteY77" fmla="*/ 422785 h 5143500"/>
                <a:gd name="connsiteX78" fmla="*/ 377784 w 9144000"/>
                <a:gd name="connsiteY78" fmla="*/ 387542 h 5143500"/>
                <a:gd name="connsiteX79" fmla="*/ 342635 w 9144000"/>
                <a:gd name="connsiteY79" fmla="*/ 352423 h 5143500"/>
                <a:gd name="connsiteX80" fmla="*/ 308593 w 9144000"/>
                <a:gd name="connsiteY80" fmla="*/ 378177 h 5143500"/>
                <a:gd name="connsiteX81" fmla="*/ 2 w 9144000"/>
                <a:gd name="connsiteY81" fmla="*/ 378177 h 5143500"/>
                <a:gd name="connsiteX82" fmla="*/ 2 w 9144000"/>
                <a:gd name="connsiteY82" fmla="*/ 395429 h 5143500"/>
                <a:gd name="connsiteX83" fmla="*/ 4815 w 9144000"/>
                <a:gd name="connsiteY83" fmla="*/ 395429 h 5143500"/>
                <a:gd name="connsiteX84" fmla="*/ 5625 w 9144000"/>
                <a:gd name="connsiteY84" fmla="*/ 395429 h 5143500"/>
                <a:gd name="connsiteX85" fmla="*/ 9095 w 9144000"/>
                <a:gd name="connsiteY85" fmla="*/ 396232 h 5143500"/>
                <a:gd name="connsiteX86" fmla="*/ 12668 w 9144000"/>
                <a:gd name="connsiteY86" fmla="*/ 395429 h 5143500"/>
                <a:gd name="connsiteX87" fmla="*/ 16249 w 9144000"/>
                <a:gd name="connsiteY87" fmla="*/ 395429 h 5143500"/>
                <a:gd name="connsiteX88" fmla="*/ 308101 w 9144000"/>
                <a:gd name="connsiteY88" fmla="*/ 395429 h 5143500"/>
                <a:gd name="connsiteX89" fmla="*/ 342635 w 9144000"/>
                <a:gd name="connsiteY89" fmla="*/ 422785 h 5143500"/>
                <a:gd name="connsiteX90" fmla="*/ 2413262 w 9144000"/>
                <a:gd name="connsiteY90" fmla="*/ 491642 h 5143500"/>
                <a:gd name="connsiteX91" fmla="*/ 2448397 w 9144000"/>
                <a:gd name="connsiteY91" fmla="*/ 456481 h 5143500"/>
                <a:gd name="connsiteX92" fmla="*/ 2422721 w 9144000"/>
                <a:gd name="connsiteY92" fmla="*/ 422427 h 5143500"/>
                <a:gd name="connsiteX93" fmla="*/ 2422721 w 9144000"/>
                <a:gd name="connsiteY93" fmla="*/ 69708 h 5143500"/>
                <a:gd name="connsiteX94" fmla="*/ 2353558 w 9144000"/>
                <a:gd name="connsiteY94" fmla="*/ 1 h 5143500"/>
                <a:gd name="connsiteX95" fmla="*/ 2335745 w 9144000"/>
                <a:gd name="connsiteY95" fmla="*/ 1 h 5143500"/>
                <a:gd name="connsiteX96" fmla="*/ 2405400 w 9144000"/>
                <a:gd name="connsiteY96" fmla="*/ 69708 h 5143500"/>
                <a:gd name="connsiteX97" fmla="*/ 2405400 w 9144000"/>
                <a:gd name="connsiteY97" fmla="*/ 421935 h 5143500"/>
                <a:gd name="connsiteX98" fmla="*/ 2378127 w 9144000"/>
                <a:gd name="connsiteY98" fmla="*/ 456481 h 5143500"/>
                <a:gd name="connsiteX99" fmla="*/ 2413262 w 9144000"/>
                <a:gd name="connsiteY99" fmla="*/ 491642 h 5143500"/>
                <a:gd name="connsiteX100" fmla="*/ 1745375 w 9144000"/>
                <a:gd name="connsiteY100" fmla="*/ 508992 h 5143500"/>
                <a:gd name="connsiteX101" fmla="*/ 1780421 w 9144000"/>
                <a:gd name="connsiteY101" fmla="*/ 473944 h 5143500"/>
                <a:gd name="connsiteX102" fmla="*/ 1745375 w 9144000"/>
                <a:gd name="connsiteY102" fmla="*/ 438773 h 5143500"/>
                <a:gd name="connsiteX103" fmla="*/ 1730619 w 9144000"/>
                <a:gd name="connsiteY103" fmla="*/ 441971 h 5143500"/>
                <a:gd name="connsiteX104" fmla="*/ 1534113 w 9144000"/>
                <a:gd name="connsiteY104" fmla="*/ 245334 h 5143500"/>
                <a:gd name="connsiteX105" fmla="*/ 1234682 w 9144000"/>
                <a:gd name="connsiteY105" fmla="*/ 245334 h 5143500"/>
                <a:gd name="connsiteX106" fmla="*/ 1114173 w 9144000"/>
                <a:gd name="connsiteY106" fmla="*/ 124820 h 5143500"/>
                <a:gd name="connsiteX107" fmla="*/ 1096833 w 9144000"/>
                <a:gd name="connsiteY107" fmla="*/ 106988 h 5143500"/>
                <a:gd name="connsiteX108" fmla="*/ 989358 w 9144000"/>
                <a:gd name="connsiteY108" fmla="*/ 0 h 5143500"/>
                <a:gd name="connsiteX109" fmla="*/ 972142 w 9144000"/>
                <a:gd name="connsiteY109" fmla="*/ 0 h 5143500"/>
                <a:gd name="connsiteX110" fmla="*/ 1079003 w 9144000"/>
                <a:gd name="connsiteY110" fmla="*/ 106988 h 5143500"/>
                <a:gd name="connsiteX111" fmla="*/ 1096833 w 9144000"/>
                <a:gd name="connsiteY111" fmla="*/ 124820 h 5143500"/>
                <a:gd name="connsiteX112" fmla="*/ 1234682 w 9144000"/>
                <a:gd name="connsiteY112" fmla="*/ 263166 h 5143500"/>
                <a:gd name="connsiteX113" fmla="*/ 1534113 w 9144000"/>
                <a:gd name="connsiteY113" fmla="*/ 263166 h 5143500"/>
                <a:gd name="connsiteX114" fmla="*/ 1720166 w 9144000"/>
                <a:gd name="connsiteY114" fmla="*/ 449349 h 5143500"/>
                <a:gd name="connsiteX115" fmla="*/ 1709714 w 9144000"/>
                <a:gd name="connsiteY115" fmla="*/ 473944 h 5143500"/>
                <a:gd name="connsiteX116" fmla="*/ 1745375 w 9144000"/>
                <a:gd name="connsiteY116" fmla="*/ 508992 h 5143500"/>
                <a:gd name="connsiteX117" fmla="*/ 3075274 w 9144000"/>
                <a:gd name="connsiteY117" fmla="*/ 532306 h 5143500"/>
                <a:gd name="connsiteX118" fmla="*/ 3110408 w 9144000"/>
                <a:gd name="connsiteY118" fmla="*/ 497278 h 5143500"/>
                <a:gd name="connsiteX119" fmla="*/ 3075274 w 9144000"/>
                <a:gd name="connsiteY119" fmla="*/ 462127 h 5143500"/>
                <a:gd name="connsiteX120" fmla="*/ 3050705 w 9144000"/>
                <a:gd name="connsiteY120" fmla="*/ 472574 h 5143500"/>
                <a:gd name="connsiteX121" fmla="*/ 2864226 w 9144000"/>
                <a:gd name="connsiteY121" fmla="*/ 286618 h 5143500"/>
                <a:gd name="connsiteX122" fmla="*/ 2864226 w 9144000"/>
                <a:gd name="connsiteY122" fmla="*/ 2 h 5143500"/>
                <a:gd name="connsiteX123" fmla="*/ 2847027 w 9144000"/>
                <a:gd name="connsiteY123" fmla="*/ 2 h 5143500"/>
                <a:gd name="connsiteX124" fmla="*/ 2847027 w 9144000"/>
                <a:gd name="connsiteY124" fmla="*/ 286618 h 5143500"/>
                <a:gd name="connsiteX125" fmla="*/ 3043334 w 9144000"/>
                <a:gd name="connsiteY125" fmla="*/ 483144 h 5143500"/>
                <a:gd name="connsiteX126" fmla="*/ 3040263 w 9144000"/>
                <a:gd name="connsiteY126" fmla="*/ 497278 h 5143500"/>
                <a:gd name="connsiteX127" fmla="*/ 3075274 w 9144000"/>
                <a:gd name="connsiteY127" fmla="*/ 532306 h 5143500"/>
                <a:gd name="connsiteX128" fmla="*/ 342635 w 9144000"/>
                <a:gd name="connsiteY128" fmla="*/ 545861 h 5143500"/>
                <a:gd name="connsiteX129" fmla="*/ 377784 w 9144000"/>
                <a:gd name="connsiteY129" fmla="*/ 510619 h 5143500"/>
                <a:gd name="connsiteX130" fmla="*/ 342635 w 9144000"/>
                <a:gd name="connsiteY130" fmla="*/ 475500 h 5143500"/>
                <a:gd name="connsiteX131" fmla="*/ 308593 w 9144000"/>
                <a:gd name="connsiteY131" fmla="*/ 501131 h 5143500"/>
                <a:gd name="connsiteX132" fmla="*/ 239403 w 9144000"/>
                <a:gd name="connsiteY132" fmla="*/ 500638 h 5143500"/>
                <a:gd name="connsiteX133" fmla="*/ 2 w 9144000"/>
                <a:gd name="connsiteY133" fmla="*/ 500638 h 5143500"/>
                <a:gd name="connsiteX134" fmla="*/ 2 w 9144000"/>
                <a:gd name="connsiteY134" fmla="*/ 518505 h 5143500"/>
                <a:gd name="connsiteX135" fmla="*/ 4815 w 9144000"/>
                <a:gd name="connsiteY135" fmla="*/ 518505 h 5143500"/>
                <a:gd name="connsiteX136" fmla="*/ 5626 w 9144000"/>
                <a:gd name="connsiteY136" fmla="*/ 518505 h 5143500"/>
                <a:gd name="connsiteX137" fmla="*/ 9095 w 9144000"/>
                <a:gd name="connsiteY137" fmla="*/ 519309 h 5143500"/>
                <a:gd name="connsiteX138" fmla="*/ 12667 w 9144000"/>
                <a:gd name="connsiteY138" fmla="*/ 518505 h 5143500"/>
                <a:gd name="connsiteX139" fmla="*/ 16249 w 9144000"/>
                <a:gd name="connsiteY139" fmla="*/ 518505 h 5143500"/>
                <a:gd name="connsiteX140" fmla="*/ 308101 w 9144000"/>
                <a:gd name="connsiteY140" fmla="*/ 518505 h 5143500"/>
                <a:gd name="connsiteX141" fmla="*/ 342635 w 9144000"/>
                <a:gd name="connsiteY141" fmla="*/ 545861 h 5143500"/>
                <a:gd name="connsiteX142" fmla="*/ 1217000 w 9144000"/>
                <a:gd name="connsiteY142" fmla="*/ 614719 h 5143500"/>
                <a:gd name="connsiteX143" fmla="*/ 1430799 w 9144000"/>
                <a:gd name="connsiteY143" fmla="*/ 400348 h 5143500"/>
                <a:gd name="connsiteX144" fmla="*/ 1445430 w 9144000"/>
                <a:gd name="connsiteY144" fmla="*/ 403544 h 5143500"/>
                <a:gd name="connsiteX145" fmla="*/ 1480592 w 9144000"/>
                <a:gd name="connsiteY145" fmla="*/ 368389 h 5143500"/>
                <a:gd name="connsiteX146" fmla="*/ 1445430 w 9144000"/>
                <a:gd name="connsiteY146" fmla="*/ 333234 h 5143500"/>
                <a:gd name="connsiteX147" fmla="*/ 1410391 w 9144000"/>
                <a:gd name="connsiteY147" fmla="*/ 368389 h 5143500"/>
                <a:gd name="connsiteX148" fmla="*/ 1420841 w 9144000"/>
                <a:gd name="connsiteY148" fmla="*/ 393587 h 5143500"/>
                <a:gd name="connsiteX149" fmla="*/ 1217000 w 9144000"/>
                <a:gd name="connsiteY149" fmla="*/ 596895 h 5143500"/>
                <a:gd name="connsiteX150" fmla="*/ 742067 w 9144000"/>
                <a:gd name="connsiteY150" fmla="*/ 122059 h 5143500"/>
                <a:gd name="connsiteX151" fmla="*/ 742067 w 9144000"/>
                <a:gd name="connsiteY151" fmla="*/ 1 h 5143500"/>
                <a:gd name="connsiteX152" fmla="*/ 724363 w 9144000"/>
                <a:gd name="connsiteY152" fmla="*/ 1 h 5143500"/>
                <a:gd name="connsiteX153" fmla="*/ 724363 w 9144000"/>
                <a:gd name="connsiteY153" fmla="*/ 122059 h 5143500"/>
                <a:gd name="connsiteX154" fmla="*/ 1217000 w 9144000"/>
                <a:gd name="connsiteY154" fmla="*/ 614719 h 5143500"/>
                <a:gd name="connsiteX155" fmla="*/ 2987933 w 9144000"/>
                <a:gd name="connsiteY155" fmla="*/ 638575 h 5143500"/>
                <a:gd name="connsiteX156" fmla="*/ 3023115 w 9144000"/>
                <a:gd name="connsiteY156" fmla="*/ 603523 h 5143500"/>
                <a:gd name="connsiteX157" fmla="*/ 2987933 w 9144000"/>
                <a:gd name="connsiteY157" fmla="*/ 568347 h 5143500"/>
                <a:gd name="connsiteX158" fmla="*/ 2963330 w 9144000"/>
                <a:gd name="connsiteY158" fmla="*/ 578309 h 5143500"/>
                <a:gd name="connsiteX159" fmla="*/ 2794431 w 9144000"/>
                <a:gd name="connsiteY159" fmla="*/ 410056 h 5143500"/>
                <a:gd name="connsiteX160" fmla="*/ 2794431 w 9144000"/>
                <a:gd name="connsiteY160" fmla="*/ 2 h 5143500"/>
                <a:gd name="connsiteX161" fmla="*/ 2777085 w 9144000"/>
                <a:gd name="connsiteY161" fmla="*/ 2 h 5143500"/>
                <a:gd name="connsiteX162" fmla="*/ 2777085 w 9144000"/>
                <a:gd name="connsiteY162" fmla="*/ 410056 h 5143500"/>
                <a:gd name="connsiteX163" fmla="*/ 2955949 w 9144000"/>
                <a:gd name="connsiteY163" fmla="*/ 588763 h 5143500"/>
                <a:gd name="connsiteX164" fmla="*/ 2952751 w 9144000"/>
                <a:gd name="connsiteY164" fmla="*/ 603523 h 5143500"/>
                <a:gd name="connsiteX165" fmla="*/ 2987933 w 9144000"/>
                <a:gd name="connsiteY165" fmla="*/ 638575 h 5143500"/>
                <a:gd name="connsiteX166" fmla="*/ 342635 w 9144000"/>
                <a:gd name="connsiteY166" fmla="*/ 668938 h 5143500"/>
                <a:gd name="connsiteX167" fmla="*/ 377783 w 9144000"/>
                <a:gd name="connsiteY167" fmla="*/ 633757 h 5143500"/>
                <a:gd name="connsiteX168" fmla="*/ 342635 w 9144000"/>
                <a:gd name="connsiteY168" fmla="*/ 598577 h 5143500"/>
                <a:gd name="connsiteX169" fmla="*/ 308593 w 9144000"/>
                <a:gd name="connsiteY169" fmla="*/ 623794 h 5143500"/>
                <a:gd name="connsiteX170" fmla="*/ 2 w 9144000"/>
                <a:gd name="connsiteY170" fmla="*/ 623794 h 5143500"/>
                <a:gd name="connsiteX171" fmla="*/ 2 w 9144000"/>
                <a:gd name="connsiteY171" fmla="*/ 641630 h 5143500"/>
                <a:gd name="connsiteX172" fmla="*/ 4672 w 9144000"/>
                <a:gd name="connsiteY172" fmla="*/ 641630 h 5143500"/>
                <a:gd name="connsiteX173" fmla="*/ 5732 w 9144000"/>
                <a:gd name="connsiteY173" fmla="*/ 641630 h 5143500"/>
                <a:gd name="connsiteX174" fmla="*/ 5824 w 9144000"/>
                <a:gd name="connsiteY174" fmla="*/ 641630 h 5143500"/>
                <a:gd name="connsiteX175" fmla="*/ 9095 w 9144000"/>
                <a:gd name="connsiteY175" fmla="*/ 642388 h 5143500"/>
                <a:gd name="connsiteX176" fmla="*/ 12462 w 9144000"/>
                <a:gd name="connsiteY176" fmla="*/ 641630 h 5143500"/>
                <a:gd name="connsiteX177" fmla="*/ 13152 w 9144000"/>
                <a:gd name="connsiteY177" fmla="*/ 641630 h 5143500"/>
                <a:gd name="connsiteX178" fmla="*/ 213718 w 9144000"/>
                <a:gd name="connsiteY178" fmla="*/ 641630 h 5143500"/>
                <a:gd name="connsiteX179" fmla="*/ 308101 w 9144000"/>
                <a:gd name="connsiteY179" fmla="*/ 641630 h 5143500"/>
                <a:gd name="connsiteX180" fmla="*/ 342635 w 9144000"/>
                <a:gd name="connsiteY180" fmla="*/ 668938 h 5143500"/>
                <a:gd name="connsiteX181" fmla="*/ 3849606 w 9144000"/>
                <a:gd name="connsiteY181" fmla="*/ 677070 h 5143500"/>
                <a:gd name="connsiteX182" fmla="*/ 3884652 w 9144000"/>
                <a:gd name="connsiteY182" fmla="*/ 641914 h 5143500"/>
                <a:gd name="connsiteX183" fmla="*/ 3849606 w 9144000"/>
                <a:gd name="connsiteY183" fmla="*/ 606880 h 5143500"/>
                <a:gd name="connsiteX184" fmla="*/ 3824889 w 9144000"/>
                <a:gd name="connsiteY184" fmla="*/ 617329 h 5143500"/>
                <a:gd name="connsiteX185" fmla="*/ 3251365 w 9144000"/>
                <a:gd name="connsiteY185" fmla="*/ 44008 h 5143500"/>
                <a:gd name="connsiteX186" fmla="*/ 3251365 w 9144000"/>
                <a:gd name="connsiteY186" fmla="*/ 2 h 5143500"/>
                <a:gd name="connsiteX187" fmla="*/ 3234150 w 9144000"/>
                <a:gd name="connsiteY187" fmla="*/ 2 h 5143500"/>
                <a:gd name="connsiteX188" fmla="*/ 3234150 w 9144000"/>
                <a:gd name="connsiteY188" fmla="*/ 44008 h 5143500"/>
                <a:gd name="connsiteX189" fmla="*/ 3817634 w 9144000"/>
                <a:gd name="connsiteY189" fmla="*/ 627778 h 5143500"/>
                <a:gd name="connsiteX190" fmla="*/ 3814437 w 9144000"/>
                <a:gd name="connsiteY190" fmla="*/ 641914 h 5143500"/>
                <a:gd name="connsiteX191" fmla="*/ 3849606 w 9144000"/>
                <a:gd name="connsiteY191" fmla="*/ 677070 h 5143500"/>
                <a:gd name="connsiteX192" fmla="*/ 4387996 w 9144000"/>
                <a:gd name="connsiteY192" fmla="*/ 677071 h 5143500"/>
                <a:gd name="connsiteX193" fmla="*/ 4423044 w 9144000"/>
                <a:gd name="connsiteY193" fmla="*/ 641915 h 5143500"/>
                <a:gd name="connsiteX194" fmla="*/ 4387996 w 9144000"/>
                <a:gd name="connsiteY194" fmla="*/ 606881 h 5143500"/>
                <a:gd name="connsiteX195" fmla="*/ 4362785 w 9144000"/>
                <a:gd name="connsiteY195" fmla="*/ 617330 h 5143500"/>
                <a:gd name="connsiteX196" fmla="*/ 3789832 w 9144000"/>
                <a:gd name="connsiteY196" fmla="*/ 44008 h 5143500"/>
                <a:gd name="connsiteX197" fmla="*/ 3789832 w 9144000"/>
                <a:gd name="connsiteY197" fmla="*/ 2 h 5143500"/>
                <a:gd name="connsiteX198" fmla="*/ 3772000 w 9144000"/>
                <a:gd name="connsiteY198" fmla="*/ 2 h 5143500"/>
                <a:gd name="connsiteX199" fmla="*/ 3772000 w 9144000"/>
                <a:gd name="connsiteY199" fmla="*/ 44008 h 5143500"/>
                <a:gd name="connsiteX200" fmla="*/ 4356021 w 9144000"/>
                <a:gd name="connsiteY200" fmla="*/ 627778 h 5143500"/>
                <a:gd name="connsiteX201" fmla="*/ 4352824 w 9144000"/>
                <a:gd name="connsiteY201" fmla="*/ 641915 h 5143500"/>
                <a:gd name="connsiteX202" fmla="*/ 4387996 w 9144000"/>
                <a:gd name="connsiteY202" fmla="*/ 677071 h 5143500"/>
                <a:gd name="connsiteX203" fmla="*/ 1270292 w 9144000"/>
                <a:gd name="connsiteY203" fmla="*/ 755145 h 5143500"/>
                <a:gd name="connsiteX204" fmla="*/ 1537070 w 9144000"/>
                <a:gd name="connsiteY204" fmla="*/ 488392 h 5143500"/>
                <a:gd name="connsiteX205" fmla="*/ 1551208 w 9144000"/>
                <a:gd name="connsiteY205" fmla="*/ 491588 h 5143500"/>
                <a:gd name="connsiteX206" fmla="*/ 1586860 w 9144000"/>
                <a:gd name="connsiteY206" fmla="*/ 456431 h 5143500"/>
                <a:gd name="connsiteX207" fmla="*/ 1551208 w 9144000"/>
                <a:gd name="connsiteY207" fmla="*/ 421397 h 5143500"/>
                <a:gd name="connsiteX208" fmla="*/ 1516170 w 9144000"/>
                <a:gd name="connsiteY208" fmla="*/ 456431 h 5143500"/>
                <a:gd name="connsiteX209" fmla="*/ 1526620 w 9144000"/>
                <a:gd name="connsiteY209" fmla="*/ 481139 h 5143500"/>
                <a:gd name="connsiteX210" fmla="*/ 1270292 w 9144000"/>
                <a:gd name="connsiteY210" fmla="*/ 737936 h 5143500"/>
                <a:gd name="connsiteX211" fmla="*/ 689648 w 9144000"/>
                <a:gd name="connsiteY211" fmla="*/ 157225 h 5143500"/>
                <a:gd name="connsiteX212" fmla="*/ 689648 w 9144000"/>
                <a:gd name="connsiteY212" fmla="*/ 1 h 5143500"/>
                <a:gd name="connsiteX213" fmla="*/ 672313 w 9144000"/>
                <a:gd name="connsiteY213" fmla="*/ 1 h 5143500"/>
                <a:gd name="connsiteX214" fmla="*/ 672313 w 9144000"/>
                <a:gd name="connsiteY214" fmla="*/ 157225 h 5143500"/>
                <a:gd name="connsiteX215" fmla="*/ 1270292 w 9144000"/>
                <a:gd name="connsiteY215" fmla="*/ 755145 h 5143500"/>
                <a:gd name="connsiteX216" fmla="*/ 2741325 w 9144000"/>
                <a:gd name="connsiteY216" fmla="*/ 779002 h 5143500"/>
                <a:gd name="connsiteX217" fmla="*/ 2776962 w 9144000"/>
                <a:gd name="connsiteY217" fmla="*/ 743834 h 5143500"/>
                <a:gd name="connsiteX218" fmla="*/ 2749094 w 9144000"/>
                <a:gd name="connsiteY218" fmla="*/ 709771 h 5143500"/>
                <a:gd name="connsiteX219" fmla="*/ 2749094 w 9144000"/>
                <a:gd name="connsiteY219" fmla="*/ 2 h 5143500"/>
                <a:gd name="connsiteX220" fmla="*/ 2731830 w 9144000"/>
                <a:gd name="connsiteY220" fmla="*/ 2 h 5143500"/>
                <a:gd name="connsiteX221" fmla="*/ 2731830 w 9144000"/>
                <a:gd name="connsiteY221" fmla="*/ 710263 h 5143500"/>
                <a:gd name="connsiteX222" fmla="*/ 2706059 w 9144000"/>
                <a:gd name="connsiteY222" fmla="*/ 743834 h 5143500"/>
                <a:gd name="connsiteX223" fmla="*/ 2741325 w 9144000"/>
                <a:gd name="connsiteY223" fmla="*/ 779002 h 5143500"/>
                <a:gd name="connsiteX224" fmla="*/ 2618680 w 9144000"/>
                <a:gd name="connsiteY224" fmla="*/ 779003 h 5143500"/>
                <a:gd name="connsiteX225" fmla="*/ 2653886 w 9144000"/>
                <a:gd name="connsiteY225" fmla="*/ 743834 h 5143500"/>
                <a:gd name="connsiteX226" fmla="*/ 2626066 w 9144000"/>
                <a:gd name="connsiteY226" fmla="*/ 709772 h 5143500"/>
                <a:gd name="connsiteX227" fmla="*/ 2626066 w 9144000"/>
                <a:gd name="connsiteY227" fmla="*/ 2 h 5143500"/>
                <a:gd name="connsiteX228" fmla="*/ 2608709 w 9144000"/>
                <a:gd name="connsiteY228" fmla="*/ 2 h 5143500"/>
                <a:gd name="connsiteX229" fmla="*/ 2608709 w 9144000"/>
                <a:gd name="connsiteY229" fmla="*/ 710264 h 5143500"/>
                <a:gd name="connsiteX230" fmla="*/ 2582982 w 9144000"/>
                <a:gd name="connsiteY230" fmla="*/ 743834 h 5143500"/>
                <a:gd name="connsiteX231" fmla="*/ 2618680 w 9144000"/>
                <a:gd name="connsiteY231" fmla="*/ 779003 h 5143500"/>
                <a:gd name="connsiteX232" fmla="*/ 3849080 w 9144000"/>
                <a:gd name="connsiteY232" fmla="*/ 800689 h 5143500"/>
                <a:gd name="connsiteX233" fmla="*/ 3884110 w 9144000"/>
                <a:gd name="connsiteY233" fmla="*/ 765513 h 5143500"/>
                <a:gd name="connsiteX234" fmla="*/ 3849080 w 9144000"/>
                <a:gd name="connsiteY234" fmla="*/ 730460 h 5143500"/>
                <a:gd name="connsiteX235" fmla="*/ 3824376 w 9144000"/>
                <a:gd name="connsiteY235" fmla="*/ 740914 h 5143500"/>
                <a:gd name="connsiteX236" fmla="*/ 3180945 w 9144000"/>
                <a:gd name="connsiteY236" fmla="*/ 97043 h 5143500"/>
                <a:gd name="connsiteX237" fmla="*/ 3180945 w 9144000"/>
                <a:gd name="connsiteY237" fmla="*/ 2 h 5143500"/>
                <a:gd name="connsiteX238" fmla="*/ 3163123 w 9144000"/>
                <a:gd name="connsiteY238" fmla="*/ 2 h 5143500"/>
                <a:gd name="connsiteX239" fmla="*/ 3163123 w 9144000"/>
                <a:gd name="connsiteY239" fmla="*/ 97043 h 5143500"/>
                <a:gd name="connsiteX240" fmla="*/ 3817124 w 9144000"/>
                <a:gd name="connsiteY240" fmla="*/ 751369 h 5143500"/>
                <a:gd name="connsiteX241" fmla="*/ 3813929 w 9144000"/>
                <a:gd name="connsiteY241" fmla="*/ 765513 h 5143500"/>
                <a:gd name="connsiteX242" fmla="*/ 3849080 w 9144000"/>
                <a:gd name="connsiteY242" fmla="*/ 800689 h 5143500"/>
                <a:gd name="connsiteX243" fmla="*/ 4387473 w 9144000"/>
                <a:gd name="connsiteY243" fmla="*/ 800690 h 5143500"/>
                <a:gd name="connsiteX244" fmla="*/ 4422502 w 9144000"/>
                <a:gd name="connsiteY244" fmla="*/ 765514 h 5143500"/>
                <a:gd name="connsiteX245" fmla="*/ 4387473 w 9144000"/>
                <a:gd name="connsiteY245" fmla="*/ 730460 h 5143500"/>
                <a:gd name="connsiteX246" fmla="*/ 4362276 w 9144000"/>
                <a:gd name="connsiteY246" fmla="*/ 740915 h 5143500"/>
                <a:gd name="connsiteX247" fmla="*/ 3719337 w 9144000"/>
                <a:gd name="connsiteY247" fmla="*/ 97043 h 5143500"/>
                <a:gd name="connsiteX248" fmla="*/ 3719337 w 9144000"/>
                <a:gd name="connsiteY248" fmla="*/ 2 h 5143500"/>
                <a:gd name="connsiteX249" fmla="*/ 3701515 w 9144000"/>
                <a:gd name="connsiteY249" fmla="*/ 2 h 5143500"/>
                <a:gd name="connsiteX250" fmla="*/ 3701515 w 9144000"/>
                <a:gd name="connsiteY250" fmla="*/ 97043 h 5143500"/>
                <a:gd name="connsiteX251" fmla="*/ 4355516 w 9144000"/>
                <a:gd name="connsiteY251" fmla="*/ 751369 h 5143500"/>
                <a:gd name="connsiteX252" fmla="*/ 4352321 w 9144000"/>
                <a:gd name="connsiteY252" fmla="*/ 765514 h 5143500"/>
                <a:gd name="connsiteX253" fmla="*/ 4387473 w 9144000"/>
                <a:gd name="connsiteY253" fmla="*/ 800690 h 5143500"/>
                <a:gd name="connsiteX254" fmla="*/ 1322558 w 9144000"/>
                <a:gd name="connsiteY254" fmla="*/ 878764 h 5143500"/>
                <a:gd name="connsiteX255" fmla="*/ 1624856 w 9144000"/>
                <a:gd name="connsiteY255" fmla="*/ 576823 h 5143500"/>
                <a:gd name="connsiteX256" fmla="*/ 1638993 w 9144000"/>
                <a:gd name="connsiteY256" fmla="*/ 579898 h 5143500"/>
                <a:gd name="connsiteX257" fmla="*/ 1674153 w 9144000"/>
                <a:gd name="connsiteY257" fmla="*/ 544723 h 5143500"/>
                <a:gd name="connsiteX258" fmla="*/ 1638993 w 9144000"/>
                <a:gd name="connsiteY258" fmla="*/ 509056 h 5143500"/>
                <a:gd name="connsiteX259" fmla="*/ 1603957 w 9144000"/>
                <a:gd name="connsiteY259" fmla="*/ 544723 h 5143500"/>
                <a:gd name="connsiteX260" fmla="*/ 1614406 w 9144000"/>
                <a:gd name="connsiteY260" fmla="*/ 569444 h 5143500"/>
                <a:gd name="connsiteX261" fmla="*/ 1322558 w 9144000"/>
                <a:gd name="connsiteY261" fmla="*/ 861422 h 5143500"/>
                <a:gd name="connsiteX262" fmla="*/ 654282 w 9144000"/>
                <a:gd name="connsiteY262" fmla="*/ 192480 h 5143500"/>
                <a:gd name="connsiteX263" fmla="*/ 654282 w 9144000"/>
                <a:gd name="connsiteY263" fmla="*/ 1 h 5143500"/>
                <a:gd name="connsiteX264" fmla="*/ 637070 w 9144000"/>
                <a:gd name="connsiteY264" fmla="*/ 1 h 5143500"/>
                <a:gd name="connsiteX265" fmla="*/ 637070 w 9144000"/>
                <a:gd name="connsiteY265" fmla="*/ 192480 h 5143500"/>
                <a:gd name="connsiteX266" fmla="*/ 1322558 w 9144000"/>
                <a:gd name="connsiteY266" fmla="*/ 878764 h 5143500"/>
                <a:gd name="connsiteX267" fmla="*/ 4388002 w 9144000"/>
                <a:gd name="connsiteY267" fmla="*/ 923766 h 5143500"/>
                <a:gd name="connsiteX268" fmla="*/ 4423044 w 9144000"/>
                <a:gd name="connsiteY268" fmla="*/ 888596 h 5143500"/>
                <a:gd name="connsiteX269" fmla="*/ 4388002 w 9144000"/>
                <a:gd name="connsiteY269" fmla="*/ 853426 h 5143500"/>
                <a:gd name="connsiteX270" fmla="*/ 4362796 w 9144000"/>
                <a:gd name="connsiteY270" fmla="*/ 864002 h 5143500"/>
                <a:gd name="connsiteX271" fmla="*/ 3648910 w 9144000"/>
                <a:gd name="connsiteY271" fmla="*/ 149904 h 5143500"/>
                <a:gd name="connsiteX272" fmla="*/ 3648910 w 9144000"/>
                <a:gd name="connsiteY272" fmla="*/ 2 h 5143500"/>
                <a:gd name="connsiteX273" fmla="*/ 3631573 w 9144000"/>
                <a:gd name="connsiteY273" fmla="*/ 2 h 5143500"/>
                <a:gd name="connsiteX274" fmla="*/ 3631573 w 9144000"/>
                <a:gd name="connsiteY274" fmla="*/ 149904 h 5143500"/>
                <a:gd name="connsiteX275" fmla="*/ 4356033 w 9144000"/>
                <a:gd name="connsiteY275" fmla="*/ 873963 h 5143500"/>
                <a:gd name="connsiteX276" fmla="*/ 4352836 w 9144000"/>
                <a:gd name="connsiteY276" fmla="*/ 888596 h 5143500"/>
                <a:gd name="connsiteX277" fmla="*/ 4388002 w 9144000"/>
                <a:gd name="connsiteY277" fmla="*/ 923766 h 5143500"/>
                <a:gd name="connsiteX278" fmla="*/ 3849609 w 9144000"/>
                <a:gd name="connsiteY278" fmla="*/ 923766 h 5143500"/>
                <a:gd name="connsiteX279" fmla="*/ 3884652 w 9144000"/>
                <a:gd name="connsiteY279" fmla="*/ 888596 h 5143500"/>
                <a:gd name="connsiteX280" fmla="*/ 3849609 w 9144000"/>
                <a:gd name="connsiteY280" fmla="*/ 853426 h 5143500"/>
                <a:gd name="connsiteX281" fmla="*/ 3824895 w 9144000"/>
                <a:gd name="connsiteY281" fmla="*/ 864002 h 5143500"/>
                <a:gd name="connsiteX282" fmla="*/ 3111009 w 9144000"/>
                <a:gd name="connsiteY282" fmla="*/ 149904 h 5143500"/>
                <a:gd name="connsiteX283" fmla="*/ 3111009 w 9144000"/>
                <a:gd name="connsiteY283" fmla="*/ 2 h 5143500"/>
                <a:gd name="connsiteX284" fmla="*/ 3093180 w 9144000"/>
                <a:gd name="connsiteY284" fmla="*/ 2 h 5143500"/>
                <a:gd name="connsiteX285" fmla="*/ 3093180 w 9144000"/>
                <a:gd name="connsiteY285" fmla="*/ 149904 h 5143500"/>
                <a:gd name="connsiteX286" fmla="*/ 3817640 w 9144000"/>
                <a:gd name="connsiteY286" fmla="*/ 873962 h 5143500"/>
                <a:gd name="connsiteX287" fmla="*/ 3814443 w 9144000"/>
                <a:gd name="connsiteY287" fmla="*/ 888596 h 5143500"/>
                <a:gd name="connsiteX288" fmla="*/ 3849609 w 9144000"/>
                <a:gd name="connsiteY288" fmla="*/ 923766 h 5143500"/>
                <a:gd name="connsiteX289" fmla="*/ 1257336 w 9144000"/>
                <a:gd name="connsiteY289" fmla="*/ 948706 h 5143500"/>
                <a:gd name="connsiteX290" fmla="*/ 1644114 w 9144000"/>
                <a:gd name="connsiteY290" fmla="*/ 948706 h 5143500"/>
                <a:gd name="connsiteX291" fmla="*/ 1960691 w 9144000"/>
                <a:gd name="connsiteY291" fmla="*/ 632132 h 5143500"/>
                <a:gd name="connsiteX292" fmla="*/ 2118919 w 9144000"/>
                <a:gd name="connsiteY292" fmla="*/ 632132 h 5143500"/>
                <a:gd name="connsiteX293" fmla="*/ 2262516 w 9144000"/>
                <a:gd name="connsiteY293" fmla="*/ 488536 h 5143500"/>
                <a:gd name="connsiteX294" fmla="*/ 2277269 w 9144000"/>
                <a:gd name="connsiteY294" fmla="*/ 491732 h 5143500"/>
                <a:gd name="connsiteX295" fmla="*/ 2312307 w 9144000"/>
                <a:gd name="connsiteY295" fmla="*/ 456571 h 5143500"/>
                <a:gd name="connsiteX296" fmla="*/ 2277269 w 9144000"/>
                <a:gd name="connsiteY296" fmla="*/ 421533 h 5143500"/>
                <a:gd name="connsiteX297" fmla="*/ 2242107 w 9144000"/>
                <a:gd name="connsiteY297" fmla="*/ 456571 h 5143500"/>
                <a:gd name="connsiteX298" fmla="*/ 2252558 w 9144000"/>
                <a:gd name="connsiteY298" fmla="*/ 481282 h 5143500"/>
                <a:gd name="connsiteX299" fmla="*/ 2118919 w 9144000"/>
                <a:gd name="connsiteY299" fmla="*/ 614920 h 5143500"/>
                <a:gd name="connsiteX300" fmla="*/ 1960691 w 9144000"/>
                <a:gd name="connsiteY300" fmla="*/ 614920 h 5143500"/>
                <a:gd name="connsiteX301" fmla="*/ 1644114 w 9144000"/>
                <a:gd name="connsiteY301" fmla="*/ 931494 h 5143500"/>
                <a:gd name="connsiteX302" fmla="*/ 1257336 w 9144000"/>
                <a:gd name="connsiteY302" fmla="*/ 931494 h 5143500"/>
                <a:gd name="connsiteX303" fmla="*/ 518327 w 9144000"/>
                <a:gd name="connsiteY303" fmla="*/ 192492 h 5143500"/>
                <a:gd name="connsiteX304" fmla="*/ 518327 w 9144000"/>
                <a:gd name="connsiteY304" fmla="*/ 16809 h 5143500"/>
                <a:gd name="connsiteX305" fmla="*/ 1 w 9144000"/>
                <a:gd name="connsiteY305" fmla="*/ 16809 h 5143500"/>
                <a:gd name="connsiteX306" fmla="*/ 1 w 9144000"/>
                <a:gd name="connsiteY306" fmla="*/ 34635 h 5143500"/>
                <a:gd name="connsiteX307" fmla="*/ 500992 w 9144000"/>
                <a:gd name="connsiteY307" fmla="*/ 34635 h 5143500"/>
                <a:gd name="connsiteX308" fmla="*/ 500992 w 9144000"/>
                <a:gd name="connsiteY308" fmla="*/ 192492 h 5143500"/>
                <a:gd name="connsiteX309" fmla="*/ 1257336 w 9144000"/>
                <a:gd name="connsiteY309" fmla="*/ 948706 h 5143500"/>
                <a:gd name="connsiteX310" fmla="*/ 1274671 w 9144000"/>
                <a:gd name="connsiteY310" fmla="*/ 1044674 h 5143500"/>
                <a:gd name="connsiteX311" fmla="*/ 1661940 w 9144000"/>
                <a:gd name="connsiteY311" fmla="*/ 1044674 h 5143500"/>
                <a:gd name="connsiteX312" fmla="*/ 1995853 w 9144000"/>
                <a:gd name="connsiteY312" fmla="*/ 710799 h 5143500"/>
                <a:gd name="connsiteX313" fmla="*/ 2243214 w 9144000"/>
                <a:gd name="connsiteY313" fmla="*/ 710799 h 5143500"/>
                <a:gd name="connsiteX314" fmla="*/ 2277269 w 9144000"/>
                <a:gd name="connsiteY314" fmla="*/ 738099 h 5143500"/>
                <a:gd name="connsiteX315" fmla="*/ 2312307 w 9144000"/>
                <a:gd name="connsiteY315" fmla="*/ 702929 h 5143500"/>
                <a:gd name="connsiteX316" fmla="*/ 2277269 w 9144000"/>
                <a:gd name="connsiteY316" fmla="*/ 667759 h 5143500"/>
                <a:gd name="connsiteX317" fmla="*/ 2243706 w 9144000"/>
                <a:gd name="connsiteY317" fmla="*/ 692968 h 5143500"/>
                <a:gd name="connsiteX318" fmla="*/ 1995853 w 9144000"/>
                <a:gd name="connsiteY318" fmla="*/ 692968 h 5143500"/>
                <a:gd name="connsiteX319" fmla="*/ 1661940 w 9144000"/>
                <a:gd name="connsiteY319" fmla="*/ 1027457 h 5143500"/>
                <a:gd name="connsiteX320" fmla="*/ 1274671 w 9144000"/>
                <a:gd name="connsiteY320" fmla="*/ 1027457 h 5143500"/>
                <a:gd name="connsiteX321" fmla="*/ 448127 w 9144000"/>
                <a:gd name="connsiteY321" fmla="*/ 200211 h 5143500"/>
                <a:gd name="connsiteX322" fmla="*/ 448127 w 9144000"/>
                <a:gd name="connsiteY322" fmla="*/ 77484 h 5143500"/>
                <a:gd name="connsiteX323" fmla="*/ 239493 w 9144000"/>
                <a:gd name="connsiteY323" fmla="*/ 76992 h 5143500"/>
                <a:gd name="connsiteX324" fmla="*/ 1 w 9144000"/>
                <a:gd name="connsiteY324" fmla="*/ 76992 h 5143500"/>
                <a:gd name="connsiteX325" fmla="*/ 1 w 9144000"/>
                <a:gd name="connsiteY325" fmla="*/ 94822 h 5143500"/>
                <a:gd name="connsiteX326" fmla="*/ 430792 w 9144000"/>
                <a:gd name="connsiteY326" fmla="*/ 94822 h 5143500"/>
                <a:gd name="connsiteX327" fmla="*/ 430792 w 9144000"/>
                <a:gd name="connsiteY327" fmla="*/ 200211 h 5143500"/>
                <a:gd name="connsiteX328" fmla="*/ 1274671 w 9144000"/>
                <a:gd name="connsiteY328" fmla="*/ 1044674 h 5143500"/>
                <a:gd name="connsiteX329" fmla="*/ 3849078 w 9144000"/>
                <a:gd name="connsiteY329" fmla="*/ 1046843 h 5143500"/>
                <a:gd name="connsiteX330" fmla="*/ 3884110 w 9144000"/>
                <a:gd name="connsiteY330" fmla="*/ 1011796 h 5143500"/>
                <a:gd name="connsiteX331" fmla="*/ 3849078 w 9144000"/>
                <a:gd name="connsiteY331" fmla="*/ 976627 h 5143500"/>
                <a:gd name="connsiteX332" fmla="*/ 3824371 w 9144000"/>
                <a:gd name="connsiteY332" fmla="*/ 986588 h 5143500"/>
                <a:gd name="connsiteX333" fmla="*/ 3039905 w 9144000"/>
                <a:gd name="connsiteY333" fmla="*/ 202410 h 5143500"/>
                <a:gd name="connsiteX334" fmla="*/ 3039905 w 9144000"/>
                <a:gd name="connsiteY334" fmla="*/ 2 h 5143500"/>
                <a:gd name="connsiteX335" fmla="*/ 3022696 w 9144000"/>
                <a:gd name="connsiteY335" fmla="*/ 2 h 5143500"/>
                <a:gd name="connsiteX336" fmla="*/ 3022696 w 9144000"/>
                <a:gd name="connsiteY336" fmla="*/ 202410 h 5143500"/>
                <a:gd name="connsiteX337" fmla="*/ 3817119 w 9144000"/>
                <a:gd name="connsiteY337" fmla="*/ 997040 h 5143500"/>
                <a:gd name="connsiteX338" fmla="*/ 3813923 w 9144000"/>
                <a:gd name="connsiteY338" fmla="*/ 1011796 h 5143500"/>
                <a:gd name="connsiteX339" fmla="*/ 3849078 w 9144000"/>
                <a:gd name="connsiteY339" fmla="*/ 1046843 h 5143500"/>
                <a:gd name="connsiteX340" fmla="*/ 4387470 w 9144000"/>
                <a:gd name="connsiteY340" fmla="*/ 1046843 h 5143500"/>
                <a:gd name="connsiteX341" fmla="*/ 4422502 w 9144000"/>
                <a:gd name="connsiteY341" fmla="*/ 1011796 h 5143500"/>
                <a:gd name="connsiteX342" fmla="*/ 4387470 w 9144000"/>
                <a:gd name="connsiteY342" fmla="*/ 976627 h 5143500"/>
                <a:gd name="connsiteX343" fmla="*/ 4362272 w 9144000"/>
                <a:gd name="connsiteY343" fmla="*/ 986588 h 5143500"/>
                <a:gd name="connsiteX344" fmla="*/ 3578420 w 9144000"/>
                <a:gd name="connsiteY344" fmla="*/ 202410 h 5143500"/>
                <a:gd name="connsiteX345" fmla="*/ 3578420 w 9144000"/>
                <a:gd name="connsiteY345" fmla="*/ 2 h 5143500"/>
                <a:gd name="connsiteX346" fmla="*/ 3561089 w 9144000"/>
                <a:gd name="connsiteY346" fmla="*/ 2 h 5143500"/>
                <a:gd name="connsiteX347" fmla="*/ 3561089 w 9144000"/>
                <a:gd name="connsiteY347" fmla="*/ 202410 h 5143500"/>
                <a:gd name="connsiteX348" fmla="*/ 4355511 w 9144000"/>
                <a:gd name="connsiteY348" fmla="*/ 997040 h 5143500"/>
                <a:gd name="connsiteX349" fmla="*/ 4352315 w 9144000"/>
                <a:gd name="connsiteY349" fmla="*/ 1011796 h 5143500"/>
                <a:gd name="connsiteX350" fmla="*/ 4387470 w 9144000"/>
                <a:gd name="connsiteY350" fmla="*/ 1046843 h 5143500"/>
                <a:gd name="connsiteX351" fmla="*/ 1029022 w 9144000"/>
                <a:gd name="connsiteY351" fmla="*/ 1062025 h 5143500"/>
                <a:gd name="connsiteX352" fmla="*/ 1064192 w 9144000"/>
                <a:gd name="connsiteY352" fmla="*/ 1027001 h 5143500"/>
                <a:gd name="connsiteX353" fmla="*/ 1029022 w 9144000"/>
                <a:gd name="connsiteY353" fmla="*/ 991855 h 5143500"/>
                <a:gd name="connsiteX354" fmla="*/ 1014388 w 9144000"/>
                <a:gd name="connsiteY354" fmla="*/ 995050 h 5143500"/>
                <a:gd name="connsiteX355" fmla="*/ 782712 w 9144000"/>
                <a:gd name="connsiteY355" fmla="*/ 763402 h 5143500"/>
                <a:gd name="connsiteX356" fmla="*/ 342845 w 9144000"/>
                <a:gd name="connsiteY356" fmla="*/ 763402 h 5143500"/>
                <a:gd name="connsiteX357" fmla="*/ 219628 w 9144000"/>
                <a:gd name="connsiteY357" fmla="*/ 886538 h 5143500"/>
                <a:gd name="connsiteX358" fmla="*/ 2 w 9144000"/>
                <a:gd name="connsiteY358" fmla="*/ 886538 h 5143500"/>
                <a:gd name="connsiteX359" fmla="*/ 2 w 9144000"/>
                <a:gd name="connsiteY359" fmla="*/ 903865 h 5143500"/>
                <a:gd name="connsiteX360" fmla="*/ 219628 w 9144000"/>
                <a:gd name="connsiteY360" fmla="*/ 903865 h 5143500"/>
                <a:gd name="connsiteX361" fmla="*/ 342845 w 9144000"/>
                <a:gd name="connsiteY361" fmla="*/ 780730 h 5143500"/>
                <a:gd name="connsiteX362" fmla="*/ 782712 w 9144000"/>
                <a:gd name="connsiteY362" fmla="*/ 780730 h 5143500"/>
                <a:gd name="connsiteX363" fmla="*/ 1003935 w 9144000"/>
                <a:gd name="connsiteY363" fmla="*/ 1002300 h 5143500"/>
                <a:gd name="connsiteX364" fmla="*/ 993360 w 9144000"/>
                <a:gd name="connsiteY364" fmla="*/ 1027001 h 5143500"/>
                <a:gd name="connsiteX365" fmla="*/ 1029022 w 9144000"/>
                <a:gd name="connsiteY365" fmla="*/ 1062025 h 5143500"/>
                <a:gd name="connsiteX366" fmla="*/ 905418 w 9144000"/>
                <a:gd name="connsiteY366" fmla="*/ 1062566 h 5143500"/>
                <a:gd name="connsiteX367" fmla="*/ 940573 w 9144000"/>
                <a:gd name="connsiteY367" fmla="*/ 1027497 h 5143500"/>
                <a:gd name="connsiteX368" fmla="*/ 905418 w 9144000"/>
                <a:gd name="connsiteY368" fmla="*/ 992304 h 5143500"/>
                <a:gd name="connsiteX369" fmla="*/ 890792 w 9144000"/>
                <a:gd name="connsiteY369" fmla="*/ 995503 h 5143500"/>
                <a:gd name="connsiteX370" fmla="*/ 747223 w 9144000"/>
                <a:gd name="connsiteY370" fmla="*/ 851779 h 5143500"/>
                <a:gd name="connsiteX371" fmla="*/ 342699 w 9144000"/>
                <a:gd name="connsiteY371" fmla="*/ 851779 h 5143500"/>
                <a:gd name="connsiteX372" fmla="*/ 254689 w 9144000"/>
                <a:gd name="connsiteY372" fmla="*/ 939392 h 5143500"/>
                <a:gd name="connsiteX373" fmla="*/ 2 w 9144000"/>
                <a:gd name="connsiteY373" fmla="*/ 939392 h 5143500"/>
                <a:gd name="connsiteX374" fmla="*/ 2 w 9144000"/>
                <a:gd name="connsiteY374" fmla="*/ 957111 h 5143500"/>
                <a:gd name="connsiteX375" fmla="*/ 254689 w 9144000"/>
                <a:gd name="connsiteY375" fmla="*/ 957111 h 5143500"/>
                <a:gd name="connsiteX376" fmla="*/ 342699 w 9144000"/>
                <a:gd name="connsiteY376" fmla="*/ 869006 h 5143500"/>
                <a:gd name="connsiteX377" fmla="*/ 747223 w 9144000"/>
                <a:gd name="connsiteY377" fmla="*/ 869006 h 5143500"/>
                <a:gd name="connsiteX378" fmla="*/ 880343 w 9144000"/>
                <a:gd name="connsiteY378" fmla="*/ 1002763 h 5143500"/>
                <a:gd name="connsiteX379" fmla="*/ 870387 w 9144000"/>
                <a:gd name="connsiteY379" fmla="*/ 1027497 h 5143500"/>
                <a:gd name="connsiteX380" fmla="*/ 905418 w 9144000"/>
                <a:gd name="connsiteY380" fmla="*/ 1062566 h 5143500"/>
                <a:gd name="connsiteX381" fmla="*/ 1151612 w 9144000"/>
                <a:gd name="connsiteY381" fmla="*/ 1062567 h 5143500"/>
                <a:gd name="connsiteX382" fmla="*/ 1187269 w 9144000"/>
                <a:gd name="connsiteY382" fmla="*/ 1027514 h 5143500"/>
                <a:gd name="connsiteX383" fmla="*/ 1151612 w 9144000"/>
                <a:gd name="connsiteY383" fmla="*/ 992337 h 5143500"/>
                <a:gd name="connsiteX384" fmla="*/ 1137471 w 9144000"/>
                <a:gd name="connsiteY384" fmla="*/ 995535 h 5143500"/>
                <a:gd name="connsiteX385" fmla="*/ 834999 w 9144000"/>
                <a:gd name="connsiteY385" fmla="*/ 693460 h 5143500"/>
                <a:gd name="connsiteX386" fmla="*/ 307639 w 9144000"/>
                <a:gd name="connsiteY386" fmla="*/ 693460 h 5143500"/>
                <a:gd name="connsiteX387" fmla="*/ 166730 w 9144000"/>
                <a:gd name="connsiteY387" fmla="*/ 834043 h 5143500"/>
                <a:gd name="connsiteX388" fmla="*/ 2 w 9144000"/>
                <a:gd name="connsiteY388" fmla="*/ 834043 h 5143500"/>
                <a:gd name="connsiteX389" fmla="*/ 2 w 9144000"/>
                <a:gd name="connsiteY389" fmla="*/ 851877 h 5143500"/>
                <a:gd name="connsiteX390" fmla="*/ 166730 w 9144000"/>
                <a:gd name="connsiteY390" fmla="*/ 851877 h 5143500"/>
                <a:gd name="connsiteX391" fmla="*/ 307639 w 9144000"/>
                <a:gd name="connsiteY391" fmla="*/ 710803 h 5143500"/>
                <a:gd name="connsiteX392" fmla="*/ 834999 w 9144000"/>
                <a:gd name="connsiteY392" fmla="*/ 710803 h 5143500"/>
                <a:gd name="connsiteX393" fmla="*/ 1127020 w 9144000"/>
                <a:gd name="connsiteY393" fmla="*/ 1002791 h 5143500"/>
                <a:gd name="connsiteX394" fmla="*/ 1116446 w 9144000"/>
                <a:gd name="connsiteY394" fmla="*/ 1027514 h 5143500"/>
                <a:gd name="connsiteX395" fmla="*/ 1151612 w 9144000"/>
                <a:gd name="connsiteY395" fmla="*/ 1062567 h 5143500"/>
                <a:gd name="connsiteX396" fmla="*/ 782462 w 9144000"/>
                <a:gd name="connsiteY396" fmla="*/ 1062567 h 5143500"/>
                <a:gd name="connsiteX397" fmla="*/ 817497 w 9144000"/>
                <a:gd name="connsiteY397" fmla="*/ 1027535 h 5143500"/>
                <a:gd name="connsiteX398" fmla="*/ 782462 w 9144000"/>
                <a:gd name="connsiteY398" fmla="*/ 992380 h 5143500"/>
                <a:gd name="connsiteX399" fmla="*/ 767710 w 9144000"/>
                <a:gd name="connsiteY399" fmla="*/ 995576 h 5143500"/>
                <a:gd name="connsiteX400" fmla="*/ 676618 w 9144000"/>
                <a:gd name="connsiteY400" fmla="*/ 904371 h 5143500"/>
                <a:gd name="connsiteX401" fmla="*/ 412929 w 9144000"/>
                <a:gd name="connsiteY401" fmla="*/ 904371 h 5143500"/>
                <a:gd name="connsiteX402" fmla="*/ 324910 w 9144000"/>
                <a:gd name="connsiteY402" fmla="*/ 992380 h 5143500"/>
                <a:gd name="connsiteX403" fmla="*/ 2 w 9144000"/>
                <a:gd name="connsiteY403" fmla="*/ 992380 h 5143500"/>
                <a:gd name="connsiteX404" fmla="*/ 2 w 9144000"/>
                <a:gd name="connsiteY404" fmla="*/ 1010203 h 5143500"/>
                <a:gd name="connsiteX405" fmla="*/ 324910 w 9144000"/>
                <a:gd name="connsiteY405" fmla="*/ 1010203 h 5143500"/>
                <a:gd name="connsiteX406" fmla="*/ 412929 w 9144000"/>
                <a:gd name="connsiteY406" fmla="*/ 922194 h 5143500"/>
                <a:gd name="connsiteX407" fmla="*/ 676618 w 9144000"/>
                <a:gd name="connsiteY407" fmla="*/ 922194 h 5143500"/>
                <a:gd name="connsiteX408" fmla="*/ 757260 w 9144000"/>
                <a:gd name="connsiteY408" fmla="*/ 1002828 h 5143500"/>
                <a:gd name="connsiteX409" fmla="*/ 747304 w 9144000"/>
                <a:gd name="connsiteY409" fmla="*/ 1027535 h 5143500"/>
                <a:gd name="connsiteX410" fmla="*/ 782462 w 9144000"/>
                <a:gd name="connsiteY410" fmla="*/ 1062567 h 5143500"/>
                <a:gd name="connsiteX411" fmla="*/ 2 w 9144000"/>
                <a:gd name="connsiteY411" fmla="*/ 1088050 h 5143500"/>
                <a:gd name="connsiteX412" fmla="*/ 395777 w 9144000"/>
                <a:gd name="connsiteY412" fmla="*/ 1088050 h 5143500"/>
                <a:gd name="connsiteX413" fmla="*/ 465980 w 9144000"/>
                <a:gd name="connsiteY413" fmla="*/ 1035212 h 5143500"/>
                <a:gd name="connsiteX414" fmla="*/ 624832 w 9144000"/>
                <a:gd name="connsiteY414" fmla="*/ 1035212 h 5143500"/>
                <a:gd name="connsiteX415" fmla="*/ 659380 w 9144000"/>
                <a:gd name="connsiteY415" fmla="*/ 1062368 h 5143500"/>
                <a:gd name="connsiteX416" fmla="*/ 694422 w 9144000"/>
                <a:gd name="connsiteY416" fmla="*/ 1027348 h 5143500"/>
                <a:gd name="connsiteX417" fmla="*/ 659380 w 9144000"/>
                <a:gd name="connsiteY417" fmla="*/ 992205 h 5143500"/>
                <a:gd name="connsiteX418" fmla="*/ 625323 w 9144000"/>
                <a:gd name="connsiteY418" fmla="*/ 1017887 h 5143500"/>
                <a:gd name="connsiteX419" fmla="*/ 465980 w 9144000"/>
                <a:gd name="connsiteY419" fmla="*/ 1017395 h 5143500"/>
                <a:gd name="connsiteX420" fmla="*/ 395777 w 9144000"/>
                <a:gd name="connsiteY420" fmla="*/ 1070232 h 5143500"/>
                <a:gd name="connsiteX421" fmla="*/ 213811 w 9144000"/>
                <a:gd name="connsiteY421" fmla="*/ 1070232 h 5143500"/>
                <a:gd name="connsiteX422" fmla="*/ 2 w 9144000"/>
                <a:gd name="connsiteY422" fmla="*/ 1070232 h 5143500"/>
                <a:gd name="connsiteX423" fmla="*/ 2 w 9144000"/>
                <a:gd name="connsiteY423" fmla="*/ 1088050 h 5143500"/>
                <a:gd name="connsiteX424" fmla="*/ 2 w 9144000"/>
                <a:gd name="connsiteY424" fmla="*/ 1119497 h 5143500"/>
                <a:gd name="connsiteX425" fmla="*/ 741184 w 9144000"/>
                <a:gd name="connsiteY425" fmla="*/ 1119497 h 5143500"/>
                <a:gd name="connsiteX426" fmla="*/ 2145962 w 9144000"/>
                <a:gd name="connsiteY426" fmla="*/ 1119497 h 5143500"/>
                <a:gd name="connsiteX427" fmla="*/ 2322036 w 9144000"/>
                <a:gd name="connsiteY427" fmla="*/ 943834 h 5143500"/>
                <a:gd name="connsiteX428" fmla="*/ 2831937 w 9144000"/>
                <a:gd name="connsiteY428" fmla="*/ 943834 h 5143500"/>
                <a:gd name="connsiteX429" fmla="*/ 2982928 w 9144000"/>
                <a:gd name="connsiteY429" fmla="*/ 792774 h 5143500"/>
                <a:gd name="connsiteX430" fmla="*/ 3008011 w 9144000"/>
                <a:gd name="connsiteY430" fmla="*/ 802738 h 5143500"/>
                <a:gd name="connsiteX431" fmla="*/ 3043176 w 9144000"/>
                <a:gd name="connsiteY431" fmla="*/ 767556 h 5143500"/>
                <a:gd name="connsiteX432" fmla="*/ 3008011 w 9144000"/>
                <a:gd name="connsiteY432" fmla="*/ 732498 h 5143500"/>
                <a:gd name="connsiteX433" fmla="*/ 2972477 w 9144000"/>
                <a:gd name="connsiteY433" fmla="*/ 767556 h 5143500"/>
                <a:gd name="connsiteX434" fmla="*/ 2975550 w 9144000"/>
                <a:gd name="connsiteY434" fmla="*/ 782318 h 5143500"/>
                <a:gd name="connsiteX435" fmla="*/ 2831937 w 9144000"/>
                <a:gd name="connsiteY435" fmla="*/ 925997 h 5143500"/>
                <a:gd name="connsiteX436" fmla="*/ 2322036 w 9144000"/>
                <a:gd name="connsiteY436" fmla="*/ 925997 h 5143500"/>
                <a:gd name="connsiteX437" fmla="*/ 2145962 w 9144000"/>
                <a:gd name="connsiteY437" fmla="*/ 1102152 h 5143500"/>
                <a:gd name="connsiteX438" fmla="*/ 2 w 9144000"/>
                <a:gd name="connsiteY438" fmla="*/ 1102152 h 5143500"/>
                <a:gd name="connsiteX439" fmla="*/ 2 w 9144000"/>
                <a:gd name="connsiteY439" fmla="*/ 1119497 h 5143500"/>
                <a:gd name="connsiteX440" fmla="*/ 2 w 9144000"/>
                <a:gd name="connsiteY440" fmla="*/ 1167751 h 5143500"/>
                <a:gd name="connsiteX441" fmla="*/ 1372839 w 9144000"/>
                <a:gd name="connsiteY441" fmla="*/ 1167751 h 5143500"/>
                <a:gd name="connsiteX442" fmla="*/ 1398538 w 9144000"/>
                <a:gd name="connsiteY442" fmla="*/ 1167751 h 5143500"/>
                <a:gd name="connsiteX443" fmla="*/ 2785885 w 9144000"/>
                <a:gd name="connsiteY443" fmla="*/ 1167751 h 5143500"/>
                <a:gd name="connsiteX444" fmla="*/ 3102504 w 9144000"/>
                <a:gd name="connsiteY444" fmla="*/ 851295 h 5143500"/>
                <a:gd name="connsiteX445" fmla="*/ 3402279 w 9144000"/>
                <a:gd name="connsiteY445" fmla="*/ 851295 h 5143500"/>
                <a:gd name="connsiteX446" fmla="*/ 3436338 w 9144000"/>
                <a:gd name="connsiteY446" fmla="*/ 878578 h 5143500"/>
                <a:gd name="connsiteX447" fmla="*/ 3471505 w 9144000"/>
                <a:gd name="connsiteY447" fmla="*/ 843430 h 5143500"/>
                <a:gd name="connsiteX448" fmla="*/ 3436338 w 9144000"/>
                <a:gd name="connsiteY448" fmla="*/ 808405 h 5143500"/>
                <a:gd name="connsiteX449" fmla="*/ 3402771 w 9144000"/>
                <a:gd name="connsiteY449" fmla="*/ 833475 h 5143500"/>
                <a:gd name="connsiteX450" fmla="*/ 3102504 w 9144000"/>
                <a:gd name="connsiteY450" fmla="*/ 833475 h 5143500"/>
                <a:gd name="connsiteX451" fmla="*/ 2785885 w 9144000"/>
                <a:gd name="connsiteY451" fmla="*/ 1149932 h 5143500"/>
                <a:gd name="connsiteX452" fmla="*/ 1398538 w 9144000"/>
                <a:gd name="connsiteY452" fmla="*/ 1149932 h 5143500"/>
                <a:gd name="connsiteX453" fmla="*/ 2 w 9144000"/>
                <a:gd name="connsiteY453" fmla="*/ 1149932 h 5143500"/>
                <a:gd name="connsiteX454" fmla="*/ 2 w 9144000"/>
                <a:gd name="connsiteY454" fmla="*/ 1167751 h 5143500"/>
                <a:gd name="connsiteX455" fmla="*/ 2 w 9144000"/>
                <a:gd name="connsiteY455" fmla="*/ 1238236 h 5143500"/>
                <a:gd name="connsiteX456" fmla="*/ 1372839 w 9144000"/>
                <a:gd name="connsiteY456" fmla="*/ 1238236 h 5143500"/>
                <a:gd name="connsiteX457" fmla="*/ 2785885 w 9144000"/>
                <a:gd name="connsiteY457" fmla="*/ 1238236 h 5143500"/>
                <a:gd name="connsiteX458" fmla="*/ 3031680 w 9144000"/>
                <a:gd name="connsiteY458" fmla="*/ 991878 h 5143500"/>
                <a:gd name="connsiteX459" fmla="*/ 3402279 w 9144000"/>
                <a:gd name="connsiteY459" fmla="*/ 991878 h 5143500"/>
                <a:gd name="connsiteX460" fmla="*/ 3436338 w 9144000"/>
                <a:gd name="connsiteY460" fmla="*/ 1019675 h 5143500"/>
                <a:gd name="connsiteX461" fmla="*/ 3471505 w 9144000"/>
                <a:gd name="connsiteY461" fmla="*/ 984499 h 5143500"/>
                <a:gd name="connsiteX462" fmla="*/ 3436338 w 9144000"/>
                <a:gd name="connsiteY462" fmla="*/ 948831 h 5143500"/>
                <a:gd name="connsiteX463" fmla="*/ 3402771 w 9144000"/>
                <a:gd name="connsiteY463" fmla="*/ 974536 h 5143500"/>
                <a:gd name="connsiteX464" fmla="*/ 3031680 w 9144000"/>
                <a:gd name="connsiteY464" fmla="*/ 974536 h 5143500"/>
                <a:gd name="connsiteX465" fmla="*/ 2785885 w 9144000"/>
                <a:gd name="connsiteY465" fmla="*/ 1221017 h 5143500"/>
                <a:gd name="connsiteX466" fmla="*/ 1398538 w 9144000"/>
                <a:gd name="connsiteY466" fmla="*/ 1221017 h 5143500"/>
                <a:gd name="connsiteX467" fmla="*/ 2 w 9144000"/>
                <a:gd name="connsiteY467" fmla="*/ 1221017 h 5143500"/>
                <a:gd name="connsiteX468" fmla="*/ 2 w 9144000"/>
                <a:gd name="connsiteY468" fmla="*/ 1238236 h 5143500"/>
                <a:gd name="connsiteX469" fmla="*/ 2 w 9144000"/>
                <a:gd name="connsiteY469" fmla="*/ 1326071 h 5143500"/>
                <a:gd name="connsiteX470" fmla="*/ 2838059 w 9144000"/>
                <a:gd name="connsiteY470" fmla="*/ 1326071 h 5143500"/>
                <a:gd name="connsiteX471" fmla="*/ 2996418 w 9144000"/>
                <a:gd name="connsiteY471" fmla="*/ 1167721 h 5143500"/>
                <a:gd name="connsiteX472" fmla="*/ 3524120 w 9144000"/>
                <a:gd name="connsiteY472" fmla="*/ 1167721 h 5143500"/>
                <a:gd name="connsiteX473" fmla="*/ 3612276 w 9144000"/>
                <a:gd name="connsiteY473" fmla="*/ 1079695 h 5143500"/>
                <a:gd name="connsiteX474" fmla="*/ 3630595 w 9144000"/>
                <a:gd name="connsiteY474" fmla="*/ 1079695 h 5143500"/>
                <a:gd name="connsiteX475" fmla="*/ 3664652 w 9144000"/>
                <a:gd name="connsiteY475" fmla="*/ 1106988 h 5143500"/>
                <a:gd name="connsiteX476" fmla="*/ 3700308 w 9144000"/>
                <a:gd name="connsiteY476" fmla="*/ 1071827 h 5143500"/>
                <a:gd name="connsiteX477" fmla="*/ 3664652 w 9144000"/>
                <a:gd name="connsiteY477" fmla="*/ 1036665 h 5143500"/>
                <a:gd name="connsiteX478" fmla="*/ 3631087 w 9144000"/>
                <a:gd name="connsiteY478" fmla="*/ 1062360 h 5143500"/>
                <a:gd name="connsiteX479" fmla="*/ 3612276 w 9144000"/>
                <a:gd name="connsiteY479" fmla="*/ 1062360 h 5143500"/>
                <a:gd name="connsiteX480" fmla="*/ 3524120 w 9144000"/>
                <a:gd name="connsiteY480" fmla="*/ 1149895 h 5143500"/>
                <a:gd name="connsiteX481" fmla="*/ 2996418 w 9144000"/>
                <a:gd name="connsiteY481" fmla="*/ 1149895 h 5143500"/>
                <a:gd name="connsiteX482" fmla="*/ 2838059 w 9144000"/>
                <a:gd name="connsiteY482" fmla="*/ 1308244 h 5143500"/>
                <a:gd name="connsiteX483" fmla="*/ 2 w 9144000"/>
                <a:gd name="connsiteY483" fmla="*/ 1308244 h 5143500"/>
                <a:gd name="connsiteX484" fmla="*/ 2 w 9144000"/>
                <a:gd name="connsiteY484" fmla="*/ 1326071 h 5143500"/>
                <a:gd name="connsiteX485" fmla="*/ 2 w 9144000"/>
                <a:gd name="connsiteY485" fmla="*/ 1378663 h 5143500"/>
                <a:gd name="connsiteX486" fmla="*/ 1372739 w 9144000"/>
                <a:gd name="connsiteY486" fmla="*/ 1378663 h 5143500"/>
                <a:gd name="connsiteX487" fmla="*/ 1398436 w 9144000"/>
                <a:gd name="connsiteY487" fmla="*/ 1378663 h 5143500"/>
                <a:gd name="connsiteX488" fmla="*/ 2855886 w 9144000"/>
                <a:gd name="connsiteY488" fmla="*/ 1378663 h 5143500"/>
                <a:gd name="connsiteX489" fmla="*/ 3014246 w 9144000"/>
                <a:gd name="connsiteY489" fmla="*/ 1220615 h 5143500"/>
                <a:gd name="connsiteX490" fmla="*/ 3630595 w 9144000"/>
                <a:gd name="connsiteY490" fmla="*/ 1220615 h 5143500"/>
                <a:gd name="connsiteX491" fmla="*/ 3664652 w 9144000"/>
                <a:gd name="connsiteY491" fmla="*/ 1247754 h 5143500"/>
                <a:gd name="connsiteX492" fmla="*/ 3700308 w 9144000"/>
                <a:gd name="connsiteY492" fmla="*/ 1212756 h 5143500"/>
                <a:gd name="connsiteX493" fmla="*/ 3664652 w 9144000"/>
                <a:gd name="connsiteY493" fmla="*/ 1177634 h 5143500"/>
                <a:gd name="connsiteX494" fmla="*/ 3631087 w 9144000"/>
                <a:gd name="connsiteY494" fmla="*/ 1202808 h 5143500"/>
                <a:gd name="connsiteX495" fmla="*/ 3014246 w 9144000"/>
                <a:gd name="connsiteY495" fmla="*/ 1202808 h 5143500"/>
                <a:gd name="connsiteX496" fmla="*/ 2855886 w 9144000"/>
                <a:gd name="connsiteY496" fmla="*/ 1360856 h 5143500"/>
                <a:gd name="connsiteX497" fmla="*/ 1398436 w 9144000"/>
                <a:gd name="connsiteY497" fmla="*/ 1360856 h 5143500"/>
                <a:gd name="connsiteX498" fmla="*/ 1372739 w 9144000"/>
                <a:gd name="connsiteY498" fmla="*/ 1360856 h 5143500"/>
                <a:gd name="connsiteX499" fmla="*/ 2 w 9144000"/>
                <a:gd name="connsiteY499" fmla="*/ 1360856 h 5143500"/>
                <a:gd name="connsiteX500" fmla="*/ 2 w 9144000"/>
                <a:gd name="connsiteY500" fmla="*/ 1378663 h 5143500"/>
                <a:gd name="connsiteX501" fmla="*/ 2 w 9144000"/>
                <a:gd name="connsiteY501" fmla="*/ 1431255 h 5143500"/>
                <a:gd name="connsiteX502" fmla="*/ 1372739 w 9144000"/>
                <a:gd name="connsiteY502" fmla="*/ 1431255 h 5143500"/>
                <a:gd name="connsiteX503" fmla="*/ 2891050 w 9144000"/>
                <a:gd name="connsiteY503" fmla="*/ 1431255 h 5143500"/>
                <a:gd name="connsiteX504" fmla="*/ 3031459 w 9144000"/>
                <a:gd name="connsiteY504" fmla="*/ 1290882 h 5143500"/>
                <a:gd name="connsiteX505" fmla="*/ 3330719 w 9144000"/>
                <a:gd name="connsiteY505" fmla="*/ 1290882 h 5143500"/>
                <a:gd name="connsiteX506" fmla="*/ 3401047 w 9144000"/>
                <a:gd name="connsiteY506" fmla="*/ 1361069 h 5143500"/>
                <a:gd name="connsiteX507" fmla="*/ 3630595 w 9144000"/>
                <a:gd name="connsiteY507" fmla="*/ 1361069 h 5143500"/>
                <a:gd name="connsiteX508" fmla="*/ 3664652 w 9144000"/>
                <a:gd name="connsiteY508" fmla="*/ 1388356 h 5143500"/>
                <a:gd name="connsiteX509" fmla="*/ 3700308 w 9144000"/>
                <a:gd name="connsiteY509" fmla="*/ 1353202 h 5143500"/>
                <a:gd name="connsiteX510" fmla="*/ 3664652 w 9144000"/>
                <a:gd name="connsiteY510" fmla="*/ 1318170 h 5143500"/>
                <a:gd name="connsiteX511" fmla="*/ 3631087 w 9144000"/>
                <a:gd name="connsiteY511" fmla="*/ 1343860 h 5143500"/>
                <a:gd name="connsiteX512" fmla="*/ 3401047 w 9144000"/>
                <a:gd name="connsiteY512" fmla="*/ 1343860 h 5143500"/>
                <a:gd name="connsiteX513" fmla="*/ 3330719 w 9144000"/>
                <a:gd name="connsiteY513" fmla="*/ 1273059 h 5143500"/>
                <a:gd name="connsiteX514" fmla="*/ 3031459 w 9144000"/>
                <a:gd name="connsiteY514" fmla="*/ 1273059 h 5143500"/>
                <a:gd name="connsiteX515" fmla="*/ 2891050 w 9144000"/>
                <a:gd name="connsiteY515" fmla="*/ 1414047 h 5143500"/>
                <a:gd name="connsiteX516" fmla="*/ 2 w 9144000"/>
                <a:gd name="connsiteY516" fmla="*/ 1414047 h 5143500"/>
                <a:gd name="connsiteX517" fmla="*/ 2 w 9144000"/>
                <a:gd name="connsiteY517" fmla="*/ 1431255 h 5143500"/>
                <a:gd name="connsiteX518" fmla="*/ 3664652 w 9144000"/>
                <a:gd name="connsiteY518" fmla="*/ 1529391 h 5143500"/>
                <a:gd name="connsiteX519" fmla="*/ 3700308 w 9144000"/>
                <a:gd name="connsiteY519" fmla="*/ 1494149 h 5143500"/>
                <a:gd name="connsiteX520" fmla="*/ 3664652 w 9144000"/>
                <a:gd name="connsiteY520" fmla="*/ 1459030 h 5143500"/>
                <a:gd name="connsiteX521" fmla="*/ 3631087 w 9144000"/>
                <a:gd name="connsiteY521" fmla="*/ 1484168 h 5143500"/>
                <a:gd name="connsiteX522" fmla="*/ 1371141 w 9144000"/>
                <a:gd name="connsiteY522" fmla="*/ 1484168 h 5143500"/>
                <a:gd name="connsiteX523" fmla="*/ 2 w 9144000"/>
                <a:gd name="connsiteY523" fmla="*/ 1484168 h 5143500"/>
                <a:gd name="connsiteX524" fmla="*/ 2 w 9144000"/>
                <a:gd name="connsiteY524" fmla="*/ 1501543 h 5143500"/>
                <a:gd name="connsiteX525" fmla="*/ 1371141 w 9144000"/>
                <a:gd name="connsiteY525" fmla="*/ 1501543 h 5143500"/>
                <a:gd name="connsiteX526" fmla="*/ 1400526 w 9144000"/>
                <a:gd name="connsiteY526" fmla="*/ 1501543 h 5143500"/>
                <a:gd name="connsiteX527" fmla="*/ 3630595 w 9144000"/>
                <a:gd name="connsiteY527" fmla="*/ 1502036 h 5143500"/>
                <a:gd name="connsiteX528" fmla="*/ 3664652 w 9144000"/>
                <a:gd name="connsiteY528" fmla="*/ 1529391 h 5143500"/>
                <a:gd name="connsiteX529" fmla="*/ 3299711 w 9144000"/>
                <a:gd name="connsiteY529" fmla="*/ 1687710 h 5143500"/>
                <a:gd name="connsiteX530" fmla="*/ 3334873 w 9144000"/>
                <a:gd name="connsiteY530" fmla="*/ 1652614 h 5143500"/>
                <a:gd name="connsiteX531" fmla="*/ 3299711 w 9144000"/>
                <a:gd name="connsiteY531" fmla="*/ 1617395 h 5143500"/>
                <a:gd name="connsiteX532" fmla="*/ 3265655 w 9144000"/>
                <a:gd name="connsiteY532" fmla="*/ 1642639 h 5143500"/>
                <a:gd name="connsiteX533" fmla="*/ 2930263 w 9144000"/>
                <a:gd name="connsiteY533" fmla="*/ 1642639 h 5143500"/>
                <a:gd name="connsiteX534" fmla="*/ 2824899 w 9144000"/>
                <a:gd name="connsiteY534" fmla="*/ 1537105 h 5143500"/>
                <a:gd name="connsiteX535" fmla="*/ 855327 w 9144000"/>
                <a:gd name="connsiteY535" fmla="*/ 1537105 h 5143500"/>
                <a:gd name="connsiteX536" fmla="*/ 2 w 9144000"/>
                <a:gd name="connsiteY536" fmla="*/ 1537105 h 5143500"/>
                <a:gd name="connsiteX537" fmla="*/ 2 w 9144000"/>
                <a:gd name="connsiteY537" fmla="*/ 1554345 h 5143500"/>
                <a:gd name="connsiteX538" fmla="*/ 1023638 w 9144000"/>
                <a:gd name="connsiteY538" fmla="*/ 1554345 h 5143500"/>
                <a:gd name="connsiteX539" fmla="*/ 2824899 w 9144000"/>
                <a:gd name="connsiteY539" fmla="*/ 1554345 h 5143500"/>
                <a:gd name="connsiteX540" fmla="*/ 2930263 w 9144000"/>
                <a:gd name="connsiteY540" fmla="*/ 1660495 h 5143500"/>
                <a:gd name="connsiteX541" fmla="*/ 3265164 w 9144000"/>
                <a:gd name="connsiteY541" fmla="*/ 1660495 h 5143500"/>
                <a:gd name="connsiteX542" fmla="*/ 3299711 w 9144000"/>
                <a:gd name="connsiteY542" fmla="*/ 1687710 h 5143500"/>
                <a:gd name="connsiteX543" fmla="*/ 201711 w 9144000"/>
                <a:gd name="connsiteY543" fmla="*/ 1706687 h 5143500"/>
                <a:gd name="connsiteX544" fmla="*/ 237357 w 9144000"/>
                <a:gd name="connsiteY544" fmla="*/ 1671506 h 5143500"/>
                <a:gd name="connsiteX545" fmla="*/ 201711 w 9144000"/>
                <a:gd name="connsiteY545" fmla="*/ 1636326 h 5143500"/>
                <a:gd name="connsiteX546" fmla="*/ 167662 w 9144000"/>
                <a:gd name="connsiteY546" fmla="*/ 1663634 h 5143500"/>
                <a:gd name="connsiteX547" fmla="*/ 29515 w 9144000"/>
                <a:gd name="connsiteY547" fmla="*/ 1663634 h 5143500"/>
                <a:gd name="connsiteX548" fmla="*/ 12428 w 9144000"/>
                <a:gd name="connsiteY548" fmla="*/ 1663634 h 5143500"/>
                <a:gd name="connsiteX549" fmla="*/ 9095 w 9144000"/>
                <a:gd name="connsiteY549" fmla="*/ 1662893 h 5143500"/>
                <a:gd name="connsiteX550" fmla="*/ 5858 w 9144000"/>
                <a:gd name="connsiteY550" fmla="*/ 1663634 h 5143500"/>
                <a:gd name="connsiteX551" fmla="*/ 2 w 9144000"/>
                <a:gd name="connsiteY551" fmla="*/ 1663634 h 5143500"/>
                <a:gd name="connsiteX552" fmla="*/ 2 w 9144000"/>
                <a:gd name="connsiteY552" fmla="*/ 1681470 h 5143500"/>
                <a:gd name="connsiteX553" fmla="*/ 168154 w 9144000"/>
                <a:gd name="connsiteY553" fmla="*/ 1681470 h 5143500"/>
                <a:gd name="connsiteX554" fmla="*/ 201711 w 9144000"/>
                <a:gd name="connsiteY554" fmla="*/ 1706687 h 5143500"/>
                <a:gd name="connsiteX555" fmla="*/ 2131958 w 9144000"/>
                <a:gd name="connsiteY555" fmla="*/ 1846027 h 5143500"/>
                <a:gd name="connsiteX556" fmla="*/ 2167001 w 9144000"/>
                <a:gd name="connsiteY556" fmla="*/ 1810889 h 5143500"/>
                <a:gd name="connsiteX557" fmla="*/ 2131958 w 9144000"/>
                <a:gd name="connsiteY557" fmla="*/ 1775258 h 5143500"/>
                <a:gd name="connsiteX558" fmla="*/ 2097281 w 9144000"/>
                <a:gd name="connsiteY558" fmla="*/ 1803026 h 5143500"/>
                <a:gd name="connsiteX559" fmla="*/ 1797494 w 9144000"/>
                <a:gd name="connsiteY559" fmla="*/ 1803026 h 5143500"/>
                <a:gd name="connsiteX560" fmla="*/ 1604071 w 9144000"/>
                <a:gd name="connsiteY560" fmla="*/ 1609758 h 5143500"/>
                <a:gd name="connsiteX561" fmla="*/ 530962 w 9144000"/>
                <a:gd name="connsiteY561" fmla="*/ 1609758 h 5143500"/>
                <a:gd name="connsiteX562" fmla="*/ 372706 w 9144000"/>
                <a:gd name="connsiteY562" fmla="*/ 1767886 h 5143500"/>
                <a:gd name="connsiteX563" fmla="*/ 2 w 9144000"/>
                <a:gd name="connsiteY563" fmla="*/ 1767886 h 5143500"/>
                <a:gd name="connsiteX564" fmla="*/ 2 w 9144000"/>
                <a:gd name="connsiteY564" fmla="*/ 1785210 h 5143500"/>
                <a:gd name="connsiteX565" fmla="*/ 372706 w 9144000"/>
                <a:gd name="connsiteY565" fmla="*/ 1785210 h 5143500"/>
                <a:gd name="connsiteX566" fmla="*/ 530962 w 9144000"/>
                <a:gd name="connsiteY566" fmla="*/ 1627082 h 5143500"/>
                <a:gd name="connsiteX567" fmla="*/ 1604071 w 9144000"/>
                <a:gd name="connsiteY567" fmla="*/ 1627082 h 5143500"/>
                <a:gd name="connsiteX568" fmla="*/ 1797494 w 9144000"/>
                <a:gd name="connsiteY568" fmla="*/ 1820349 h 5143500"/>
                <a:gd name="connsiteX569" fmla="*/ 2097896 w 9144000"/>
                <a:gd name="connsiteY569" fmla="*/ 1820349 h 5143500"/>
                <a:gd name="connsiteX570" fmla="*/ 2131958 w 9144000"/>
                <a:gd name="connsiteY570" fmla="*/ 1846027 h 5143500"/>
                <a:gd name="connsiteX571" fmla="*/ 2 w 9144000"/>
                <a:gd name="connsiteY571" fmla="*/ 1969103 h 5143500"/>
                <a:gd name="connsiteX572" fmla="*/ 370072 w 9144000"/>
                <a:gd name="connsiteY572" fmla="*/ 1969103 h 5143500"/>
                <a:gd name="connsiteX573" fmla="*/ 510969 w 9144000"/>
                <a:gd name="connsiteY573" fmla="*/ 1828398 h 5143500"/>
                <a:gd name="connsiteX574" fmla="*/ 924069 w 9144000"/>
                <a:gd name="connsiteY574" fmla="*/ 1828398 h 5143500"/>
                <a:gd name="connsiteX575" fmla="*/ 958126 w 9144000"/>
                <a:gd name="connsiteY575" fmla="*/ 1855532 h 5143500"/>
                <a:gd name="connsiteX576" fmla="*/ 993165 w 9144000"/>
                <a:gd name="connsiteY576" fmla="*/ 1820541 h 5143500"/>
                <a:gd name="connsiteX577" fmla="*/ 958126 w 9144000"/>
                <a:gd name="connsiteY577" fmla="*/ 1785427 h 5143500"/>
                <a:gd name="connsiteX578" fmla="*/ 924561 w 9144000"/>
                <a:gd name="connsiteY578" fmla="*/ 1811088 h 5143500"/>
                <a:gd name="connsiteX579" fmla="*/ 510969 w 9144000"/>
                <a:gd name="connsiteY579" fmla="*/ 1811088 h 5143500"/>
                <a:gd name="connsiteX580" fmla="*/ 370072 w 9144000"/>
                <a:gd name="connsiteY580" fmla="*/ 1951300 h 5143500"/>
                <a:gd name="connsiteX581" fmla="*/ 2 w 9144000"/>
                <a:gd name="connsiteY581" fmla="*/ 1951300 h 5143500"/>
                <a:gd name="connsiteX582" fmla="*/ 2 w 9144000"/>
                <a:gd name="connsiteY582" fmla="*/ 1969103 h 5143500"/>
                <a:gd name="connsiteX583" fmla="*/ 2374861 w 9144000"/>
                <a:gd name="connsiteY583" fmla="*/ 1986453 h 5143500"/>
                <a:gd name="connsiteX584" fmla="*/ 2409901 w 9144000"/>
                <a:gd name="connsiteY584" fmla="*/ 1951273 h 5143500"/>
                <a:gd name="connsiteX585" fmla="*/ 2374861 w 9144000"/>
                <a:gd name="connsiteY585" fmla="*/ 1916217 h 5143500"/>
                <a:gd name="connsiteX586" fmla="*/ 2341296 w 9144000"/>
                <a:gd name="connsiteY586" fmla="*/ 1941433 h 5143500"/>
                <a:gd name="connsiteX587" fmla="*/ 1776844 w 9144000"/>
                <a:gd name="connsiteY587" fmla="*/ 1941433 h 5143500"/>
                <a:gd name="connsiteX588" fmla="*/ 1530455 w 9144000"/>
                <a:gd name="connsiteY588" fmla="*/ 1695424 h 5143500"/>
                <a:gd name="connsiteX589" fmla="*/ 580684 w 9144000"/>
                <a:gd name="connsiteY589" fmla="*/ 1695424 h 5143500"/>
                <a:gd name="connsiteX590" fmla="*/ 370075 w 9144000"/>
                <a:gd name="connsiteY590" fmla="*/ 1906253 h 5143500"/>
                <a:gd name="connsiteX591" fmla="*/ 2 w 9144000"/>
                <a:gd name="connsiteY591" fmla="*/ 1906253 h 5143500"/>
                <a:gd name="connsiteX592" fmla="*/ 2 w 9144000"/>
                <a:gd name="connsiteY592" fmla="*/ 1924089 h 5143500"/>
                <a:gd name="connsiteX593" fmla="*/ 276265 w 9144000"/>
                <a:gd name="connsiteY593" fmla="*/ 1924089 h 5143500"/>
                <a:gd name="connsiteX594" fmla="*/ 370075 w 9144000"/>
                <a:gd name="connsiteY594" fmla="*/ 1924089 h 5143500"/>
                <a:gd name="connsiteX595" fmla="*/ 580684 w 9144000"/>
                <a:gd name="connsiteY595" fmla="*/ 1712768 h 5143500"/>
                <a:gd name="connsiteX596" fmla="*/ 1530455 w 9144000"/>
                <a:gd name="connsiteY596" fmla="*/ 1712768 h 5143500"/>
                <a:gd name="connsiteX597" fmla="*/ 1776844 w 9144000"/>
                <a:gd name="connsiteY597" fmla="*/ 1959146 h 5143500"/>
                <a:gd name="connsiteX598" fmla="*/ 2340805 w 9144000"/>
                <a:gd name="connsiteY598" fmla="*/ 1959146 h 5143500"/>
                <a:gd name="connsiteX599" fmla="*/ 2374861 w 9144000"/>
                <a:gd name="connsiteY599" fmla="*/ 1986453 h 5143500"/>
                <a:gd name="connsiteX600" fmla="*/ 2 w 9144000"/>
                <a:gd name="connsiteY600" fmla="*/ 2081878 h 5143500"/>
                <a:gd name="connsiteX601" fmla="*/ 342800 w 9144000"/>
                <a:gd name="connsiteY601" fmla="*/ 2081878 h 5143500"/>
                <a:gd name="connsiteX602" fmla="*/ 483337 w 9144000"/>
                <a:gd name="connsiteY602" fmla="*/ 1941172 h 5143500"/>
                <a:gd name="connsiteX603" fmla="*/ 818759 w 9144000"/>
                <a:gd name="connsiteY603" fmla="*/ 1941172 h 5143500"/>
                <a:gd name="connsiteX604" fmla="*/ 852816 w 9144000"/>
                <a:gd name="connsiteY604" fmla="*/ 1968798 h 5143500"/>
                <a:gd name="connsiteX605" fmla="*/ 887981 w 9144000"/>
                <a:gd name="connsiteY605" fmla="*/ 1933315 h 5143500"/>
                <a:gd name="connsiteX606" fmla="*/ 852816 w 9144000"/>
                <a:gd name="connsiteY606" fmla="*/ 1898200 h 5143500"/>
                <a:gd name="connsiteX607" fmla="*/ 819250 w 9144000"/>
                <a:gd name="connsiteY607" fmla="*/ 1923861 h 5143500"/>
                <a:gd name="connsiteX608" fmla="*/ 483337 w 9144000"/>
                <a:gd name="connsiteY608" fmla="*/ 1923861 h 5143500"/>
                <a:gd name="connsiteX609" fmla="*/ 342800 w 9144000"/>
                <a:gd name="connsiteY609" fmla="*/ 2064075 h 5143500"/>
                <a:gd name="connsiteX610" fmla="*/ 2 w 9144000"/>
                <a:gd name="connsiteY610" fmla="*/ 2064075 h 5143500"/>
                <a:gd name="connsiteX611" fmla="*/ 2 w 9144000"/>
                <a:gd name="connsiteY611" fmla="*/ 2081878 h 5143500"/>
                <a:gd name="connsiteX612" fmla="*/ 2 w 9144000"/>
                <a:gd name="connsiteY612" fmla="*/ 2170255 h 5143500"/>
                <a:gd name="connsiteX613" fmla="*/ 518504 w 9144000"/>
                <a:gd name="connsiteY613" fmla="*/ 2170255 h 5143500"/>
                <a:gd name="connsiteX614" fmla="*/ 518504 w 9144000"/>
                <a:gd name="connsiteY614" fmla="*/ 2029549 h 5143500"/>
                <a:gd name="connsiteX615" fmla="*/ 713066 w 9144000"/>
                <a:gd name="connsiteY615" fmla="*/ 2029549 h 5143500"/>
                <a:gd name="connsiteX616" fmla="*/ 747624 w 9144000"/>
                <a:gd name="connsiteY616" fmla="*/ 2056683 h 5143500"/>
                <a:gd name="connsiteX617" fmla="*/ 782798 w 9144000"/>
                <a:gd name="connsiteY617" fmla="*/ 2021691 h 5143500"/>
                <a:gd name="connsiteX618" fmla="*/ 747624 w 9144000"/>
                <a:gd name="connsiteY618" fmla="*/ 1986576 h 5143500"/>
                <a:gd name="connsiteX619" fmla="*/ 713558 w 9144000"/>
                <a:gd name="connsiteY619" fmla="*/ 2012237 h 5143500"/>
                <a:gd name="connsiteX620" fmla="*/ 501164 w 9144000"/>
                <a:gd name="connsiteY620" fmla="*/ 2012237 h 5143500"/>
                <a:gd name="connsiteX621" fmla="*/ 501164 w 9144000"/>
                <a:gd name="connsiteY621" fmla="*/ 2152452 h 5143500"/>
                <a:gd name="connsiteX622" fmla="*/ 2 w 9144000"/>
                <a:gd name="connsiteY622" fmla="*/ 2152452 h 5143500"/>
                <a:gd name="connsiteX623" fmla="*/ 2 w 9144000"/>
                <a:gd name="connsiteY623" fmla="*/ 2170255 h 5143500"/>
                <a:gd name="connsiteX624" fmla="*/ 2 w 9144000"/>
                <a:gd name="connsiteY624" fmla="*/ 2293331 h 5143500"/>
                <a:gd name="connsiteX625" fmla="*/ 712295 w 9144000"/>
                <a:gd name="connsiteY625" fmla="*/ 2293331 h 5143500"/>
                <a:gd name="connsiteX626" fmla="*/ 1064074 w 9144000"/>
                <a:gd name="connsiteY626" fmla="*/ 1941229 h 5143500"/>
                <a:gd name="connsiteX627" fmla="*/ 1257979 w 9144000"/>
                <a:gd name="connsiteY627" fmla="*/ 1941229 h 5143500"/>
                <a:gd name="connsiteX628" fmla="*/ 1292653 w 9144000"/>
                <a:gd name="connsiteY628" fmla="*/ 1968890 h 5143500"/>
                <a:gd name="connsiteX629" fmla="*/ 1327696 w 9144000"/>
                <a:gd name="connsiteY629" fmla="*/ 1933853 h 5143500"/>
                <a:gd name="connsiteX630" fmla="*/ 1292653 w 9144000"/>
                <a:gd name="connsiteY630" fmla="*/ 1898200 h 5143500"/>
                <a:gd name="connsiteX631" fmla="*/ 1258470 w 9144000"/>
                <a:gd name="connsiteY631" fmla="*/ 1923894 h 5143500"/>
                <a:gd name="connsiteX632" fmla="*/ 1064074 w 9144000"/>
                <a:gd name="connsiteY632" fmla="*/ 1923894 h 5143500"/>
                <a:gd name="connsiteX633" fmla="*/ 712295 w 9144000"/>
                <a:gd name="connsiteY633" fmla="*/ 2275505 h 5143500"/>
                <a:gd name="connsiteX634" fmla="*/ 2 w 9144000"/>
                <a:gd name="connsiteY634" fmla="*/ 2275505 h 5143500"/>
                <a:gd name="connsiteX635" fmla="*/ 2 w 9144000"/>
                <a:gd name="connsiteY635" fmla="*/ 2293331 h 5143500"/>
                <a:gd name="connsiteX636" fmla="*/ 2 w 9144000"/>
                <a:gd name="connsiteY636" fmla="*/ 2399058 h 5143500"/>
                <a:gd name="connsiteX637" fmla="*/ 239477 w 9144000"/>
                <a:gd name="connsiteY637" fmla="*/ 2399058 h 5143500"/>
                <a:gd name="connsiteX638" fmla="*/ 764651 w 9144000"/>
                <a:gd name="connsiteY638" fmla="*/ 2399058 h 5143500"/>
                <a:gd name="connsiteX639" fmla="*/ 1046046 w 9144000"/>
                <a:gd name="connsiteY639" fmla="*/ 2117467 h 5143500"/>
                <a:gd name="connsiteX640" fmla="*/ 1328549 w 9144000"/>
                <a:gd name="connsiteY640" fmla="*/ 2117467 h 5143500"/>
                <a:gd name="connsiteX641" fmla="*/ 1362602 w 9144000"/>
                <a:gd name="connsiteY641" fmla="*/ 2144777 h 5143500"/>
                <a:gd name="connsiteX642" fmla="*/ 1397638 w 9144000"/>
                <a:gd name="connsiteY642" fmla="*/ 2109594 h 5143500"/>
                <a:gd name="connsiteX643" fmla="*/ 1362602 w 9144000"/>
                <a:gd name="connsiteY643" fmla="*/ 2074410 h 5143500"/>
                <a:gd name="connsiteX644" fmla="*/ 1329040 w 9144000"/>
                <a:gd name="connsiteY644" fmla="*/ 2099629 h 5143500"/>
                <a:gd name="connsiteX645" fmla="*/ 1046046 w 9144000"/>
                <a:gd name="connsiteY645" fmla="*/ 2099629 h 5143500"/>
                <a:gd name="connsiteX646" fmla="*/ 764651 w 9144000"/>
                <a:gd name="connsiteY646" fmla="*/ 2381220 h 5143500"/>
                <a:gd name="connsiteX647" fmla="*/ 2 w 9144000"/>
                <a:gd name="connsiteY647" fmla="*/ 2381220 h 5143500"/>
                <a:gd name="connsiteX648" fmla="*/ 2 w 9144000"/>
                <a:gd name="connsiteY648" fmla="*/ 2399058 h 5143500"/>
                <a:gd name="connsiteX649" fmla="*/ 2 w 9144000"/>
                <a:gd name="connsiteY649" fmla="*/ 2487434 h 5143500"/>
                <a:gd name="connsiteX650" fmla="*/ 213815 w 9144000"/>
                <a:gd name="connsiteY650" fmla="*/ 2487434 h 5143500"/>
                <a:gd name="connsiteX651" fmla="*/ 817629 w 9144000"/>
                <a:gd name="connsiteY651" fmla="*/ 2487434 h 5143500"/>
                <a:gd name="connsiteX652" fmla="*/ 1099064 w 9144000"/>
                <a:gd name="connsiteY652" fmla="*/ 2205844 h 5143500"/>
                <a:gd name="connsiteX653" fmla="*/ 1240705 w 9144000"/>
                <a:gd name="connsiteY653" fmla="*/ 2205844 h 5143500"/>
                <a:gd name="connsiteX654" fmla="*/ 1274762 w 9144000"/>
                <a:gd name="connsiteY654" fmla="*/ 2233154 h 5143500"/>
                <a:gd name="connsiteX655" fmla="*/ 1309804 w 9144000"/>
                <a:gd name="connsiteY655" fmla="*/ 2197970 h 5143500"/>
                <a:gd name="connsiteX656" fmla="*/ 1274762 w 9144000"/>
                <a:gd name="connsiteY656" fmla="*/ 2162787 h 5143500"/>
                <a:gd name="connsiteX657" fmla="*/ 1241197 w 9144000"/>
                <a:gd name="connsiteY657" fmla="*/ 2188006 h 5143500"/>
                <a:gd name="connsiteX658" fmla="*/ 1099064 w 9144000"/>
                <a:gd name="connsiteY658" fmla="*/ 2188006 h 5143500"/>
                <a:gd name="connsiteX659" fmla="*/ 817629 w 9144000"/>
                <a:gd name="connsiteY659" fmla="*/ 2469597 h 5143500"/>
                <a:gd name="connsiteX660" fmla="*/ 2 w 9144000"/>
                <a:gd name="connsiteY660" fmla="*/ 2469597 h 5143500"/>
                <a:gd name="connsiteX661" fmla="*/ 2 w 9144000"/>
                <a:gd name="connsiteY661" fmla="*/ 2487434 h 5143500"/>
                <a:gd name="connsiteX662" fmla="*/ 2 w 9144000"/>
                <a:gd name="connsiteY662" fmla="*/ 2560630 h 5143500"/>
                <a:gd name="connsiteX663" fmla="*/ 896490 w 9144000"/>
                <a:gd name="connsiteY663" fmla="*/ 2560630 h 5143500"/>
                <a:gd name="connsiteX664" fmla="*/ 1093004 w 9144000"/>
                <a:gd name="connsiteY664" fmla="*/ 2364323 h 5143500"/>
                <a:gd name="connsiteX665" fmla="*/ 1107761 w 9144000"/>
                <a:gd name="connsiteY665" fmla="*/ 2367394 h 5143500"/>
                <a:gd name="connsiteX666" fmla="*/ 1142810 w 9144000"/>
                <a:gd name="connsiteY666" fmla="*/ 2332383 h 5143500"/>
                <a:gd name="connsiteX667" fmla="*/ 1107761 w 9144000"/>
                <a:gd name="connsiteY667" fmla="*/ 2297249 h 5143500"/>
                <a:gd name="connsiteX668" fmla="*/ 1072591 w 9144000"/>
                <a:gd name="connsiteY668" fmla="*/ 2332383 h 5143500"/>
                <a:gd name="connsiteX669" fmla="*/ 1082551 w 9144000"/>
                <a:gd name="connsiteY669" fmla="*/ 2357444 h 5143500"/>
                <a:gd name="connsiteX670" fmla="*/ 896490 w 9144000"/>
                <a:gd name="connsiteY670" fmla="*/ 2543432 h 5143500"/>
                <a:gd name="connsiteX671" fmla="*/ 2 w 9144000"/>
                <a:gd name="connsiteY671" fmla="*/ 2543432 h 5143500"/>
                <a:gd name="connsiteX672" fmla="*/ 2 w 9144000"/>
                <a:gd name="connsiteY672" fmla="*/ 2560630 h 5143500"/>
                <a:gd name="connsiteX673" fmla="*/ 2 w 9144000"/>
                <a:gd name="connsiteY673" fmla="*/ 2645211 h 5143500"/>
                <a:gd name="connsiteX674" fmla="*/ 301839 w 9144000"/>
                <a:gd name="connsiteY674" fmla="*/ 2645211 h 5143500"/>
                <a:gd name="connsiteX675" fmla="*/ 985304 w 9144000"/>
                <a:gd name="connsiteY675" fmla="*/ 2645211 h 5143500"/>
                <a:gd name="connsiteX676" fmla="*/ 1231692 w 9144000"/>
                <a:gd name="connsiteY676" fmla="*/ 2398887 h 5143500"/>
                <a:gd name="connsiteX677" fmla="*/ 1425089 w 9144000"/>
                <a:gd name="connsiteY677" fmla="*/ 2398887 h 5143500"/>
                <a:gd name="connsiteX678" fmla="*/ 1723853 w 9144000"/>
                <a:gd name="connsiteY678" fmla="*/ 2099560 h 5143500"/>
                <a:gd name="connsiteX679" fmla="*/ 2340805 w 9144000"/>
                <a:gd name="connsiteY679" fmla="*/ 2099560 h 5143500"/>
                <a:gd name="connsiteX680" fmla="*/ 2374861 w 9144000"/>
                <a:gd name="connsiteY680" fmla="*/ 2127353 h 5143500"/>
                <a:gd name="connsiteX681" fmla="*/ 2409901 w 9144000"/>
                <a:gd name="connsiteY681" fmla="*/ 2092182 h 5143500"/>
                <a:gd name="connsiteX682" fmla="*/ 2374861 w 9144000"/>
                <a:gd name="connsiteY682" fmla="*/ 2056518 h 5143500"/>
                <a:gd name="connsiteX683" fmla="*/ 2341296 w 9144000"/>
                <a:gd name="connsiteY683" fmla="*/ 2082220 h 5143500"/>
                <a:gd name="connsiteX684" fmla="*/ 1723853 w 9144000"/>
                <a:gd name="connsiteY684" fmla="*/ 2082220 h 5143500"/>
                <a:gd name="connsiteX685" fmla="*/ 1425089 w 9144000"/>
                <a:gd name="connsiteY685" fmla="*/ 2381055 h 5143500"/>
                <a:gd name="connsiteX686" fmla="*/ 1231692 w 9144000"/>
                <a:gd name="connsiteY686" fmla="*/ 2381055 h 5143500"/>
                <a:gd name="connsiteX687" fmla="*/ 985304 w 9144000"/>
                <a:gd name="connsiteY687" fmla="*/ 2627379 h 5143500"/>
                <a:gd name="connsiteX688" fmla="*/ 2 w 9144000"/>
                <a:gd name="connsiteY688" fmla="*/ 2627379 h 5143500"/>
                <a:gd name="connsiteX689" fmla="*/ 2 w 9144000"/>
                <a:gd name="connsiteY689" fmla="*/ 2645211 h 5143500"/>
                <a:gd name="connsiteX690" fmla="*/ 2 w 9144000"/>
                <a:gd name="connsiteY690" fmla="*/ 2760155 h 5143500"/>
                <a:gd name="connsiteX691" fmla="*/ 196581 w 9144000"/>
                <a:gd name="connsiteY691" fmla="*/ 2760155 h 5143500"/>
                <a:gd name="connsiteX692" fmla="*/ 1046084 w 9144000"/>
                <a:gd name="connsiteY692" fmla="*/ 2760155 h 5143500"/>
                <a:gd name="connsiteX693" fmla="*/ 1242663 w 9144000"/>
                <a:gd name="connsiteY693" fmla="*/ 2563810 h 5143500"/>
                <a:gd name="connsiteX694" fmla="*/ 1257293 w 9144000"/>
                <a:gd name="connsiteY694" fmla="*/ 2567005 h 5143500"/>
                <a:gd name="connsiteX695" fmla="*/ 1292453 w 9144000"/>
                <a:gd name="connsiteY695" fmla="*/ 2531373 h 5143500"/>
                <a:gd name="connsiteX696" fmla="*/ 1257293 w 9144000"/>
                <a:gd name="connsiteY696" fmla="*/ 2496232 h 5143500"/>
                <a:gd name="connsiteX697" fmla="*/ 1222132 w 9144000"/>
                <a:gd name="connsiteY697" fmla="*/ 2531373 h 5143500"/>
                <a:gd name="connsiteX698" fmla="*/ 1232090 w 9144000"/>
                <a:gd name="connsiteY698" fmla="*/ 2556438 h 5143500"/>
                <a:gd name="connsiteX699" fmla="*/ 1046084 w 9144000"/>
                <a:gd name="connsiteY699" fmla="*/ 2742339 h 5143500"/>
                <a:gd name="connsiteX700" fmla="*/ 256820 w 9144000"/>
                <a:gd name="connsiteY700" fmla="*/ 2742339 h 5143500"/>
                <a:gd name="connsiteX701" fmla="*/ 196581 w 9144000"/>
                <a:gd name="connsiteY701" fmla="*/ 2742339 h 5143500"/>
                <a:gd name="connsiteX702" fmla="*/ 2 w 9144000"/>
                <a:gd name="connsiteY702" fmla="*/ 2742339 h 5143500"/>
                <a:gd name="connsiteX703" fmla="*/ 2 w 9144000"/>
                <a:gd name="connsiteY703" fmla="*/ 2760155 h 5143500"/>
                <a:gd name="connsiteX704" fmla="*/ 2 w 9144000"/>
                <a:gd name="connsiteY704" fmla="*/ 2820880 h 5143500"/>
                <a:gd name="connsiteX705" fmla="*/ 319174 w 9144000"/>
                <a:gd name="connsiteY705" fmla="*/ 2820880 h 5143500"/>
                <a:gd name="connsiteX706" fmla="*/ 1196529 w 9144000"/>
                <a:gd name="connsiteY706" fmla="*/ 2820880 h 5143500"/>
                <a:gd name="connsiteX707" fmla="*/ 1776844 w 9144000"/>
                <a:gd name="connsiteY707" fmla="*/ 2240539 h 5143500"/>
                <a:gd name="connsiteX708" fmla="*/ 2340805 w 9144000"/>
                <a:gd name="connsiteY708" fmla="*/ 2240539 h 5143500"/>
                <a:gd name="connsiteX709" fmla="*/ 2374861 w 9144000"/>
                <a:gd name="connsiteY709" fmla="*/ 2267723 h 5143500"/>
                <a:gd name="connsiteX710" fmla="*/ 2409901 w 9144000"/>
                <a:gd name="connsiteY710" fmla="*/ 2232666 h 5143500"/>
                <a:gd name="connsiteX711" fmla="*/ 2374861 w 9144000"/>
                <a:gd name="connsiteY711" fmla="*/ 2197487 h 5143500"/>
                <a:gd name="connsiteX712" fmla="*/ 2341296 w 9144000"/>
                <a:gd name="connsiteY712" fmla="*/ 2222703 h 5143500"/>
                <a:gd name="connsiteX713" fmla="*/ 1776844 w 9144000"/>
                <a:gd name="connsiteY713" fmla="*/ 2222703 h 5143500"/>
                <a:gd name="connsiteX714" fmla="*/ 1196529 w 9144000"/>
                <a:gd name="connsiteY714" fmla="*/ 2803536 h 5143500"/>
                <a:gd name="connsiteX715" fmla="*/ 2 w 9144000"/>
                <a:gd name="connsiteY715" fmla="*/ 2803536 h 5143500"/>
                <a:gd name="connsiteX716" fmla="*/ 2 w 9144000"/>
                <a:gd name="connsiteY716" fmla="*/ 2820880 h 5143500"/>
                <a:gd name="connsiteX717" fmla="*/ 2 w 9144000"/>
                <a:gd name="connsiteY717" fmla="*/ 2974861 h 5143500"/>
                <a:gd name="connsiteX718" fmla="*/ 1179260 w 9144000"/>
                <a:gd name="connsiteY718" fmla="*/ 2974861 h 5143500"/>
                <a:gd name="connsiteX719" fmla="*/ 1762620 w 9144000"/>
                <a:gd name="connsiteY719" fmla="*/ 2391389 h 5143500"/>
                <a:gd name="connsiteX720" fmla="*/ 1777250 w 9144000"/>
                <a:gd name="connsiteY720" fmla="*/ 2394587 h 5143500"/>
                <a:gd name="connsiteX721" fmla="*/ 1812411 w 9144000"/>
                <a:gd name="connsiteY721" fmla="*/ 2359411 h 5143500"/>
                <a:gd name="connsiteX722" fmla="*/ 1777250 w 9144000"/>
                <a:gd name="connsiteY722" fmla="*/ 2324359 h 5143500"/>
                <a:gd name="connsiteX723" fmla="*/ 1742089 w 9144000"/>
                <a:gd name="connsiteY723" fmla="*/ 2359411 h 5143500"/>
                <a:gd name="connsiteX724" fmla="*/ 1752539 w 9144000"/>
                <a:gd name="connsiteY724" fmla="*/ 2384133 h 5143500"/>
                <a:gd name="connsiteX725" fmla="*/ 1179260 w 9144000"/>
                <a:gd name="connsiteY725" fmla="*/ 2957642 h 5143500"/>
                <a:gd name="connsiteX726" fmla="*/ 2 w 9144000"/>
                <a:gd name="connsiteY726" fmla="*/ 2957642 h 5143500"/>
                <a:gd name="connsiteX727" fmla="*/ 2 w 9144000"/>
                <a:gd name="connsiteY727" fmla="*/ 2974861 h 5143500"/>
                <a:gd name="connsiteX728" fmla="*/ 2 w 9144000"/>
                <a:gd name="connsiteY728" fmla="*/ 3044803 h 5143500"/>
                <a:gd name="connsiteX729" fmla="*/ 1232133 w 9144000"/>
                <a:gd name="connsiteY729" fmla="*/ 3044803 h 5143500"/>
                <a:gd name="connsiteX730" fmla="*/ 1885696 w 9144000"/>
                <a:gd name="connsiteY730" fmla="*/ 2391363 h 5143500"/>
                <a:gd name="connsiteX731" fmla="*/ 1900449 w 9144000"/>
                <a:gd name="connsiteY731" fmla="*/ 2394559 h 5143500"/>
                <a:gd name="connsiteX732" fmla="*/ 1935488 w 9144000"/>
                <a:gd name="connsiteY732" fmla="*/ 2359398 h 5143500"/>
                <a:gd name="connsiteX733" fmla="*/ 1900449 w 9144000"/>
                <a:gd name="connsiteY733" fmla="*/ 2324359 h 5143500"/>
                <a:gd name="connsiteX734" fmla="*/ 1865288 w 9144000"/>
                <a:gd name="connsiteY734" fmla="*/ 2359398 h 5143500"/>
                <a:gd name="connsiteX735" fmla="*/ 1875246 w 9144000"/>
                <a:gd name="connsiteY735" fmla="*/ 2384109 h 5143500"/>
                <a:gd name="connsiteX736" fmla="*/ 1232133 w 9144000"/>
                <a:gd name="connsiteY736" fmla="*/ 3027591 h 5143500"/>
                <a:gd name="connsiteX737" fmla="*/ 2 w 9144000"/>
                <a:gd name="connsiteY737" fmla="*/ 3027591 h 5143500"/>
                <a:gd name="connsiteX738" fmla="*/ 2 w 9144000"/>
                <a:gd name="connsiteY738" fmla="*/ 3044803 h 5143500"/>
                <a:gd name="connsiteX739" fmla="*/ 2 w 9144000"/>
                <a:gd name="connsiteY739" fmla="*/ 3115830 h 5143500"/>
                <a:gd name="connsiteX740" fmla="*/ 1284897 w 9144000"/>
                <a:gd name="connsiteY740" fmla="*/ 3115830 h 5143500"/>
                <a:gd name="connsiteX741" fmla="*/ 2009304 w 9144000"/>
                <a:gd name="connsiteY741" fmla="*/ 2391381 h 5143500"/>
                <a:gd name="connsiteX742" fmla="*/ 2023938 w 9144000"/>
                <a:gd name="connsiteY742" fmla="*/ 2394578 h 5143500"/>
                <a:gd name="connsiteX743" fmla="*/ 2059106 w 9144000"/>
                <a:gd name="connsiteY743" fmla="*/ 2359407 h 5143500"/>
                <a:gd name="connsiteX744" fmla="*/ 2023938 w 9144000"/>
                <a:gd name="connsiteY744" fmla="*/ 2324359 h 5143500"/>
                <a:gd name="connsiteX745" fmla="*/ 1988892 w 9144000"/>
                <a:gd name="connsiteY745" fmla="*/ 2359407 h 5143500"/>
                <a:gd name="connsiteX746" fmla="*/ 1998852 w 9144000"/>
                <a:gd name="connsiteY746" fmla="*/ 2384125 h 5143500"/>
                <a:gd name="connsiteX747" fmla="*/ 1284897 w 9144000"/>
                <a:gd name="connsiteY747" fmla="*/ 3097998 h 5143500"/>
                <a:gd name="connsiteX748" fmla="*/ 2 w 9144000"/>
                <a:gd name="connsiteY748" fmla="*/ 3097998 h 5143500"/>
                <a:gd name="connsiteX749" fmla="*/ 2 w 9144000"/>
                <a:gd name="connsiteY749" fmla="*/ 3115830 h 5143500"/>
                <a:gd name="connsiteX750" fmla="*/ 2 w 9144000"/>
                <a:gd name="connsiteY750" fmla="*/ 3185772 h 5143500"/>
                <a:gd name="connsiteX751" fmla="*/ 1337689 w 9144000"/>
                <a:gd name="connsiteY751" fmla="*/ 3185772 h 5143500"/>
                <a:gd name="connsiteX752" fmla="*/ 2132384 w 9144000"/>
                <a:gd name="connsiteY752" fmla="*/ 2391359 h 5143500"/>
                <a:gd name="connsiteX753" fmla="*/ 2147016 w 9144000"/>
                <a:gd name="connsiteY753" fmla="*/ 2394555 h 5143500"/>
                <a:gd name="connsiteX754" fmla="*/ 2182182 w 9144000"/>
                <a:gd name="connsiteY754" fmla="*/ 2359395 h 5143500"/>
                <a:gd name="connsiteX755" fmla="*/ 2147016 w 9144000"/>
                <a:gd name="connsiteY755" fmla="*/ 2324359 h 5143500"/>
                <a:gd name="connsiteX756" fmla="*/ 2111358 w 9144000"/>
                <a:gd name="connsiteY756" fmla="*/ 2359395 h 5143500"/>
                <a:gd name="connsiteX757" fmla="*/ 2121933 w 9144000"/>
                <a:gd name="connsiteY757" fmla="*/ 2384106 h 5143500"/>
                <a:gd name="connsiteX758" fmla="*/ 1337689 w 9144000"/>
                <a:gd name="connsiteY758" fmla="*/ 3167946 h 5143500"/>
                <a:gd name="connsiteX759" fmla="*/ 2 w 9144000"/>
                <a:gd name="connsiteY759" fmla="*/ 3167946 h 5143500"/>
                <a:gd name="connsiteX760" fmla="*/ 2 w 9144000"/>
                <a:gd name="connsiteY760" fmla="*/ 3185772 h 5143500"/>
                <a:gd name="connsiteX761" fmla="*/ 1154880 w 9144000"/>
                <a:gd name="connsiteY761" fmla="*/ 3350991 h 5143500"/>
                <a:gd name="connsiteX762" fmla="*/ 1179588 w 9144000"/>
                <a:gd name="connsiteY762" fmla="*/ 3340785 h 5143500"/>
                <a:gd name="connsiteX763" fmla="*/ 1179588 w 9144000"/>
                <a:gd name="connsiteY763" fmla="*/ 3291133 h 5143500"/>
                <a:gd name="connsiteX764" fmla="*/ 1154880 w 9144000"/>
                <a:gd name="connsiteY764" fmla="*/ 3280927 h 5143500"/>
                <a:gd name="connsiteX765" fmla="*/ 1129803 w 9144000"/>
                <a:gd name="connsiteY765" fmla="*/ 3291133 h 5143500"/>
                <a:gd name="connsiteX766" fmla="*/ 1121936 w 9144000"/>
                <a:gd name="connsiteY766" fmla="*/ 3303638 h 5143500"/>
                <a:gd name="connsiteX767" fmla="*/ 2 w 9144000"/>
                <a:gd name="connsiteY767" fmla="*/ 3303638 h 5143500"/>
                <a:gd name="connsiteX768" fmla="*/ 2 w 9144000"/>
                <a:gd name="connsiteY768" fmla="*/ 3326686 h 5143500"/>
                <a:gd name="connsiteX769" fmla="*/ 10942 w 9144000"/>
                <a:gd name="connsiteY769" fmla="*/ 3316143 h 5143500"/>
                <a:gd name="connsiteX770" fmla="*/ 1119846 w 9144000"/>
                <a:gd name="connsiteY770" fmla="*/ 3316143 h 5143500"/>
                <a:gd name="connsiteX771" fmla="*/ 1129803 w 9144000"/>
                <a:gd name="connsiteY771" fmla="*/ 3340785 h 5143500"/>
                <a:gd name="connsiteX772" fmla="*/ 1154880 w 9144000"/>
                <a:gd name="connsiteY772" fmla="*/ 3350991 h 5143500"/>
                <a:gd name="connsiteX773" fmla="*/ 1067982 w 9144000"/>
                <a:gd name="connsiteY773" fmla="*/ 3437766 h 5143500"/>
                <a:gd name="connsiteX774" fmla="*/ 1092835 w 9144000"/>
                <a:gd name="connsiteY774" fmla="*/ 3427635 h 5143500"/>
                <a:gd name="connsiteX775" fmla="*/ 1092835 w 9144000"/>
                <a:gd name="connsiteY775" fmla="*/ 3377905 h 5143500"/>
                <a:gd name="connsiteX776" fmla="*/ 1067982 w 9144000"/>
                <a:gd name="connsiteY776" fmla="*/ 3367682 h 5143500"/>
                <a:gd name="connsiteX777" fmla="*/ 1043036 w 9144000"/>
                <a:gd name="connsiteY777" fmla="*/ 3377905 h 5143500"/>
                <a:gd name="connsiteX778" fmla="*/ 1035168 w 9144000"/>
                <a:gd name="connsiteY778" fmla="*/ 3390429 h 5143500"/>
                <a:gd name="connsiteX779" fmla="*/ 10946 w 9144000"/>
                <a:gd name="connsiteY779" fmla="*/ 3390429 h 5143500"/>
                <a:gd name="connsiteX780" fmla="*/ 2 w 9144000"/>
                <a:gd name="connsiteY780" fmla="*/ 3400867 h 5143500"/>
                <a:gd name="connsiteX781" fmla="*/ 2 w 9144000"/>
                <a:gd name="connsiteY781" fmla="*/ 3426039 h 5143500"/>
                <a:gd name="connsiteX782" fmla="*/ 23610 w 9144000"/>
                <a:gd name="connsiteY782" fmla="*/ 3402954 h 5143500"/>
                <a:gd name="connsiteX783" fmla="*/ 1033078 w 9144000"/>
                <a:gd name="connsiteY783" fmla="*/ 3402954 h 5143500"/>
                <a:gd name="connsiteX784" fmla="*/ 1043036 w 9144000"/>
                <a:gd name="connsiteY784" fmla="*/ 3427635 h 5143500"/>
                <a:gd name="connsiteX785" fmla="*/ 1067982 w 9144000"/>
                <a:gd name="connsiteY785" fmla="*/ 3437766 h 5143500"/>
                <a:gd name="connsiteX786" fmla="*/ 2 w 9144000"/>
                <a:gd name="connsiteY786" fmla="*/ 3525861 h 5143500"/>
                <a:gd name="connsiteX787" fmla="*/ 35665 w 9144000"/>
                <a:gd name="connsiteY787" fmla="*/ 3490308 h 5143500"/>
                <a:gd name="connsiteX788" fmla="*/ 946314 w 9144000"/>
                <a:gd name="connsiteY788" fmla="*/ 3490308 h 5143500"/>
                <a:gd name="connsiteX789" fmla="*/ 956275 w 9144000"/>
                <a:gd name="connsiteY789" fmla="*/ 3514827 h 5143500"/>
                <a:gd name="connsiteX790" fmla="*/ 1006082 w 9144000"/>
                <a:gd name="connsiteY790" fmla="*/ 3514827 h 5143500"/>
                <a:gd name="connsiteX791" fmla="*/ 1006082 w 9144000"/>
                <a:gd name="connsiteY791" fmla="*/ 3465175 h 5143500"/>
                <a:gd name="connsiteX792" fmla="*/ 981179 w 9144000"/>
                <a:gd name="connsiteY792" fmla="*/ 3454969 h 5143500"/>
                <a:gd name="connsiteX793" fmla="*/ 956275 w 9144000"/>
                <a:gd name="connsiteY793" fmla="*/ 3465175 h 5143500"/>
                <a:gd name="connsiteX794" fmla="*/ 948405 w 9144000"/>
                <a:gd name="connsiteY794" fmla="*/ 3477680 h 5143500"/>
                <a:gd name="connsiteX795" fmla="*/ 23614 w 9144000"/>
                <a:gd name="connsiteY795" fmla="*/ 3477680 h 5143500"/>
                <a:gd name="connsiteX796" fmla="*/ 2 w 9144000"/>
                <a:gd name="connsiteY796" fmla="*/ 3500728 h 5143500"/>
                <a:gd name="connsiteX797" fmla="*/ 2 w 9144000"/>
                <a:gd name="connsiteY797" fmla="*/ 3525861 h 5143500"/>
                <a:gd name="connsiteX798" fmla="*/ 8575308 w 9144000"/>
                <a:gd name="connsiteY798" fmla="*/ 3538083 h 5143500"/>
                <a:gd name="connsiteX799" fmla="*/ 8609382 w 9144000"/>
                <a:gd name="connsiteY799" fmla="*/ 3510727 h 5143500"/>
                <a:gd name="connsiteX800" fmla="*/ 8927125 w 9144000"/>
                <a:gd name="connsiteY800" fmla="*/ 3510727 h 5143500"/>
                <a:gd name="connsiteX801" fmla="*/ 8927125 w 9144000"/>
                <a:gd name="connsiteY801" fmla="*/ 3493475 h 5143500"/>
                <a:gd name="connsiteX802" fmla="*/ 8608890 w 9144000"/>
                <a:gd name="connsiteY802" fmla="*/ 3493475 h 5143500"/>
                <a:gd name="connsiteX803" fmla="*/ 8575308 w 9144000"/>
                <a:gd name="connsiteY803" fmla="*/ 3467721 h 5143500"/>
                <a:gd name="connsiteX804" fmla="*/ 8540126 w 9144000"/>
                <a:gd name="connsiteY804" fmla="*/ 3502840 h 5143500"/>
                <a:gd name="connsiteX805" fmla="*/ 8575308 w 9144000"/>
                <a:gd name="connsiteY805" fmla="*/ 3538083 h 5143500"/>
                <a:gd name="connsiteX806" fmla="*/ 2 w 9144000"/>
                <a:gd name="connsiteY806" fmla="*/ 3625486 h 5143500"/>
                <a:gd name="connsiteX807" fmla="*/ 48197 w 9144000"/>
                <a:gd name="connsiteY807" fmla="*/ 3577223 h 5143500"/>
                <a:gd name="connsiteX808" fmla="*/ 858549 w 9144000"/>
                <a:gd name="connsiteY808" fmla="*/ 3577223 h 5143500"/>
                <a:gd name="connsiteX809" fmla="*/ 869000 w 9144000"/>
                <a:gd name="connsiteY809" fmla="*/ 3601847 h 5143500"/>
                <a:gd name="connsiteX810" fmla="*/ 918793 w 9144000"/>
                <a:gd name="connsiteY810" fmla="*/ 3601847 h 5143500"/>
                <a:gd name="connsiteX811" fmla="*/ 918793 w 9144000"/>
                <a:gd name="connsiteY811" fmla="*/ 3551984 h 5143500"/>
                <a:gd name="connsiteX812" fmla="*/ 893896 w 9144000"/>
                <a:gd name="connsiteY812" fmla="*/ 3541734 h 5143500"/>
                <a:gd name="connsiteX813" fmla="*/ 869000 w 9144000"/>
                <a:gd name="connsiteY813" fmla="*/ 3551984 h 5143500"/>
                <a:gd name="connsiteX814" fmla="*/ 861131 w 9144000"/>
                <a:gd name="connsiteY814" fmla="*/ 3564542 h 5143500"/>
                <a:gd name="connsiteX815" fmla="*/ 35657 w 9144000"/>
                <a:gd name="connsiteY815" fmla="*/ 3564542 h 5143500"/>
                <a:gd name="connsiteX816" fmla="*/ 2 w 9144000"/>
                <a:gd name="connsiteY816" fmla="*/ 3600246 h 5143500"/>
                <a:gd name="connsiteX817" fmla="*/ 2 w 9144000"/>
                <a:gd name="connsiteY817" fmla="*/ 3625486 h 5143500"/>
                <a:gd name="connsiteX818" fmla="*/ 7296271 w 9144000"/>
                <a:gd name="connsiteY818" fmla="*/ 3675798 h 5143500"/>
                <a:gd name="connsiteX819" fmla="*/ 7331314 w 9144000"/>
                <a:gd name="connsiteY819" fmla="*/ 3640767 h 5143500"/>
                <a:gd name="connsiteX820" fmla="*/ 7321355 w 9144000"/>
                <a:gd name="connsiteY820" fmla="*/ 3615568 h 5143500"/>
                <a:gd name="connsiteX821" fmla="*/ 8105576 w 9144000"/>
                <a:gd name="connsiteY821" fmla="*/ 2831717 h 5143500"/>
                <a:gd name="connsiteX822" fmla="*/ 9143458 w 9144000"/>
                <a:gd name="connsiteY822" fmla="*/ 2831717 h 5143500"/>
                <a:gd name="connsiteX823" fmla="*/ 9143458 w 9144000"/>
                <a:gd name="connsiteY823" fmla="*/ 2814385 h 5143500"/>
                <a:gd name="connsiteX824" fmla="*/ 8105576 w 9144000"/>
                <a:gd name="connsiteY824" fmla="*/ 2814385 h 5143500"/>
                <a:gd name="connsiteX825" fmla="*/ 7310903 w 9144000"/>
                <a:gd name="connsiteY825" fmla="*/ 3608808 h 5143500"/>
                <a:gd name="connsiteX826" fmla="*/ 7296271 w 9144000"/>
                <a:gd name="connsiteY826" fmla="*/ 3605612 h 5143500"/>
                <a:gd name="connsiteX827" fmla="*/ 7261106 w 9144000"/>
                <a:gd name="connsiteY827" fmla="*/ 3640767 h 5143500"/>
                <a:gd name="connsiteX828" fmla="*/ 7296271 w 9144000"/>
                <a:gd name="connsiteY828" fmla="*/ 3675798 h 5143500"/>
                <a:gd name="connsiteX829" fmla="*/ 7665916 w 9144000"/>
                <a:gd name="connsiteY829" fmla="*/ 3676340 h 5143500"/>
                <a:gd name="connsiteX830" fmla="*/ 7701078 w 9144000"/>
                <a:gd name="connsiteY830" fmla="*/ 3641292 h 5143500"/>
                <a:gd name="connsiteX831" fmla="*/ 7690628 w 9144000"/>
                <a:gd name="connsiteY831" fmla="*/ 3616081 h 5143500"/>
                <a:gd name="connsiteX832" fmla="*/ 8263916 w 9144000"/>
                <a:gd name="connsiteY832" fmla="*/ 3043128 h 5143500"/>
                <a:gd name="connsiteX833" fmla="*/ 9143458 w 9144000"/>
                <a:gd name="connsiteY833" fmla="*/ 3043128 h 5143500"/>
                <a:gd name="connsiteX834" fmla="*/ 9143458 w 9144000"/>
                <a:gd name="connsiteY834" fmla="*/ 3025296 h 5143500"/>
                <a:gd name="connsiteX835" fmla="*/ 8263916 w 9144000"/>
                <a:gd name="connsiteY835" fmla="*/ 3025296 h 5143500"/>
                <a:gd name="connsiteX836" fmla="*/ 7680670 w 9144000"/>
                <a:gd name="connsiteY836" fmla="*/ 3609318 h 5143500"/>
                <a:gd name="connsiteX837" fmla="*/ 7665916 w 9144000"/>
                <a:gd name="connsiteY837" fmla="*/ 3606120 h 5143500"/>
                <a:gd name="connsiteX838" fmla="*/ 7630878 w 9144000"/>
                <a:gd name="connsiteY838" fmla="*/ 3641292 h 5143500"/>
                <a:gd name="connsiteX839" fmla="*/ 7665916 w 9144000"/>
                <a:gd name="connsiteY839" fmla="*/ 3676340 h 5143500"/>
                <a:gd name="connsiteX840" fmla="*/ 7542837 w 9144000"/>
                <a:gd name="connsiteY840" fmla="*/ 3676340 h 5143500"/>
                <a:gd name="connsiteX841" fmla="*/ 7577997 w 9144000"/>
                <a:gd name="connsiteY841" fmla="*/ 3641306 h 5143500"/>
                <a:gd name="connsiteX842" fmla="*/ 7567547 w 9144000"/>
                <a:gd name="connsiteY842" fmla="*/ 3616105 h 5143500"/>
                <a:gd name="connsiteX843" fmla="*/ 8211115 w 9144000"/>
                <a:gd name="connsiteY843" fmla="*/ 2973056 h 5143500"/>
                <a:gd name="connsiteX844" fmla="*/ 9143458 w 9144000"/>
                <a:gd name="connsiteY844" fmla="*/ 2973056 h 5143500"/>
                <a:gd name="connsiteX845" fmla="*/ 9143458 w 9144000"/>
                <a:gd name="connsiteY845" fmla="*/ 2955354 h 5143500"/>
                <a:gd name="connsiteX846" fmla="*/ 8211115 w 9144000"/>
                <a:gd name="connsiteY846" fmla="*/ 2955354 h 5143500"/>
                <a:gd name="connsiteX847" fmla="*/ 7557589 w 9144000"/>
                <a:gd name="connsiteY847" fmla="*/ 3609343 h 5143500"/>
                <a:gd name="connsiteX848" fmla="*/ 7542837 w 9144000"/>
                <a:gd name="connsiteY848" fmla="*/ 3606147 h 5143500"/>
                <a:gd name="connsiteX849" fmla="*/ 7507801 w 9144000"/>
                <a:gd name="connsiteY849" fmla="*/ 3641306 h 5143500"/>
                <a:gd name="connsiteX850" fmla="*/ 7542837 w 9144000"/>
                <a:gd name="connsiteY850" fmla="*/ 3676340 h 5143500"/>
                <a:gd name="connsiteX851" fmla="*/ 7419893 w 9144000"/>
                <a:gd name="connsiteY851" fmla="*/ 3676340 h 5143500"/>
                <a:gd name="connsiteX852" fmla="*/ 7454938 w 9144000"/>
                <a:gd name="connsiteY852" fmla="*/ 3641298 h 5143500"/>
                <a:gd name="connsiteX853" fmla="*/ 7444978 w 9144000"/>
                <a:gd name="connsiteY853" fmla="*/ 3616092 h 5143500"/>
                <a:gd name="connsiteX854" fmla="*/ 8158427 w 9144000"/>
                <a:gd name="connsiteY854" fmla="*/ 2902207 h 5143500"/>
                <a:gd name="connsiteX855" fmla="*/ 9144000 w 9144000"/>
                <a:gd name="connsiteY855" fmla="*/ 2902207 h 5143500"/>
                <a:gd name="connsiteX856" fmla="*/ 9144000 w 9144000"/>
                <a:gd name="connsiteY856" fmla="*/ 2884870 h 5143500"/>
                <a:gd name="connsiteX857" fmla="*/ 8158427 w 9144000"/>
                <a:gd name="connsiteY857" fmla="*/ 2884870 h 5143500"/>
                <a:gd name="connsiteX858" fmla="*/ 7434526 w 9144000"/>
                <a:gd name="connsiteY858" fmla="*/ 3609329 h 5143500"/>
                <a:gd name="connsiteX859" fmla="*/ 7419893 w 9144000"/>
                <a:gd name="connsiteY859" fmla="*/ 3606132 h 5143500"/>
                <a:gd name="connsiteX860" fmla="*/ 7384724 w 9144000"/>
                <a:gd name="connsiteY860" fmla="*/ 3641298 h 5143500"/>
                <a:gd name="connsiteX861" fmla="*/ 7419893 w 9144000"/>
                <a:gd name="connsiteY861" fmla="*/ 3676340 h 5143500"/>
                <a:gd name="connsiteX862" fmla="*/ 6909687 w 9144000"/>
                <a:gd name="connsiteY862" fmla="*/ 3764175 h 5143500"/>
                <a:gd name="connsiteX863" fmla="*/ 6943743 w 9144000"/>
                <a:gd name="connsiteY863" fmla="*/ 3736396 h 5143500"/>
                <a:gd name="connsiteX864" fmla="*/ 7701078 w 9144000"/>
                <a:gd name="connsiteY864" fmla="*/ 3736396 h 5143500"/>
                <a:gd name="connsiteX865" fmla="*/ 8316413 w 9144000"/>
                <a:gd name="connsiteY865" fmla="*/ 3121194 h 5143500"/>
                <a:gd name="connsiteX866" fmla="*/ 9143458 w 9144000"/>
                <a:gd name="connsiteY866" fmla="*/ 3121194 h 5143500"/>
                <a:gd name="connsiteX867" fmla="*/ 9143458 w 9144000"/>
                <a:gd name="connsiteY867" fmla="*/ 3103371 h 5143500"/>
                <a:gd name="connsiteX868" fmla="*/ 8316413 w 9144000"/>
                <a:gd name="connsiteY868" fmla="*/ 3103371 h 5143500"/>
                <a:gd name="connsiteX869" fmla="*/ 7701078 w 9144000"/>
                <a:gd name="connsiteY869" fmla="*/ 3719064 h 5143500"/>
                <a:gd name="connsiteX870" fmla="*/ 6943128 w 9144000"/>
                <a:gd name="connsiteY870" fmla="*/ 3719064 h 5143500"/>
                <a:gd name="connsiteX871" fmla="*/ 6909687 w 9144000"/>
                <a:gd name="connsiteY871" fmla="*/ 3693375 h 5143500"/>
                <a:gd name="connsiteX872" fmla="*/ 6874526 w 9144000"/>
                <a:gd name="connsiteY872" fmla="*/ 3729021 h 5143500"/>
                <a:gd name="connsiteX873" fmla="*/ 6909687 w 9144000"/>
                <a:gd name="connsiteY873" fmla="*/ 3764175 h 5143500"/>
                <a:gd name="connsiteX874" fmla="*/ 6909687 w 9144000"/>
                <a:gd name="connsiteY874" fmla="*/ 3887794 h 5143500"/>
                <a:gd name="connsiteX875" fmla="*/ 6943743 w 9144000"/>
                <a:gd name="connsiteY875" fmla="*/ 3859998 h 5143500"/>
                <a:gd name="connsiteX876" fmla="*/ 7665916 w 9144000"/>
                <a:gd name="connsiteY876" fmla="*/ 3859998 h 5143500"/>
                <a:gd name="connsiteX877" fmla="*/ 8352067 w 9144000"/>
                <a:gd name="connsiteY877" fmla="*/ 3174216 h 5143500"/>
                <a:gd name="connsiteX878" fmla="*/ 9143458 w 9144000"/>
                <a:gd name="connsiteY878" fmla="*/ 3174216 h 5143500"/>
                <a:gd name="connsiteX879" fmla="*/ 9143458 w 9144000"/>
                <a:gd name="connsiteY879" fmla="*/ 3156506 h 5143500"/>
                <a:gd name="connsiteX880" fmla="*/ 8352067 w 9144000"/>
                <a:gd name="connsiteY880" fmla="*/ 3156506 h 5143500"/>
                <a:gd name="connsiteX881" fmla="*/ 7665916 w 9144000"/>
                <a:gd name="connsiteY881" fmla="*/ 3842780 h 5143500"/>
                <a:gd name="connsiteX882" fmla="*/ 6943128 w 9144000"/>
                <a:gd name="connsiteY882" fmla="*/ 3842780 h 5143500"/>
                <a:gd name="connsiteX883" fmla="*/ 6909687 w 9144000"/>
                <a:gd name="connsiteY883" fmla="*/ 3817075 h 5143500"/>
                <a:gd name="connsiteX884" fmla="*/ 6874526 w 9144000"/>
                <a:gd name="connsiteY884" fmla="*/ 3852250 h 5143500"/>
                <a:gd name="connsiteX885" fmla="*/ 6909687 w 9144000"/>
                <a:gd name="connsiteY885" fmla="*/ 3887794 h 5143500"/>
                <a:gd name="connsiteX886" fmla="*/ 8562694 w 9144000"/>
                <a:gd name="connsiteY886" fmla="*/ 3905143 h 5143500"/>
                <a:gd name="connsiteX887" fmla="*/ 8597362 w 9144000"/>
                <a:gd name="connsiteY887" fmla="*/ 3877788 h 5143500"/>
                <a:gd name="connsiteX888" fmla="*/ 9143458 w 9144000"/>
                <a:gd name="connsiteY888" fmla="*/ 3877788 h 5143500"/>
                <a:gd name="connsiteX889" fmla="*/ 9143458 w 9144000"/>
                <a:gd name="connsiteY889" fmla="*/ 3859920 h 5143500"/>
                <a:gd name="connsiteX890" fmla="*/ 8596748 w 9144000"/>
                <a:gd name="connsiteY890" fmla="*/ 3859920 h 5143500"/>
                <a:gd name="connsiteX891" fmla="*/ 8562694 w 9144000"/>
                <a:gd name="connsiteY891" fmla="*/ 3834782 h 5143500"/>
                <a:gd name="connsiteX892" fmla="*/ 8527656 w 9144000"/>
                <a:gd name="connsiteY892" fmla="*/ 3869901 h 5143500"/>
                <a:gd name="connsiteX893" fmla="*/ 8562694 w 9144000"/>
                <a:gd name="connsiteY893" fmla="*/ 3905143 h 5143500"/>
                <a:gd name="connsiteX894" fmla="*/ 8562694 w 9144000"/>
                <a:gd name="connsiteY894" fmla="*/ 4028220 h 5143500"/>
                <a:gd name="connsiteX895" fmla="*/ 8597362 w 9144000"/>
                <a:gd name="connsiteY895" fmla="*/ 4000864 h 5143500"/>
                <a:gd name="connsiteX896" fmla="*/ 9143458 w 9144000"/>
                <a:gd name="connsiteY896" fmla="*/ 4000864 h 5143500"/>
                <a:gd name="connsiteX897" fmla="*/ 9143458 w 9144000"/>
                <a:gd name="connsiteY897" fmla="*/ 3982997 h 5143500"/>
                <a:gd name="connsiteX898" fmla="*/ 8596748 w 9144000"/>
                <a:gd name="connsiteY898" fmla="*/ 3982997 h 5143500"/>
                <a:gd name="connsiteX899" fmla="*/ 8562694 w 9144000"/>
                <a:gd name="connsiteY899" fmla="*/ 3957859 h 5143500"/>
                <a:gd name="connsiteX900" fmla="*/ 8527656 w 9144000"/>
                <a:gd name="connsiteY900" fmla="*/ 3992978 h 5143500"/>
                <a:gd name="connsiteX901" fmla="*/ 8562694 w 9144000"/>
                <a:gd name="connsiteY901" fmla="*/ 4028220 h 5143500"/>
                <a:gd name="connsiteX902" fmla="*/ 7665916 w 9144000"/>
                <a:gd name="connsiteY902" fmla="*/ 4116055 h 5143500"/>
                <a:gd name="connsiteX903" fmla="*/ 7701078 w 9144000"/>
                <a:gd name="connsiteY903" fmla="*/ 4080879 h 5143500"/>
                <a:gd name="connsiteX904" fmla="*/ 7690628 w 9144000"/>
                <a:gd name="connsiteY904" fmla="*/ 4055789 h 5143500"/>
                <a:gd name="connsiteX905" fmla="*/ 8316413 w 9144000"/>
                <a:gd name="connsiteY905" fmla="*/ 3429760 h 5143500"/>
                <a:gd name="connsiteX906" fmla="*/ 9143458 w 9144000"/>
                <a:gd name="connsiteY906" fmla="*/ 3429760 h 5143500"/>
                <a:gd name="connsiteX907" fmla="*/ 9143458 w 9144000"/>
                <a:gd name="connsiteY907" fmla="*/ 3412418 h 5143500"/>
                <a:gd name="connsiteX908" fmla="*/ 8316413 w 9144000"/>
                <a:gd name="connsiteY908" fmla="*/ 3412418 h 5143500"/>
                <a:gd name="connsiteX909" fmla="*/ 7680670 w 9144000"/>
                <a:gd name="connsiteY909" fmla="*/ 4048409 h 5143500"/>
                <a:gd name="connsiteX910" fmla="*/ 7665916 w 9144000"/>
                <a:gd name="connsiteY910" fmla="*/ 4045334 h 5143500"/>
                <a:gd name="connsiteX911" fmla="*/ 7630878 w 9144000"/>
                <a:gd name="connsiteY911" fmla="*/ 4080879 h 5143500"/>
                <a:gd name="connsiteX912" fmla="*/ 7665916 w 9144000"/>
                <a:gd name="connsiteY912" fmla="*/ 4116055 h 5143500"/>
                <a:gd name="connsiteX913" fmla="*/ 7050114 w 9144000"/>
                <a:gd name="connsiteY913" fmla="*/ 4133405 h 5143500"/>
                <a:gd name="connsiteX914" fmla="*/ 7085767 w 9144000"/>
                <a:gd name="connsiteY914" fmla="*/ 4098243 h 5143500"/>
                <a:gd name="connsiteX915" fmla="*/ 7075317 w 9144000"/>
                <a:gd name="connsiteY915" fmla="*/ 4073655 h 5143500"/>
                <a:gd name="connsiteX916" fmla="*/ 7244117 w 9144000"/>
                <a:gd name="connsiteY916" fmla="*/ 3904856 h 5143500"/>
                <a:gd name="connsiteX917" fmla="*/ 7665933 w 9144000"/>
                <a:gd name="connsiteY917" fmla="*/ 3904856 h 5143500"/>
                <a:gd name="connsiteX918" fmla="*/ 8352076 w 9144000"/>
                <a:gd name="connsiteY918" fmla="*/ 3218842 h 5143500"/>
                <a:gd name="connsiteX919" fmla="*/ 9143458 w 9144000"/>
                <a:gd name="connsiteY919" fmla="*/ 3218842 h 5143500"/>
                <a:gd name="connsiteX920" fmla="*/ 9143458 w 9144000"/>
                <a:gd name="connsiteY920" fmla="*/ 3201507 h 5143500"/>
                <a:gd name="connsiteX921" fmla="*/ 8352076 w 9144000"/>
                <a:gd name="connsiteY921" fmla="*/ 3201507 h 5143500"/>
                <a:gd name="connsiteX922" fmla="*/ 7665933 w 9144000"/>
                <a:gd name="connsiteY922" fmla="*/ 3887521 h 5143500"/>
                <a:gd name="connsiteX923" fmla="*/ 7244117 w 9144000"/>
                <a:gd name="connsiteY923" fmla="*/ 3887521 h 5143500"/>
                <a:gd name="connsiteX924" fmla="*/ 7064744 w 9144000"/>
                <a:gd name="connsiteY924" fmla="*/ 4066279 h 5143500"/>
                <a:gd name="connsiteX925" fmla="*/ 7050114 w 9144000"/>
                <a:gd name="connsiteY925" fmla="*/ 4063082 h 5143500"/>
                <a:gd name="connsiteX926" fmla="*/ 7014952 w 9144000"/>
                <a:gd name="connsiteY926" fmla="*/ 4098243 h 5143500"/>
                <a:gd name="connsiteX927" fmla="*/ 7050114 w 9144000"/>
                <a:gd name="connsiteY927" fmla="*/ 4133405 h 5143500"/>
                <a:gd name="connsiteX928" fmla="*/ 8562694 w 9144000"/>
                <a:gd name="connsiteY928" fmla="*/ 4151297 h 5143500"/>
                <a:gd name="connsiteX929" fmla="*/ 8597362 w 9144000"/>
                <a:gd name="connsiteY929" fmla="*/ 4123989 h 5143500"/>
                <a:gd name="connsiteX930" fmla="*/ 9143458 w 9144000"/>
                <a:gd name="connsiteY930" fmla="*/ 4123989 h 5143500"/>
                <a:gd name="connsiteX931" fmla="*/ 9143458 w 9144000"/>
                <a:gd name="connsiteY931" fmla="*/ 4106152 h 5143500"/>
                <a:gd name="connsiteX932" fmla="*/ 8596748 w 9144000"/>
                <a:gd name="connsiteY932" fmla="*/ 4106152 h 5143500"/>
                <a:gd name="connsiteX933" fmla="*/ 8562694 w 9144000"/>
                <a:gd name="connsiteY933" fmla="*/ 4080935 h 5143500"/>
                <a:gd name="connsiteX934" fmla="*/ 8527656 w 9144000"/>
                <a:gd name="connsiteY934" fmla="*/ 4116116 h 5143500"/>
                <a:gd name="connsiteX935" fmla="*/ 8562694 w 9144000"/>
                <a:gd name="connsiteY935" fmla="*/ 4151297 h 5143500"/>
                <a:gd name="connsiteX936" fmla="*/ 7155722 w 9144000"/>
                <a:gd name="connsiteY936" fmla="*/ 4221239 h 5143500"/>
                <a:gd name="connsiteX937" fmla="*/ 7190888 w 9144000"/>
                <a:gd name="connsiteY937" fmla="*/ 4186081 h 5143500"/>
                <a:gd name="connsiteX938" fmla="*/ 7180436 w 9144000"/>
                <a:gd name="connsiteY938" fmla="*/ 4161003 h 5143500"/>
                <a:gd name="connsiteX939" fmla="*/ 7366471 w 9144000"/>
                <a:gd name="connsiteY939" fmla="*/ 3974886 h 5143500"/>
                <a:gd name="connsiteX940" fmla="*/ 7665751 w 9144000"/>
                <a:gd name="connsiteY940" fmla="*/ 3974886 h 5143500"/>
                <a:gd name="connsiteX941" fmla="*/ 8298984 w 9144000"/>
                <a:gd name="connsiteY941" fmla="*/ 3341917 h 5143500"/>
                <a:gd name="connsiteX942" fmla="*/ 9143458 w 9144000"/>
                <a:gd name="connsiteY942" fmla="*/ 3341917 h 5143500"/>
                <a:gd name="connsiteX943" fmla="*/ 9143458 w 9144000"/>
                <a:gd name="connsiteY943" fmla="*/ 3324584 h 5143500"/>
                <a:gd name="connsiteX944" fmla="*/ 8298984 w 9144000"/>
                <a:gd name="connsiteY944" fmla="*/ 3324584 h 5143500"/>
                <a:gd name="connsiteX945" fmla="*/ 7665751 w 9144000"/>
                <a:gd name="connsiteY945" fmla="*/ 3957676 h 5143500"/>
                <a:gd name="connsiteX946" fmla="*/ 7366471 w 9144000"/>
                <a:gd name="connsiteY946" fmla="*/ 3957676 h 5143500"/>
                <a:gd name="connsiteX947" fmla="*/ 7169862 w 9144000"/>
                <a:gd name="connsiteY947" fmla="*/ 4154119 h 5143500"/>
                <a:gd name="connsiteX948" fmla="*/ 7155722 w 9144000"/>
                <a:gd name="connsiteY948" fmla="*/ 4151046 h 5143500"/>
                <a:gd name="connsiteX949" fmla="*/ 7120679 w 9144000"/>
                <a:gd name="connsiteY949" fmla="*/ 4186081 h 5143500"/>
                <a:gd name="connsiteX950" fmla="*/ 7155722 w 9144000"/>
                <a:gd name="connsiteY950" fmla="*/ 4221239 h 5143500"/>
                <a:gd name="connsiteX951" fmla="*/ 8562694 w 9144000"/>
                <a:gd name="connsiteY951" fmla="*/ 4274374 h 5143500"/>
                <a:gd name="connsiteX952" fmla="*/ 8597362 w 9144000"/>
                <a:gd name="connsiteY952" fmla="*/ 4247046 h 5143500"/>
                <a:gd name="connsiteX953" fmla="*/ 9143458 w 9144000"/>
                <a:gd name="connsiteY953" fmla="*/ 4247046 h 5143500"/>
                <a:gd name="connsiteX954" fmla="*/ 9143458 w 9144000"/>
                <a:gd name="connsiteY954" fmla="*/ 4229197 h 5143500"/>
                <a:gd name="connsiteX955" fmla="*/ 8596748 w 9144000"/>
                <a:gd name="connsiteY955" fmla="*/ 4229197 h 5143500"/>
                <a:gd name="connsiteX956" fmla="*/ 8562694 w 9144000"/>
                <a:gd name="connsiteY956" fmla="*/ 4203470 h 5143500"/>
                <a:gd name="connsiteX957" fmla="*/ 8527656 w 9144000"/>
                <a:gd name="connsiteY957" fmla="*/ 4239168 h 5143500"/>
                <a:gd name="connsiteX958" fmla="*/ 8562694 w 9144000"/>
                <a:gd name="connsiteY958" fmla="*/ 4274374 h 5143500"/>
                <a:gd name="connsiteX959" fmla="*/ 7684086 w 9144000"/>
                <a:gd name="connsiteY959" fmla="*/ 4326966 h 5143500"/>
                <a:gd name="connsiteX960" fmla="*/ 8176299 w 9144000"/>
                <a:gd name="connsiteY960" fmla="*/ 3834629 h 5143500"/>
                <a:gd name="connsiteX961" fmla="*/ 8176299 w 9144000"/>
                <a:gd name="connsiteY961" fmla="*/ 3641163 h 5143500"/>
                <a:gd name="connsiteX962" fmla="*/ 9144000 w 9144000"/>
                <a:gd name="connsiteY962" fmla="*/ 3641163 h 5143500"/>
                <a:gd name="connsiteX963" fmla="*/ 9144000 w 9144000"/>
                <a:gd name="connsiteY963" fmla="*/ 3623329 h 5143500"/>
                <a:gd name="connsiteX964" fmla="*/ 8158469 w 9144000"/>
                <a:gd name="connsiteY964" fmla="*/ 3623329 h 5143500"/>
                <a:gd name="connsiteX965" fmla="*/ 8158469 w 9144000"/>
                <a:gd name="connsiteY965" fmla="*/ 3834629 h 5143500"/>
                <a:gd name="connsiteX966" fmla="*/ 7684086 w 9144000"/>
                <a:gd name="connsiteY966" fmla="*/ 4309624 h 5143500"/>
                <a:gd name="connsiteX967" fmla="*/ 7480217 w 9144000"/>
                <a:gd name="connsiteY967" fmla="*/ 4105703 h 5143500"/>
                <a:gd name="connsiteX968" fmla="*/ 7490177 w 9144000"/>
                <a:gd name="connsiteY968" fmla="*/ 4080982 h 5143500"/>
                <a:gd name="connsiteX969" fmla="*/ 7455010 w 9144000"/>
                <a:gd name="connsiteY969" fmla="*/ 4045437 h 5143500"/>
                <a:gd name="connsiteX970" fmla="*/ 7419966 w 9144000"/>
                <a:gd name="connsiteY970" fmla="*/ 4080982 h 5143500"/>
                <a:gd name="connsiteX971" fmla="*/ 7455010 w 9144000"/>
                <a:gd name="connsiteY971" fmla="*/ 4116158 h 5143500"/>
                <a:gd name="connsiteX972" fmla="*/ 7469765 w 9144000"/>
                <a:gd name="connsiteY972" fmla="*/ 4112960 h 5143500"/>
                <a:gd name="connsiteX973" fmla="*/ 8562694 w 9144000"/>
                <a:gd name="connsiteY973" fmla="*/ 4397450 h 5143500"/>
                <a:gd name="connsiteX974" fmla="*/ 8597362 w 9144000"/>
                <a:gd name="connsiteY974" fmla="*/ 4369582 h 5143500"/>
                <a:gd name="connsiteX975" fmla="*/ 9143458 w 9144000"/>
                <a:gd name="connsiteY975" fmla="*/ 4369582 h 5143500"/>
                <a:gd name="connsiteX976" fmla="*/ 9143458 w 9144000"/>
                <a:gd name="connsiteY976" fmla="*/ 4352318 h 5143500"/>
                <a:gd name="connsiteX977" fmla="*/ 8596748 w 9144000"/>
                <a:gd name="connsiteY977" fmla="*/ 4352318 h 5143500"/>
                <a:gd name="connsiteX978" fmla="*/ 8562694 w 9144000"/>
                <a:gd name="connsiteY978" fmla="*/ 4326547 h 5143500"/>
                <a:gd name="connsiteX979" fmla="*/ 8527656 w 9144000"/>
                <a:gd name="connsiteY979" fmla="*/ 4362306 h 5143500"/>
                <a:gd name="connsiteX980" fmla="*/ 8562694 w 9144000"/>
                <a:gd name="connsiteY980" fmla="*/ 4397450 h 5143500"/>
                <a:gd name="connsiteX981" fmla="*/ 7630831 w 9144000"/>
                <a:gd name="connsiteY981" fmla="*/ 4467934 h 5143500"/>
                <a:gd name="connsiteX982" fmla="*/ 8228849 w 9144000"/>
                <a:gd name="connsiteY982" fmla="*/ 3869795 h 5143500"/>
                <a:gd name="connsiteX983" fmla="*/ 8228849 w 9144000"/>
                <a:gd name="connsiteY983" fmla="*/ 3676399 h 5143500"/>
                <a:gd name="connsiteX984" fmla="*/ 9143458 w 9144000"/>
                <a:gd name="connsiteY984" fmla="*/ 3676399 h 5143500"/>
                <a:gd name="connsiteX985" fmla="*/ 9143458 w 9144000"/>
                <a:gd name="connsiteY985" fmla="*/ 3658571 h 5143500"/>
                <a:gd name="connsiteX986" fmla="*/ 8211021 w 9144000"/>
                <a:gd name="connsiteY986" fmla="*/ 3658571 h 5143500"/>
                <a:gd name="connsiteX987" fmla="*/ 8211021 w 9144000"/>
                <a:gd name="connsiteY987" fmla="*/ 3869795 h 5143500"/>
                <a:gd name="connsiteX988" fmla="*/ 7630831 w 9144000"/>
                <a:gd name="connsiteY988" fmla="*/ 4450107 h 5143500"/>
                <a:gd name="connsiteX989" fmla="*/ 7373993 w 9144000"/>
                <a:gd name="connsiteY989" fmla="*/ 4193762 h 5143500"/>
                <a:gd name="connsiteX990" fmla="*/ 7384443 w 9144000"/>
                <a:gd name="connsiteY990" fmla="*/ 4168557 h 5143500"/>
                <a:gd name="connsiteX991" fmla="*/ 7349280 w 9144000"/>
                <a:gd name="connsiteY991" fmla="*/ 4133517 h 5143500"/>
                <a:gd name="connsiteX992" fmla="*/ 7314240 w 9144000"/>
                <a:gd name="connsiteY992" fmla="*/ 4168557 h 5143500"/>
                <a:gd name="connsiteX993" fmla="*/ 7349280 w 9144000"/>
                <a:gd name="connsiteY993" fmla="*/ 4203720 h 5143500"/>
                <a:gd name="connsiteX994" fmla="*/ 7364034 w 9144000"/>
                <a:gd name="connsiteY994" fmla="*/ 4201139 h 5143500"/>
                <a:gd name="connsiteX995" fmla="*/ 8791634 w 9144000"/>
                <a:gd name="connsiteY995" fmla="*/ 4485284 h 5143500"/>
                <a:gd name="connsiteX996" fmla="*/ 8826194 w 9144000"/>
                <a:gd name="connsiteY996" fmla="*/ 4458051 h 5143500"/>
                <a:gd name="connsiteX997" fmla="*/ 9116696 w 9144000"/>
                <a:gd name="connsiteY997" fmla="*/ 4458051 h 5143500"/>
                <a:gd name="connsiteX998" fmla="*/ 9144000 w 9144000"/>
                <a:gd name="connsiteY998" fmla="*/ 4484791 h 5143500"/>
                <a:gd name="connsiteX999" fmla="*/ 9144000 w 9144000"/>
                <a:gd name="connsiteY999" fmla="*/ 4455341 h 5143500"/>
                <a:gd name="connsiteX1000" fmla="*/ 9142401 w 9144000"/>
                <a:gd name="connsiteY1000" fmla="*/ 4450165 h 5143500"/>
                <a:gd name="connsiteX1001" fmla="*/ 9144000 w 9144000"/>
                <a:gd name="connsiteY1001" fmla="*/ 4444866 h 5143500"/>
                <a:gd name="connsiteX1002" fmla="*/ 9144000 w 9144000"/>
                <a:gd name="connsiteY1002" fmla="*/ 4416032 h 5143500"/>
                <a:gd name="connsiteX1003" fmla="*/ 9117188 w 9144000"/>
                <a:gd name="connsiteY1003" fmla="*/ 4440677 h 5143500"/>
                <a:gd name="connsiteX1004" fmla="*/ 8825702 w 9144000"/>
                <a:gd name="connsiteY1004" fmla="*/ 4440677 h 5143500"/>
                <a:gd name="connsiteX1005" fmla="*/ 8791634 w 9144000"/>
                <a:gd name="connsiteY1005" fmla="*/ 4414923 h 5143500"/>
                <a:gd name="connsiteX1006" fmla="*/ 8756459 w 9144000"/>
                <a:gd name="connsiteY1006" fmla="*/ 4450165 h 5143500"/>
                <a:gd name="connsiteX1007" fmla="*/ 8791634 w 9144000"/>
                <a:gd name="connsiteY1007" fmla="*/ 4485284 h 5143500"/>
                <a:gd name="connsiteX1008" fmla="*/ 7578200 w 9144000"/>
                <a:gd name="connsiteY1008" fmla="*/ 4591011 h 5143500"/>
                <a:gd name="connsiteX1009" fmla="*/ 8264329 w 9144000"/>
                <a:gd name="connsiteY1009" fmla="*/ 3905020 h 5143500"/>
                <a:gd name="connsiteX1010" fmla="*/ 8264329 w 9144000"/>
                <a:gd name="connsiteY1010" fmla="*/ 3711640 h 5143500"/>
                <a:gd name="connsiteX1011" fmla="*/ 9144000 w 9144000"/>
                <a:gd name="connsiteY1011" fmla="*/ 3711640 h 5143500"/>
                <a:gd name="connsiteX1012" fmla="*/ 9144000 w 9144000"/>
                <a:gd name="connsiteY1012" fmla="*/ 3693813 h 5143500"/>
                <a:gd name="connsiteX1013" fmla="*/ 8246499 w 9144000"/>
                <a:gd name="connsiteY1013" fmla="*/ 3693813 h 5143500"/>
                <a:gd name="connsiteX1014" fmla="*/ 8246499 w 9144000"/>
                <a:gd name="connsiteY1014" fmla="*/ 3905020 h 5143500"/>
                <a:gd name="connsiteX1015" fmla="*/ 7578200 w 9144000"/>
                <a:gd name="connsiteY1015" fmla="*/ 4573185 h 5143500"/>
                <a:gd name="connsiteX1016" fmla="*/ 7286780 w 9144000"/>
                <a:gd name="connsiteY1016" fmla="*/ 4281824 h 5143500"/>
                <a:gd name="connsiteX1017" fmla="*/ 7296740 w 9144000"/>
                <a:gd name="connsiteY1017" fmla="*/ 4256744 h 5143500"/>
                <a:gd name="connsiteX1018" fmla="*/ 7261573 w 9144000"/>
                <a:gd name="connsiteY1018" fmla="*/ 4221584 h 5143500"/>
                <a:gd name="connsiteX1019" fmla="*/ 7226406 w 9144000"/>
                <a:gd name="connsiteY1019" fmla="*/ 4256744 h 5143500"/>
                <a:gd name="connsiteX1020" fmla="*/ 7261573 w 9144000"/>
                <a:gd name="connsiteY1020" fmla="*/ 4291781 h 5143500"/>
                <a:gd name="connsiteX1021" fmla="*/ 7276328 w 9144000"/>
                <a:gd name="connsiteY1021" fmla="*/ 4288708 h 5143500"/>
                <a:gd name="connsiteX1022" fmla="*/ 7261325 w 9144000"/>
                <a:gd name="connsiteY1022" fmla="*/ 4660953 h 5143500"/>
                <a:gd name="connsiteX1023" fmla="*/ 7648104 w 9144000"/>
                <a:gd name="connsiteY1023" fmla="*/ 4660953 h 5143500"/>
                <a:gd name="connsiteX1024" fmla="*/ 8404448 w 9144000"/>
                <a:gd name="connsiteY1024" fmla="*/ 3904616 h 5143500"/>
                <a:gd name="connsiteX1025" fmla="*/ 8404448 w 9144000"/>
                <a:gd name="connsiteY1025" fmla="*/ 3746390 h 5143500"/>
                <a:gd name="connsiteX1026" fmla="*/ 9143458 w 9144000"/>
                <a:gd name="connsiteY1026" fmla="*/ 3746390 h 5143500"/>
                <a:gd name="connsiteX1027" fmla="*/ 9143458 w 9144000"/>
                <a:gd name="connsiteY1027" fmla="*/ 3729056 h 5143500"/>
                <a:gd name="connsiteX1028" fmla="*/ 8387113 w 9144000"/>
                <a:gd name="connsiteY1028" fmla="*/ 3729056 h 5143500"/>
                <a:gd name="connsiteX1029" fmla="*/ 8387113 w 9144000"/>
                <a:gd name="connsiteY1029" fmla="*/ 3904616 h 5143500"/>
                <a:gd name="connsiteX1030" fmla="*/ 7648104 w 9144000"/>
                <a:gd name="connsiteY1030" fmla="*/ 4643127 h 5143500"/>
                <a:gd name="connsiteX1031" fmla="*/ 7261325 w 9144000"/>
                <a:gd name="connsiteY1031" fmla="*/ 4643127 h 5143500"/>
                <a:gd name="connsiteX1032" fmla="*/ 6944747 w 9144000"/>
                <a:gd name="connsiteY1032" fmla="*/ 4326552 h 5143500"/>
                <a:gd name="connsiteX1033" fmla="*/ 6786519 w 9144000"/>
                <a:gd name="connsiteY1033" fmla="*/ 4326552 h 5143500"/>
                <a:gd name="connsiteX1034" fmla="*/ 6653372 w 9144000"/>
                <a:gd name="connsiteY1034" fmla="*/ 4193406 h 5143500"/>
                <a:gd name="connsiteX1035" fmla="*/ 6663331 w 9144000"/>
                <a:gd name="connsiteY1035" fmla="*/ 4168203 h 5143500"/>
                <a:gd name="connsiteX1036" fmla="*/ 6628169 w 9144000"/>
                <a:gd name="connsiteY1036" fmla="*/ 4133165 h 5143500"/>
                <a:gd name="connsiteX1037" fmla="*/ 6593130 w 9144000"/>
                <a:gd name="connsiteY1037" fmla="*/ 4168203 h 5143500"/>
                <a:gd name="connsiteX1038" fmla="*/ 6628169 w 9144000"/>
                <a:gd name="connsiteY1038" fmla="*/ 4203365 h 5143500"/>
                <a:gd name="connsiteX1039" fmla="*/ 6642922 w 9144000"/>
                <a:gd name="connsiteY1039" fmla="*/ 4200783 h 5143500"/>
                <a:gd name="connsiteX1040" fmla="*/ 6786519 w 9144000"/>
                <a:gd name="connsiteY1040" fmla="*/ 4344378 h 5143500"/>
                <a:gd name="connsiteX1041" fmla="*/ 6944747 w 9144000"/>
                <a:gd name="connsiteY1041" fmla="*/ 4344378 h 5143500"/>
                <a:gd name="connsiteX1042" fmla="*/ 7244113 w 9144000"/>
                <a:gd name="connsiteY1042" fmla="*/ 4756921 h 5143500"/>
                <a:gd name="connsiteX1043" fmla="*/ 7630892 w 9144000"/>
                <a:gd name="connsiteY1043" fmla="*/ 4756921 h 5143500"/>
                <a:gd name="connsiteX1044" fmla="*/ 8474648 w 9144000"/>
                <a:gd name="connsiteY1044" fmla="*/ 3912443 h 5143500"/>
                <a:gd name="connsiteX1045" fmla="*/ 8474648 w 9144000"/>
                <a:gd name="connsiteY1045" fmla="*/ 3807067 h 5143500"/>
                <a:gd name="connsiteX1046" fmla="*/ 9143458 w 9144000"/>
                <a:gd name="connsiteY1046" fmla="*/ 3807067 h 5143500"/>
                <a:gd name="connsiteX1047" fmla="*/ 9143458 w 9144000"/>
                <a:gd name="connsiteY1047" fmla="*/ 3789238 h 5143500"/>
                <a:gd name="connsiteX1048" fmla="*/ 8457313 w 9144000"/>
                <a:gd name="connsiteY1048" fmla="*/ 3789238 h 5143500"/>
                <a:gd name="connsiteX1049" fmla="*/ 8457313 w 9144000"/>
                <a:gd name="connsiteY1049" fmla="*/ 3912443 h 5143500"/>
                <a:gd name="connsiteX1050" fmla="*/ 7630892 w 9144000"/>
                <a:gd name="connsiteY1050" fmla="*/ 4739092 h 5143500"/>
                <a:gd name="connsiteX1051" fmla="*/ 7244113 w 9144000"/>
                <a:gd name="connsiteY1051" fmla="*/ 4739092 h 5143500"/>
                <a:gd name="connsiteX1052" fmla="*/ 6909708 w 9144000"/>
                <a:gd name="connsiteY1052" fmla="*/ 4404645 h 5143500"/>
                <a:gd name="connsiteX1053" fmla="*/ 6662224 w 9144000"/>
                <a:gd name="connsiteY1053" fmla="*/ 4404645 h 5143500"/>
                <a:gd name="connsiteX1054" fmla="*/ 6628169 w 9144000"/>
                <a:gd name="connsiteY1054" fmla="*/ 4379438 h 5143500"/>
                <a:gd name="connsiteX1055" fmla="*/ 6593130 w 9144000"/>
                <a:gd name="connsiteY1055" fmla="*/ 4414605 h 5143500"/>
                <a:gd name="connsiteX1056" fmla="*/ 6628169 w 9144000"/>
                <a:gd name="connsiteY1056" fmla="*/ 4449771 h 5143500"/>
                <a:gd name="connsiteX1057" fmla="*/ 6662839 w 9144000"/>
                <a:gd name="connsiteY1057" fmla="*/ 4422474 h 5143500"/>
                <a:gd name="connsiteX1058" fmla="*/ 6909708 w 9144000"/>
                <a:gd name="connsiteY1058" fmla="*/ 4422474 h 5143500"/>
                <a:gd name="connsiteX1059" fmla="*/ 8123101 w 9144000"/>
                <a:gd name="connsiteY1059" fmla="*/ 4801380 h 5143500"/>
                <a:gd name="connsiteX1060" fmla="*/ 8158137 w 9144000"/>
                <a:gd name="connsiteY1060" fmla="*/ 4766225 h 5143500"/>
                <a:gd name="connsiteX1061" fmla="*/ 8148180 w 9144000"/>
                <a:gd name="connsiteY1061" fmla="*/ 4741642 h 5143500"/>
                <a:gd name="connsiteX1062" fmla="*/ 8228948 w 9144000"/>
                <a:gd name="connsiteY1062" fmla="*/ 4661007 h 5143500"/>
                <a:gd name="connsiteX1063" fmla="*/ 8492519 w 9144000"/>
                <a:gd name="connsiteY1063" fmla="*/ 4661007 h 5143500"/>
                <a:gd name="connsiteX1064" fmla="*/ 8580540 w 9144000"/>
                <a:gd name="connsiteY1064" fmla="*/ 4749017 h 5143500"/>
                <a:gd name="connsiteX1065" fmla="*/ 9143458 w 9144000"/>
                <a:gd name="connsiteY1065" fmla="*/ 4749017 h 5143500"/>
                <a:gd name="connsiteX1066" fmla="*/ 9143458 w 9144000"/>
                <a:gd name="connsiteY1066" fmla="*/ 4731194 h 5143500"/>
                <a:gd name="connsiteX1067" fmla="*/ 8580540 w 9144000"/>
                <a:gd name="connsiteY1067" fmla="*/ 4731194 h 5143500"/>
                <a:gd name="connsiteX1068" fmla="*/ 8492519 w 9144000"/>
                <a:gd name="connsiteY1068" fmla="*/ 4643184 h 5143500"/>
                <a:gd name="connsiteX1069" fmla="*/ 8228948 w 9144000"/>
                <a:gd name="connsiteY1069" fmla="*/ 4643184 h 5143500"/>
                <a:gd name="connsiteX1070" fmla="*/ 8137730 w 9144000"/>
                <a:gd name="connsiteY1070" fmla="*/ 4734267 h 5143500"/>
                <a:gd name="connsiteX1071" fmla="*/ 8123101 w 9144000"/>
                <a:gd name="connsiteY1071" fmla="*/ 4731194 h 5143500"/>
                <a:gd name="connsiteX1072" fmla="*/ 8087942 w 9144000"/>
                <a:gd name="connsiteY1072" fmla="*/ 4766225 h 5143500"/>
                <a:gd name="connsiteX1073" fmla="*/ 8123101 w 9144000"/>
                <a:gd name="connsiteY1073" fmla="*/ 4801380 h 5143500"/>
                <a:gd name="connsiteX1074" fmla="*/ 7877448 w 9144000"/>
                <a:gd name="connsiteY1074" fmla="*/ 4801380 h 5143500"/>
                <a:gd name="connsiteX1075" fmla="*/ 7912617 w 9144000"/>
                <a:gd name="connsiteY1075" fmla="*/ 4766234 h 5143500"/>
                <a:gd name="connsiteX1076" fmla="*/ 7902165 w 9144000"/>
                <a:gd name="connsiteY1076" fmla="*/ 4741656 h 5143500"/>
                <a:gd name="connsiteX1077" fmla="*/ 8123381 w 9144000"/>
                <a:gd name="connsiteY1077" fmla="*/ 4520085 h 5143500"/>
                <a:gd name="connsiteX1078" fmla="*/ 8563108 w 9144000"/>
                <a:gd name="connsiteY1078" fmla="*/ 4520085 h 5143500"/>
                <a:gd name="connsiteX1079" fmla="*/ 8686320 w 9144000"/>
                <a:gd name="connsiteY1079" fmla="*/ 4643221 h 5143500"/>
                <a:gd name="connsiteX1080" fmla="*/ 9144000 w 9144000"/>
                <a:gd name="connsiteY1080" fmla="*/ 4643221 h 5143500"/>
                <a:gd name="connsiteX1081" fmla="*/ 9144000 w 9144000"/>
                <a:gd name="connsiteY1081" fmla="*/ 4625893 h 5143500"/>
                <a:gd name="connsiteX1082" fmla="*/ 8686320 w 9144000"/>
                <a:gd name="connsiteY1082" fmla="*/ 4625893 h 5143500"/>
                <a:gd name="connsiteX1083" fmla="*/ 8563108 w 9144000"/>
                <a:gd name="connsiteY1083" fmla="*/ 4502757 h 5143500"/>
                <a:gd name="connsiteX1084" fmla="*/ 8123381 w 9144000"/>
                <a:gd name="connsiteY1084" fmla="*/ 4502757 h 5143500"/>
                <a:gd name="connsiteX1085" fmla="*/ 7891590 w 9144000"/>
                <a:gd name="connsiteY1085" fmla="*/ 4734282 h 5143500"/>
                <a:gd name="connsiteX1086" fmla="*/ 7877448 w 9144000"/>
                <a:gd name="connsiteY1086" fmla="*/ 4731210 h 5143500"/>
                <a:gd name="connsiteX1087" fmla="*/ 7841788 w 9144000"/>
                <a:gd name="connsiteY1087" fmla="*/ 4766234 h 5143500"/>
                <a:gd name="connsiteX1088" fmla="*/ 7877448 w 9144000"/>
                <a:gd name="connsiteY1088" fmla="*/ 4801380 h 5143500"/>
                <a:gd name="connsiteX1089" fmla="*/ 8000038 w 9144000"/>
                <a:gd name="connsiteY1089" fmla="*/ 4801922 h 5143500"/>
                <a:gd name="connsiteX1090" fmla="*/ 8035702 w 9144000"/>
                <a:gd name="connsiteY1090" fmla="*/ 4766750 h 5143500"/>
                <a:gd name="connsiteX1091" fmla="*/ 8025125 w 9144000"/>
                <a:gd name="connsiteY1091" fmla="*/ 4742154 h 5143500"/>
                <a:gd name="connsiteX1092" fmla="*/ 8158313 w 9144000"/>
                <a:gd name="connsiteY1092" fmla="*/ 4608474 h 5143500"/>
                <a:gd name="connsiteX1093" fmla="*/ 8563041 w 9144000"/>
                <a:gd name="connsiteY1093" fmla="*/ 4608474 h 5143500"/>
                <a:gd name="connsiteX1094" fmla="*/ 8651218 w 9144000"/>
                <a:gd name="connsiteY1094" fmla="*/ 4696528 h 5143500"/>
                <a:gd name="connsiteX1095" fmla="*/ 9144000 w 9144000"/>
                <a:gd name="connsiteY1095" fmla="*/ 4696528 h 5143500"/>
                <a:gd name="connsiteX1096" fmla="*/ 9144000 w 9144000"/>
                <a:gd name="connsiteY1096" fmla="*/ 4679311 h 5143500"/>
                <a:gd name="connsiteX1097" fmla="*/ 8651218 w 9144000"/>
                <a:gd name="connsiteY1097" fmla="*/ 4679311 h 5143500"/>
                <a:gd name="connsiteX1098" fmla="*/ 8563041 w 9144000"/>
                <a:gd name="connsiteY1098" fmla="*/ 4591134 h 5143500"/>
                <a:gd name="connsiteX1099" fmla="*/ 8158313 w 9144000"/>
                <a:gd name="connsiteY1099" fmla="*/ 4591134 h 5143500"/>
                <a:gd name="connsiteX1100" fmla="*/ 8014672 w 9144000"/>
                <a:gd name="connsiteY1100" fmla="*/ 4734775 h 5143500"/>
                <a:gd name="connsiteX1101" fmla="*/ 8000038 w 9144000"/>
                <a:gd name="connsiteY1101" fmla="*/ 4731700 h 5143500"/>
                <a:gd name="connsiteX1102" fmla="*/ 7964865 w 9144000"/>
                <a:gd name="connsiteY1102" fmla="*/ 4766750 h 5143500"/>
                <a:gd name="connsiteX1103" fmla="*/ 8000038 w 9144000"/>
                <a:gd name="connsiteY1103" fmla="*/ 4801922 h 5143500"/>
                <a:gd name="connsiteX1104" fmla="*/ 7753756 w 9144000"/>
                <a:gd name="connsiteY1104" fmla="*/ 4801922 h 5143500"/>
                <a:gd name="connsiteX1105" fmla="*/ 7788922 w 9144000"/>
                <a:gd name="connsiteY1105" fmla="*/ 4766746 h 5143500"/>
                <a:gd name="connsiteX1106" fmla="*/ 7778471 w 9144000"/>
                <a:gd name="connsiteY1106" fmla="*/ 4742146 h 5143500"/>
                <a:gd name="connsiteX1107" fmla="*/ 8070379 w 9144000"/>
                <a:gd name="connsiteY1107" fmla="*/ 4450157 h 5143500"/>
                <a:gd name="connsiteX1108" fmla="*/ 8597758 w 9144000"/>
                <a:gd name="connsiteY1108" fmla="*/ 4450157 h 5143500"/>
                <a:gd name="connsiteX1109" fmla="*/ 8738794 w 9144000"/>
                <a:gd name="connsiteY1109" fmla="*/ 4591109 h 5143500"/>
                <a:gd name="connsiteX1110" fmla="*/ 9143458 w 9144000"/>
                <a:gd name="connsiteY1110" fmla="*/ 4591109 h 5143500"/>
                <a:gd name="connsiteX1111" fmla="*/ 9143458 w 9144000"/>
                <a:gd name="connsiteY1111" fmla="*/ 4573275 h 5143500"/>
                <a:gd name="connsiteX1112" fmla="*/ 8738794 w 9144000"/>
                <a:gd name="connsiteY1112" fmla="*/ 4573275 h 5143500"/>
                <a:gd name="connsiteX1113" fmla="*/ 8597758 w 9144000"/>
                <a:gd name="connsiteY1113" fmla="*/ 4432815 h 5143500"/>
                <a:gd name="connsiteX1114" fmla="*/ 8070379 w 9144000"/>
                <a:gd name="connsiteY1114" fmla="*/ 4432815 h 5143500"/>
                <a:gd name="connsiteX1115" fmla="*/ 7768019 w 9144000"/>
                <a:gd name="connsiteY1115" fmla="*/ 4734767 h 5143500"/>
                <a:gd name="connsiteX1116" fmla="*/ 7753756 w 9144000"/>
                <a:gd name="connsiteY1116" fmla="*/ 4731692 h 5143500"/>
                <a:gd name="connsiteX1117" fmla="*/ 7718712 w 9144000"/>
                <a:gd name="connsiteY1117" fmla="*/ 4766746 h 5143500"/>
                <a:gd name="connsiteX1118" fmla="*/ 7753756 w 9144000"/>
                <a:gd name="connsiteY1118" fmla="*/ 4801922 h 5143500"/>
                <a:gd name="connsiteX1119" fmla="*/ 8510274 w 9144000"/>
                <a:gd name="connsiteY1119" fmla="*/ 4827405 h 5143500"/>
                <a:gd name="connsiteX1120" fmla="*/ 9143458 w 9144000"/>
                <a:gd name="connsiteY1120" fmla="*/ 4827405 h 5143500"/>
                <a:gd name="connsiteX1121" fmla="*/ 9143458 w 9144000"/>
                <a:gd name="connsiteY1121" fmla="*/ 4809588 h 5143500"/>
                <a:gd name="connsiteX1122" fmla="*/ 8510274 w 9144000"/>
                <a:gd name="connsiteY1122" fmla="*/ 4809588 h 5143500"/>
                <a:gd name="connsiteX1123" fmla="*/ 8439579 w 9144000"/>
                <a:gd name="connsiteY1123" fmla="*/ 4757242 h 5143500"/>
                <a:gd name="connsiteX1124" fmla="*/ 8280238 w 9144000"/>
                <a:gd name="connsiteY1124" fmla="*/ 4757242 h 5143500"/>
                <a:gd name="connsiteX1125" fmla="*/ 8246059 w 9144000"/>
                <a:gd name="connsiteY1125" fmla="*/ 4731561 h 5143500"/>
                <a:gd name="connsiteX1126" fmla="*/ 8211018 w 9144000"/>
                <a:gd name="connsiteY1126" fmla="*/ 4766581 h 5143500"/>
                <a:gd name="connsiteX1127" fmla="*/ 8246059 w 9144000"/>
                <a:gd name="connsiteY1127" fmla="*/ 4801724 h 5143500"/>
                <a:gd name="connsiteX1128" fmla="*/ 8280730 w 9144000"/>
                <a:gd name="connsiteY1128" fmla="*/ 4774445 h 5143500"/>
                <a:gd name="connsiteX1129" fmla="*/ 8439579 w 9144000"/>
                <a:gd name="connsiteY1129" fmla="*/ 4774445 h 5143500"/>
                <a:gd name="connsiteX1130" fmla="*/ 7279152 w 9144000"/>
                <a:gd name="connsiteY1130" fmla="*/ 4879997 h 5143500"/>
                <a:gd name="connsiteX1131" fmla="*/ 9143458 w 9144000"/>
                <a:gd name="connsiteY1131" fmla="*/ 4879997 h 5143500"/>
                <a:gd name="connsiteX1132" fmla="*/ 9143458 w 9144000"/>
                <a:gd name="connsiteY1132" fmla="*/ 4862181 h 5143500"/>
                <a:gd name="connsiteX1133" fmla="*/ 7279152 w 9144000"/>
                <a:gd name="connsiteY1133" fmla="*/ 4862181 h 5143500"/>
                <a:gd name="connsiteX1134" fmla="*/ 6962574 w 9144000"/>
                <a:gd name="connsiteY1134" fmla="*/ 4545787 h 5143500"/>
                <a:gd name="connsiteX1135" fmla="*/ 6662224 w 9144000"/>
                <a:gd name="connsiteY1135" fmla="*/ 4545787 h 5143500"/>
                <a:gd name="connsiteX1136" fmla="*/ 6628170 w 9144000"/>
                <a:gd name="connsiteY1136" fmla="*/ 4520107 h 5143500"/>
                <a:gd name="connsiteX1137" fmla="*/ 6593130 w 9144000"/>
                <a:gd name="connsiteY1137" fmla="*/ 4555740 h 5143500"/>
                <a:gd name="connsiteX1138" fmla="*/ 6628170 w 9144000"/>
                <a:gd name="connsiteY1138" fmla="*/ 4590758 h 5143500"/>
                <a:gd name="connsiteX1139" fmla="*/ 6662840 w 9144000"/>
                <a:gd name="connsiteY1139" fmla="*/ 4562990 h 5143500"/>
                <a:gd name="connsiteX1140" fmla="*/ 6962574 w 9144000"/>
                <a:gd name="connsiteY1140" fmla="*/ 4562990 h 5143500"/>
                <a:gd name="connsiteX1141" fmla="*/ 7279152 w 9144000"/>
                <a:gd name="connsiteY1141" fmla="*/ 4950481 h 5143500"/>
                <a:gd name="connsiteX1142" fmla="*/ 9143458 w 9144000"/>
                <a:gd name="connsiteY1142" fmla="*/ 4950481 h 5143500"/>
                <a:gd name="connsiteX1143" fmla="*/ 9143458 w 9144000"/>
                <a:gd name="connsiteY1143" fmla="*/ 4932647 h 5143500"/>
                <a:gd name="connsiteX1144" fmla="*/ 7279152 w 9144000"/>
                <a:gd name="connsiteY1144" fmla="*/ 4932647 h 5143500"/>
                <a:gd name="connsiteX1145" fmla="*/ 7032774 w 9144000"/>
                <a:gd name="connsiteY1145" fmla="*/ 4686167 h 5143500"/>
                <a:gd name="connsiteX1146" fmla="*/ 6662224 w 9144000"/>
                <a:gd name="connsiteY1146" fmla="*/ 4686167 h 5143500"/>
                <a:gd name="connsiteX1147" fmla="*/ 6628170 w 9144000"/>
                <a:gd name="connsiteY1147" fmla="*/ 4661076 h 5143500"/>
                <a:gd name="connsiteX1148" fmla="*/ 6593130 w 9144000"/>
                <a:gd name="connsiteY1148" fmla="*/ 4696130 h 5143500"/>
                <a:gd name="connsiteX1149" fmla="*/ 6628170 w 9144000"/>
                <a:gd name="connsiteY1149" fmla="*/ 4731306 h 5143500"/>
                <a:gd name="connsiteX1150" fmla="*/ 6662840 w 9144000"/>
                <a:gd name="connsiteY1150" fmla="*/ 4704001 h 5143500"/>
                <a:gd name="connsiteX1151" fmla="*/ 7032774 w 9144000"/>
                <a:gd name="connsiteY1151" fmla="*/ 4704001 h 5143500"/>
                <a:gd name="connsiteX1152" fmla="*/ 7261613 w 9144000"/>
                <a:gd name="connsiteY1152" fmla="*/ 4996025 h 5143500"/>
                <a:gd name="connsiteX1153" fmla="*/ 9144000 w 9144000"/>
                <a:gd name="connsiteY1153" fmla="*/ 4996025 h 5143500"/>
                <a:gd name="connsiteX1154" fmla="*/ 9144000 w 9144000"/>
                <a:gd name="connsiteY1154" fmla="*/ 4978309 h 5143500"/>
                <a:gd name="connsiteX1155" fmla="*/ 7261613 w 9144000"/>
                <a:gd name="connsiteY1155" fmla="*/ 4978309 h 5143500"/>
                <a:gd name="connsiteX1156" fmla="*/ 7086027 w 9144000"/>
                <a:gd name="connsiteY1156" fmla="*/ 4802008 h 5143500"/>
                <a:gd name="connsiteX1157" fmla="*/ 6575499 w 9144000"/>
                <a:gd name="connsiteY1157" fmla="*/ 4802008 h 5143500"/>
                <a:gd name="connsiteX1158" fmla="*/ 6432005 w 9144000"/>
                <a:gd name="connsiteY1158" fmla="*/ 4658311 h 5143500"/>
                <a:gd name="connsiteX1159" fmla="*/ 6435079 w 9144000"/>
                <a:gd name="connsiteY1159" fmla="*/ 4643670 h 5143500"/>
                <a:gd name="connsiteX1160" fmla="*/ 6400036 w 9144000"/>
                <a:gd name="connsiteY1160" fmla="*/ 4608484 h 5143500"/>
                <a:gd name="connsiteX1161" fmla="*/ 6364869 w 9144000"/>
                <a:gd name="connsiteY1161" fmla="*/ 4643670 h 5143500"/>
                <a:gd name="connsiteX1162" fmla="*/ 6400036 w 9144000"/>
                <a:gd name="connsiteY1162" fmla="*/ 4679349 h 5143500"/>
                <a:gd name="connsiteX1163" fmla="*/ 6424627 w 9144000"/>
                <a:gd name="connsiteY1163" fmla="*/ 4668768 h 5143500"/>
                <a:gd name="connsiteX1164" fmla="*/ 6575499 w 9144000"/>
                <a:gd name="connsiteY1164" fmla="*/ 4819848 h 5143500"/>
                <a:gd name="connsiteX1165" fmla="*/ 7086027 w 9144000"/>
                <a:gd name="connsiteY1165" fmla="*/ 4819848 h 5143500"/>
                <a:gd name="connsiteX1166" fmla="*/ 8704174 w 9144000"/>
                <a:gd name="connsiteY1166" fmla="*/ 5056208 h 5143500"/>
                <a:gd name="connsiteX1167" fmla="*/ 9144000 w 9144000"/>
                <a:gd name="connsiteY1167" fmla="*/ 5056208 h 5143500"/>
                <a:gd name="connsiteX1168" fmla="*/ 9144000 w 9144000"/>
                <a:gd name="connsiteY1168" fmla="*/ 5038865 h 5143500"/>
                <a:gd name="connsiteX1169" fmla="*/ 8704174 w 9144000"/>
                <a:gd name="connsiteY1169" fmla="*/ 5038865 h 5143500"/>
                <a:gd name="connsiteX1170" fmla="*/ 8669008 w 9144000"/>
                <a:gd name="connsiteY1170" fmla="*/ 5021031 h 5143500"/>
                <a:gd name="connsiteX1171" fmla="*/ 7226447 w 9144000"/>
                <a:gd name="connsiteY1171" fmla="*/ 5021031 h 5143500"/>
                <a:gd name="connsiteX1172" fmla="*/ 7068197 w 9144000"/>
                <a:gd name="connsiteY1172" fmla="*/ 4862733 h 5143500"/>
                <a:gd name="connsiteX1173" fmla="*/ 6540455 w 9144000"/>
                <a:gd name="connsiteY1173" fmla="*/ 4862733 h 5143500"/>
                <a:gd name="connsiteX1174" fmla="*/ 6452908 w 9144000"/>
                <a:gd name="connsiteY1174" fmla="*/ 4774545 h 5143500"/>
                <a:gd name="connsiteX1175" fmla="*/ 6433604 w 9144000"/>
                <a:gd name="connsiteY1175" fmla="*/ 4774545 h 5143500"/>
                <a:gd name="connsiteX1176" fmla="*/ 6400036 w 9144000"/>
                <a:gd name="connsiteY1176" fmla="*/ 4749453 h 5143500"/>
                <a:gd name="connsiteX1177" fmla="*/ 6364869 w 9144000"/>
                <a:gd name="connsiteY1177" fmla="*/ 4784507 h 5143500"/>
                <a:gd name="connsiteX1178" fmla="*/ 6400036 w 9144000"/>
                <a:gd name="connsiteY1178" fmla="*/ 4819684 h 5143500"/>
                <a:gd name="connsiteX1179" fmla="*/ 6434095 w 9144000"/>
                <a:gd name="connsiteY1179" fmla="*/ 4792379 h 5143500"/>
                <a:gd name="connsiteX1180" fmla="*/ 6452908 w 9144000"/>
                <a:gd name="connsiteY1180" fmla="*/ 4792379 h 5143500"/>
                <a:gd name="connsiteX1181" fmla="*/ 6540455 w 9144000"/>
                <a:gd name="connsiteY1181" fmla="*/ 4880568 h 5143500"/>
                <a:gd name="connsiteX1182" fmla="*/ 7068197 w 9144000"/>
                <a:gd name="connsiteY1182" fmla="*/ 4880568 h 5143500"/>
                <a:gd name="connsiteX1183" fmla="*/ 7226447 w 9144000"/>
                <a:gd name="connsiteY1183" fmla="*/ 5038865 h 5143500"/>
                <a:gd name="connsiteX1184" fmla="*/ 8669008 w 9144000"/>
                <a:gd name="connsiteY1184" fmla="*/ 5038865 h 5143500"/>
                <a:gd name="connsiteX1185" fmla="*/ 7208740 w 9144000"/>
                <a:gd name="connsiteY1185" fmla="*/ 5090908 h 5143500"/>
                <a:gd name="connsiteX1186" fmla="*/ 9144000 w 9144000"/>
                <a:gd name="connsiteY1186" fmla="*/ 5090908 h 5143500"/>
                <a:gd name="connsiteX1187" fmla="*/ 9144000 w 9144000"/>
                <a:gd name="connsiteY1187" fmla="*/ 5073716 h 5143500"/>
                <a:gd name="connsiteX1188" fmla="*/ 7208740 w 9144000"/>
                <a:gd name="connsiteY1188" fmla="*/ 5073716 h 5143500"/>
                <a:gd name="connsiteX1189" fmla="*/ 7050369 w 9144000"/>
                <a:gd name="connsiteY1189" fmla="*/ 4915545 h 5143500"/>
                <a:gd name="connsiteX1190" fmla="*/ 6433604 w 9144000"/>
                <a:gd name="connsiteY1190" fmla="*/ 4915545 h 5143500"/>
                <a:gd name="connsiteX1191" fmla="*/ 6400036 w 9144000"/>
                <a:gd name="connsiteY1191" fmla="*/ 4889879 h 5143500"/>
                <a:gd name="connsiteX1192" fmla="*/ 6364869 w 9144000"/>
                <a:gd name="connsiteY1192" fmla="*/ 4925001 h 5143500"/>
                <a:gd name="connsiteX1193" fmla="*/ 6400036 w 9144000"/>
                <a:gd name="connsiteY1193" fmla="*/ 4960123 h 5143500"/>
                <a:gd name="connsiteX1194" fmla="*/ 6434095 w 9144000"/>
                <a:gd name="connsiteY1194" fmla="*/ 4932860 h 5143500"/>
                <a:gd name="connsiteX1195" fmla="*/ 7050369 w 9144000"/>
                <a:gd name="connsiteY1195" fmla="*/ 4932860 h 5143500"/>
                <a:gd name="connsiteX1196" fmla="*/ 7173574 w 9144000"/>
                <a:gd name="connsiteY1196" fmla="*/ 5143500 h 5143500"/>
                <a:gd name="connsiteX1197" fmla="*/ 9144000 w 9144000"/>
                <a:gd name="connsiteY1197" fmla="*/ 5143500 h 5143500"/>
                <a:gd name="connsiteX1198" fmla="*/ 9144000 w 9144000"/>
                <a:gd name="connsiteY1198" fmla="*/ 5125691 h 5143500"/>
                <a:gd name="connsiteX1199" fmla="*/ 7173574 w 9144000"/>
                <a:gd name="connsiteY1199" fmla="*/ 5125691 h 5143500"/>
                <a:gd name="connsiteX1200" fmla="*/ 7033031 w 9144000"/>
                <a:gd name="connsiteY1200" fmla="*/ 4985304 h 5143500"/>
                <a:gd name="connsiteX1201" fmla="*/ 6733748 w 9144000"/>
                <a:gd name="connsiteY1201" fmla="*/ 4985304 h 5143500"/>
                <a:gd name="connsiteX1202" fmla="*/ 6663538 w 9144000"/>
                <a:gd name="connsiteY1202" fmla="*/ 5055559 h 5143500"/>
                <a:gd name="connsiteX1203" fmla="*/ 6433604 w 9144000"/>
                <a:gd name="connsiteY1203" fmla="*/ 5055559 h 5143500"/>
                <a:gd name="connsiteX1204" fmla="*/ 6400036 w 9144000"/>
                <a:gd name="connsiteY1204" fmla="*/ 5030380 h 5143500"/>
                <a:gd name="connsiteX1205" fmla="*/ 6364869 w 9144000"/>
                <a:gd name="connsiteY1205" fmla="*/ 5065508 h 5143500"/>
                <a:gd name="connsiteX1206" fmla="*/ 6400036 w 9144000"/>
                <a:gd name="connsiteY1206" fmla="*/ 5100512 h 5143500"/>
                <a:gd name="connsiteX1207" fmla="*/ 6434095 w 9144000"/>
                <a:gd name="connsiteY1207" fmla="*/ 5073369 h 5143500"/>
                <a:gd name="connsiteX1208" fmla="*/ 6663538 w 9144000"/>
                <a:gd name="connsiteY1208" fmla="*/ 5073369 h 5143500"/>
                <a:gd name="connsiteX1209" fmla="*/ 6733748 w 9144000"/>
                <a:gd name="connsiteY1209" fmla="*/ 5002622 h 5143500"/>
                <a:gd name="connsiteX1210" fmla="*/ 7033031 w 9144000"/>
                <a:gd name="connsiteY1210" fmla="*/ 500262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Lst>
              <a:rect l="l" t="t" r="r" b="b"/>
              <a:pathLst>
                <a:path w="9144000" h="5143500">
                  <a:moveTo>
                    <a:pt x="1990457" y="175005"/>
                  </a:moveTo>
                  <a:cubicBezTo>
                    <a:pt x="2009880" y="175005"/>
                    <a:pt x="2025490" y="159274"/>
                    <a:pt x="2025490" y="139857"/>
                  </a:cubicBezTo>
                  <a:cubicBezTo>
                    <a:pt x="2025490" y="120562"/>
                    <a:pt x="2009880" y="104831"/>
                    <a:pt x="1990457" y="104831"/>
                  </a:cubicBezTo>
                  <a:cubicBezTo>
                    <a:pt x="1974723" y="104831"/>
                    <a:pt x="1961078" y="115277"/>
                    <a:pt x="1956899" y="129902"/>
                  </a:cubicBezTo>
                  <a:cubicBezTo>
                    <a:pt x="1956899" y="129902"/>
                    <a:pt x="1956899" y="129902"/>
                    <a:pt x="1752476" y="129902"/>
                  </a:cubicBezTo>
                  <a:cubicBezTo>
                    <a:pt x="1752476" y="129902"/>
                    <a:pt x="1752476" y="129902"/>
                    <a:pt x="1687571" y="129902"/>
                  </a:cubicBezTo>
                  <a:cubicBezTo>
                    <a:pt x="1687080" y="128428"/>
                    <a:pt x="1686465" y="126338"/>
                    <a:pt x="1685974" y="124740"/>
                  </a:cubicBezTo>
                  <a:cubicBezTo>
                    <a:pt x="1685974" y="124740"/>
                    <a:pt x="1685974" y="124740"/>
                    <a:pt x="1229064" y="124740"/>
                  </a:cubicBezTo>
                  <a:cubicBezTo>
                    <a:pt x="1229064" y="124740"/>
                    <a:pt x="1229064" y="124740"/>
                    <a:pt x="1211240" y="106921"/>
                  </a:cubicBezTo>
                  <a:cubicBezTo>
                    <a:pt x="1211240" y="106921"/>
                    <a:pt x="1211240" y="106921"/>
                    <a:pt x="1104296" y="1"/>
                  </a:cubicBezTo>
                  <a:cubicBezTo>
                    <a:pt x="1104296" y="1"/>
                    <a:pt x="1104296" y="1"/>
                    <a:pt x="1087086" y="1"/>
                  </a:cubicBezTo>
                  <a:cubicBezTo>
                    <a:pt x="1087086" y="1"/>
                    <a:pt x="1087086" y="1"/>
                    <a:pt x="1193908" y="106921"/>
                  </a:cubicBezTo>
                  <a:cubicBezTo>
                    <a:pt x="1193908" y="106921"/>
                    <a:pt x="1193908" y="106921"/>
                    <a:pt x="1211240" y="124740"/>
                  </a:cubicBezTo>
                  <a:cubicBezTo>
                    <a:pt x="1211240" y="124740"/>
                    <a:pt x="1211240" y="124740"/>
                    <a:pt x="1234227" y="147722"/>
                  </a:cubicBezTo>
                  <a:cubicBezTo>
                    <a:pt x="1234227" y="147722"/>
                    <a:pt x="1234227" y="147722"/>
                    <a:pt x="1956407" y="147722"/>
                  </a:cubicBezTo>
                  <a:cubicBezTo>
                    <a:pt x="1960095" y="163453"/>
                    <a:pt x="1973740" y="175005"/>
                    <a:pt x="1990457" y="175005"/>
                  </a:cubicBezTo>
                  <a:close/>
                  <a:moveTo>
                    <a:pt x="0" y="272058"/>
                  </a:moveTo>
                  <a:lnTo>
                    <a:pt x="1" y="272058"/>
                  </a:lnTo>
                  <a:lnTo>
                    <a:pt x="4755" y="272058"/>
                  </a:lnTo>
                  <a:cubicBezTo>
                    <a:pt x="3754" y="271456"/>
                    <a:pt x="2127" y="270492"/>
                    <a:pt x="1626" y="268925"/>
                  </a:cubicBezTo>
                  <a:cubicBezTo>
                    <a:pt x="1126" y="270010"/>
                    <a:pt x="500" y="270974"/>
                    <a:pt x="0" y="272058"/>
                  </a:cubicBezTo>
                  <a:close/>
                  <a:moveTo>
                    <a:pt x="239055" y="299165"/>
                  </a:moveTo>
                  <a:cubicBezTo>
                    <a:pt x="257869" y="299165"/>
                    <a:pt x="274224" y="283392"/>
                    <a:pt x="274224" y="264046"/>
                  </a:cubicBezTo>
                  <a:cubicBezTo>
                    <a:pt x="274224" y="244576"/>
                    <a:pt x="257869" y="228804"/>
                    <a:pt x="239055" y="228804"/>
                  </a:cubicBezTo>
                  <a:cubicBezTo>
                    <a:pt x="222823" y="228804"/>
                    <a:pt x="209173" y="239894"/>
                    <a:pt x="204992" y="254558"/>
                  </a:cubicBezTo>
                  <a:cubicBezTo>
                    <a:pt x="204992" y="254558"/>
                    <a:pt x="204992" y="254558"/>
                    <a:pt x="36489" y="254558"/>
                  </a:cubicBezTo>
                  <a:lnTo>
                    <a:pt x="16572" y="254558"/>
                  </a:lnTo>
                  <a:lnTo>
                    <a:pt x="13344" y="250388"/>
                  </a:lnTo>
                  <a:cubicBezTo>
                    <a:pt x="11902" y="249394"/>
                    <a:pt x="10185" y="248866"/>
                    <a:pt x="8345" y="248866"/>
                  </a:cubicBezTo>
                  <a:cubicBezTo>
                    <a:pt x="4664" y="248866"/>
                    <a:pt x="1597" y="250978"/>
                    <a:pt x="2" y="254706"/>
                  </a:cubicBezTo>
                  <a:cubicBezTo>
                    <a:pt x="2" y="254706"/>
                    <a:pt x="2" y="254706"/>
                    <a:pt x="262" y="254706"/>
                  </a:cubicBezTo>
                  <a:lnTo>
                    <a:pt x="464" y="254706"/>
                  </a:lnTo>
                  <a:lnTo>
                    <a:pt x="385" y="255122"/>
                  </a:lnTo>
                  <a:lnTo>
                    <a:pt x="434" y="254829"/>
                  </a:lnTo>
                  <a:lnTo>
                    <a:pt x="1" y="254829"/>
                  </a:lnTo>
                  <a:cubicBezTo>
                    <a:pt x="1" y="254829"/>
                    <a:pt x="1" y="254829"/>
                    <a:pt x="1" y="255152"/>
                  </a:cubicBezTo>
                  <a:lnTo>
                    <a:pt x="1" y="257144"/>
                  </a:lnTo>
                  <a:lnTo>
                    <a:pt x="0" y="257145"/>
                  </a:lnTo>
                  <a:cubicBezTo>
                    <a:pt x="0" y="257145"/>
                    <a:pt x="0" y="257145"/>
                    <a:pt x="0" y="264046"/>
                  </a:cubicBezTo>
                  <a:cubicBezTo>
                    <a:pt x="0" y="264539"/>
                    <a:pt x="0" y="265032"/>
                    <a:pt x="0" y="265032"/>
                  </a:cubicBezTo>
                  <a:cubicBezTo>
                    <a:pt x="0" y="265032"/>
                    <a:pt x="0" y="265032"/>
                    <a:pt x="0" y="271932"/>
                  </a:cubicBezTo>
                  <a:cubicBezTo>
                    <a:pt x="492" y="270823"/>
                    <a:pt x="1107" y="269838"/>
                    <a:pt x="1599" y="268728"/>
                  </a:cubicBezTo>
                  <a:cubicBezTo>
                    <a:pt x="2091" y="270330"/>
                    <a:pt x="3689" y="271316"/>
                    <a:pt x="4673" y="271932"/>
                  </a:cubicBezTo>
                  <a:cubicBezTo>
                    <a:pt x="6272" y="272425"/>
                    <a:pt x="7378" y="272918"/>
                    <a:pt x="8854" y="272918"/>
                  </a:cubicBezTo>
                  <a:cubicBezTo>
                    <a:pt x="10453" y="272918"/>
                    <a:pt x="12051" y="272425"/>
                    <a:pt x="13158" y="271932"/>
                  </a:cubicBezTo>
                  <a:cubicBezTo>
                    <a:pt x="13158" y="271932"/>
                    <a:pt x="13158" y="271932"/>
                    <a:pt x="204500" y="271932"/>
                  </a:cubicBezTo>
                  <a:cubicBezTo>
                    <a:pt x="208066" y="287705"/>
                    <a:pt x="222331" y="299165"/>
                    <a:pt x="239055" y="299165"/>
                  </a:cubicBezTo>
                  <a:close/>
                  <a:moveTo>
                    <a:pt x="1234548" y="403807"/>
                  </a:moveTo>
                  <a:cubicBezTo>
                    <a:pt x="1254477" y="403807"/>
                    <a:pt x="1270223" y="388063"/>
                    <a:pt x="1270223" y="368630"/>
                  </a:cubicBezTo>
                  <a:cubicBezTo>
                    <a:pt x="1270223" y="349195"/>
                    <a:pt x="1254477" y="333452"/>
                    <a:pt x="1234548" y="333452"/>
                  </a:cubicBezTo>
                  <a:cubicBezTo>
                    <a:pt x="1229874" y="333452"/>
                    <a:pt x="1224584" y="334559"/>
                    <a:pt x="1220402" y="336650"/>
                  </a:cubicBezTo>
                  <a:cubicBezTo>
                    <a:pt x="1220402" y="336650"/>
                    <a:pt x="1220402" y="336650"/>
                    <a:pt x="1008570" y="124845"/>
                  </a:cubicBezTo>
                  <a:cubicBezTo>
                    <a:pt x="1008570" y="124845"/>
                    <a:pt x="1008570" y="124845"/>
                    <a:pt x="990733" y="107010"/>
                  </a:cubicBezTo>
                  <a:cubicBezTo>
                    <a:pt x="990733" y="107010"/>
                    <a:pt x="990733" y="107010"/>
                    <a:pt x="883710" y="1"/>
                  </a:cubicBezTo>
                  <a:cubicBezTo>
                    <a:pt x="883710" y="1"/>
                    <a:pt x="883710" y="1"/>
                    <a:pt x="865874" y="1"/>
                  </a:cubicBezTo>
                  <a:cubicBezTo>
                    <a:pt x="865874" y="1"/>
                    <a:pt x="865874" y="1"/>
                    <a:pt x="973388" y="107010"/>
                  </a:cubicBezTo>
                  <a:cubicBezTo>
                    <a:pt x="973388" y="107010"/>
                    <a:pt x="973388" y="107010"/>
                    <a:pt x="990733" y="124845"/>
                  </a:cubicBezTo>
                  <a:cubicBezTo>
                    <a:pt x="990733" y="124845"/>
                    <a:pt x="990733" y="124845"/>
                    <a:pt x="1209945" y="344029"/>
                  </a:cubicBezTo>
                  <a:cubicBezTo>
                    <a:pt x="1203672" y="350303"/>
                    <a:pt x="1199489" y="359159"/>
                    <a:pt x="1199489" y="368630"/>
                  </a:cubicBezTo>
                  <a:cubicBezTo>
                    <a:pt x="1199489" y="388063"/>
                    <a:pt x="1215235" y="403807"/>
                    <a:pt x="1234548" y="403807"/>
                  </a:cubicBezTo>
                  <a:close/>
                  <a:moveTo>
                    <a:pt x="1850434" y="421699"/>
                  </a:moveTo>
                  <a:cubicBezTo>
                    <a:pt x="1869864" y="421699"/>
                    <a:pt x="1885606" y="405953"/>
                    <a:pt x="1885606" y="386517"/>
                  </a:cubicBezTo>
                  <a:cubicBezTo>
                    <a:pt x="1885606" y="367080"/>
                    <a:pt x="1869864" y="351334"/>
                    <a:pt x="1850434" y="351334"/>
                  </a:cubicBezTo>
                  <a:cubicBezTo>
                    <a:pt x="1845268" y="351334"/>
                    <a:pt x="1840472" y="352441"/>
                    <a:pt x="1835799" y="354533"/>
                  </a:cubicBezTo>
                  <a:cubicBezTo>
                    <a:pt x="1835799" y="354533"/>
                    <a:pt x="1835799" y="354533"/>
                    <a:pt x="1656986" y="175175"/>
                  </a:cubicBezTo>
                  <a:cubicBezTo>
                    <a:pt x="1656986" y="175175"/>
                    <a:pt x="1656986" y="175175"/>
                    <a:pt x="1234426" y="175175"/>
                  </a:cubicBezTo>
                  <a:cubicBezTo>
                    <a:pt x="1234426" y="175175"/>
                    <a:pt x="1234426" y="175175"/>
                    <a:pt x="1184127" y="124862"/>
                  </a:cubicBezTo>
                  <a:cubicBezTo>
                    <a:pt x="1184127" y="124862"/>
                    <a:pt x="1184127" y="124862"/>
                    <a:pt x="1166910" y="107024"/>
                  </a:cubicBezTo>
                  <a:cubicBezTo>
                    <a:pt x="1166910" y="107024"/>
                    <a:pt x="1166910" y="107024"/>
                    <a:pt x="1059917" y="0"/>
                  </a:cubicBezTo>
                  <a:cubicBezTo>
                    <a:pt x="1059917" y="0"/>
                    <a:pt x="1059917" y="0"/>
                    <a:pt x="1042085" y="0"/>
                  </a:cubicBezTo>
                  <a:cubicBezTo>
                    <a:pt x="1042085" y="0"/>
                    <a:pt x="1042085" y="0"/>
                    <a:pt x="1149078" y="107024"/>
                  </a:cubicBezTo>
                  <a:cubicBezTo>
                    <a:pt x="1149078" y="107024"/>
                    <a:pt x="1149078" y="107024"/>
                    <a:pt x="1166910" y="124862"/>
                  </a:cubicBezTo>
                  <a:cubicBezTo>
                    <a:pt x="1166910" y="124862"/>
                    <a:pt x="1166910" y="124862"/>
                    <a:pt x="1234426" y="193013"/>
                  </a:cubicBezTo>
                  <a:cubicBezTo>
                    <a:pt x="1234426" y="193013"/>
                    <a:pt x="1234426" y="193013"/>
                    <a:pt x="1656986" y="193013"/>
                  </a:cubicBezTo>
                  <a:cubicBezTo>
                    <a:pt x="1656986" y="193013"/>
                    <a:pt x="1656986" y="193013"/>
                    <a:pt x="1825346" y="361298"/>
                  </a:cubicBezTo>
                  <a:cubicBezTo>
                    <a:pt x="1819074" y="367695"/>
                    <a:pt x="1815384" y="376552"/>
                    <a:pt x="1815384" y="386517"/>
                  </a:cubicBezTo>
                  <a:cubicBezTo>
                    <a:pt x="1815384" y="405953"/>
                    <a:pt x="1831126" y="421699"/>
                    <a:pt x="1850434" y="421699"/>
                  </a:cubicBezTo>
                  <a:close/>
                  <a:moveTo>
                    <a:pt x="342635" y="422785"/>
                  </a:moveTo>
                  <a:cubicBezTo>
                    <a:pt x="362053" y="422785"/>
                    <a:pt x="377784" y="407012"/>
                    <a:pt x="377784" y="387542"/>
                  </a:cubicBezTo>
                  <a:cubicBezTo>
                    <a:pt x="377784" y="368196"/>
                    <a:pt x="362053" y="352423"/>
                    <a:pt x="342635" y="352423"/>
                  </a:cubicBezTo>
                  <a:cubicBezTo>
                    <a:pt x="326413" y="352423"/>
                    <a:pt x="312772" y="363390"/>
                    <a:pt x="308593" y="378177"/>
                  </a:cubicBezTo>
                  <a:cubicBezTo>
                    <a:pt x="308593" y="378177"/>
                    <a:pt x="308593" y="378177"/>
                    <a:pt x="2" y="378177"/>
                  </a:cubicBezTo>
                  <a:cubicBezTo>
                    <a:pt x="2" y="378177"/>
                    <a:pt x="2" y="378177"/>
                    <a:pt x="2" y="395429"/>
                  </a:cubicBezTo>
                  <a:cubicBezTo>
                    <a:pt x="2" y="395429"/>
                    <a:pt x="2" y="395429"/>
                    <a:pt x="4815" y="395429"/>
                  </a:cubicBezTo>
                  <a:lnTo>
                    <a:pt x="5625" y="395429"/>
                  </a:lnTo>
                  <a:lnTo>
                    <a:pt x="9095" y="396232"/>
                  </a:lnTo>
                  <a:lnTo>
                    <a:pt x="12668" y="395429"/>
                  </a:lnTo>
                  <a:lnTo>
                    <a:pt x="16249" y="395429"/>
                  </a:lnTo>
                  <a:cubicBezTo>
                    <a:pt x="43329" y="395429"/>
                    <a:pt x="115539" y="395429"/>
                    <a:pt x="308101" y="395429"/>
                  </a:cubicBezTo>
                  <a:cubicBezTo>
                    <a:pt x="311789" y="411201"/>
                    <a:pt x="325922" y="422785"/>
                    <a:pt x="342635" y="422785"/>
                  </a:cubicBezTo>
                  <a:close/>
                  <a:moveTo>
                    <a:pt x="2413262" y="491642"/>
                  </a:moveTo>
                  <a:cubicBezTo>
                    <a:pt x="2432672" y="491642"/>
                    <a:pt x="2448397" y="475906"/>
                    <a:pt x="2448397" y="456481"/>
                  </a:cubicBezTo>
                  <a:cubicBezTo>
                    <a:pt x="2448397" y="440253"/>
                    <a:pt x="2437340" y="426607"/>
                    <a:pt x="2422721" y="422427"/>
                  </a:cubicBezTo>
                  <a:cubicBezTo>
                    <a:pt x="2422721" y="422427"/>
                    <a:pt x="2422721" y="422427"/>
                    <a:pt x="2422721" y="69708"/>
                  </a:cubicBezTo>
                  <a:cubicBezTo>
                    <a:pt x="2422721" y="69708"/>
                    <a:pt x="2422721" y="69708"/>
                    <a:pt x="2353558" y="1"/>
                  </a:cubicBezTo>
                  <a:cubicBezTo>
                    <a:pt x="2353558" y="1"/>
                    <a:pt x="2353558" y="1"/>
                    <a:pt x="2335745" y="1"/>
                  </a:cubicBezTo>
                  <a:cubicBezTo>
                    <a:pt x="2335745" y="1"/>
                    <a:pt x="2335745" y="1"/>
                    <a:pt x="2405400" y="69708"/>
                  </a:cubicBezTo>
                  <a:cubicBezTo>
                    <a:pt x="2405400" y="69708"/>
                    <a:pt x="2405400" y="69708"/>
                    <a:pt x="2405400" y="421935"/>
                  </a:cubicBezTo>
                  <a:cubicBezTo>
                    <a:pt x="2389675" y="425623"/>
                    <a:pt x="2378127" y="439761"/>
                    <a:pt x="2378127" y="456481"/>
                  </a:cubicBezTo>
                  <a:cubicBezTo>
                    <a:pt x="2378127" y="475906"/>
                    <a:pt x="2393852" y="491642"/>
                    <a:pt x="2413262" y="491642"/>
                  </a:cubicBezTo>
                  <a:close/>
                  <a:moveTo>
                    <a:pt x="1745375" y="508992"/>
                  </a:moveTo>
                  <a:cubicBezTo>
                    <a:pt x="1764681" y="508992"/>
                    <a:pt x="1780421" y="493374"/>
                    <a:pt x="1780421" y="473944"/>
                  </a:cubicBezTo>
                  <a:cubicBezTo>
                    <a:pt x="1780421" y="454514"/>
                    <a:pt x="1764681" y="438773"/>
                    <a:pt x="1745375" y="438773"/>
                  </a:cubicBezTo>
                  <a:cubicBezTo>
                    <a:pt x="1740088" y="438773"/>
                    <a:pt x="1734800" y="439880"/>
                    <a:pt x="1730619" y="441971"/>
                  </a:cubicBezTo>
                  <a:cubicBezTo>
                    <a:pt x="1730619" y="441971"/>
                    <a:pt x="1730619" y="441971"/>
                    <a:pt x="1534113" y="245334"/>
                  </a:cubicBezTo>
                  <a:cubicBezTo>
                    <a:pt x="1534113" y="245334"/>
                    <a:pt x="1534113" y="245334"/>
                    <a:pt x="1234682" y="245334"/>
                  </a:cubicBezTo>
                  <a:cubicBezTo>
                    <a:pt x="1234682" y="245334"/>
                    <a:pt x="1234682" y="245334"/>
                    <a:pt x="1114173" y="124820"/>
                  </a:cubicBezTo>
                  <a:cubicBezTo>
                    <a:pt x="1114173" y="124820"/>
                    <a:pt x="1114173" y="124820"/>
                    <a:pt x="1096833" y="106988"/>
                  </a:cubicBezTo>
                  <a:cubicBezTo>
                    <a:pt x="1096833" y="106988"/>
                    <a:pt x="1096833" y="106988"/>
                    <a:pt x="989358" y="0"/>
                  </a:cubicBezTo>
                  <a:cubicBezTo>
                    <a:pt x="989358" y="0"/>
                    <a:pt x="989358" y="0"/>
                    <a:pt x="972142" y="0"/>
                  </a:cubicBezTo>
                  <a:cubicBezTo>
                    <a:pt x="972142" y="0"/>
                    <a:pt x="972142" y="0"/>
                    <a:pt x="1079003" y="106988"/>
                  </a:cubicBezTo>
                  <a:cubicBezTo>
                    <a:pt x="1079003" y="106988"/>
                    <a:pt x="1079003" y="106988"/>
                    <a:pt x="1096833" y="124820"/>
                  </a:cubicBezTo>
                  <a:cubicBezTo>
                    <a:pt x="1096833" y="124820"/>
                    <a:pt x="1096833" y="124820"/>
                    <a:pt x="1234682" y="263166"/>
                  </a:cubicBezTo>
                  <a:cubicBezTo>
                    <a:pt x="1234682" y="263166"/>
                    <a:pt x="1234682" y="263166"/>
                    <a:pt x="1534113" y="263166"/>
                  </a:cubicBezTo>
                  <a:cubicBezTo>
                    <a:pt x="1534113" y="263166"/>
                    <a:pt x="1534113" y="263166"/>
                    <a:pt x="1720166" y="449349"/>
                  </a:cubicBezTo>
                  <a:cubicBezTo>
                    <a:pt x="1713895" y="455621"/>
                    <a:pt x="1709714" y="464475"/>
                    <a:pt x="1709714" y="473944"/>
                  </a:cubicBezTo>
                  <a:cubicBezTo>
                    <a:pt x="1709714" y="493374"/>
                    <a:pt x="1725946" y="508992"/>
                    <a:pt x="1745375" y="508992"/>
                  </a:cubicBezTo>
                  <a:close/>
                  <a:moveTo>
                    <a:pt x="3075274" y="532306"/>
                  </a:moveTo>
                  <a:cubicBezTo>
                    <a:pt x="3094684" y="532306"/>
                    <a:pt x="3110408" y="516574"/>
                    <a:pt x="3110408" y="497278"/>
                  </a:cubicBezTo>
                  <a:cubicBezTo>
                    <a:pt x="3110408" y="477859"/>
                    <a:pt x="3094684" y="462127"/>
                    <a:pt x="3075274" y="462127"/>
                  </a:cubicBezTo>
                  <a:cubicBezTo>
                    <a:pt x="3065324" y="462127"/>
                    <a:pt x="3056970" y="466306"/>
                    <a:pt x="3050705" y="472574"/>
                  </a:cubicBezTo>
                  <a:cubicBezTo>
                    <a:pt x="3050705" y="472574"/>
                    <a:pt x="3050705" y="472574"/>
                    <a:pt x="2864226" y="286618"/>
                  </a:cubicBezTo>
                  <a:cubicBezTo>
                    <a:pt x="2864226" y="286618"/>
                    <a:pt x="2864226" y="286618"/>
                    <a:pt x="2864226" y="2"/>
                  </a:cubicBezTo>
                  <a:cubicBezTo>
                    <a:pt x="2864226" y="2"/>
                    <a:pt x="2864226" y="2"/>
                    <a:pt x="2847027" y="2"/>
                  </a:cubicBezTo>
                  <a:cubicBezTo>
                    <a:pt x="2847027" y="2"/>
                    <a:pt x="2847027" y="2"/>
                    <a:pt x="2847027" y="286618"/>
                  </a:cubicBezTo>
                  <a:cubicBezTo>
                    <a:pt x="2847027" y="286618"/>
                    <a:pt x="2847027" y="286618"/>
                    <a:pt x="3043334" y="483144"/>
                  </a:cubicBezTo>
                  <a:cubicBezTo>
                    <a:pt x="3041246" y="487323"/>
                    <a:pt x="3040263" y="491993"/>
                    <a:pt x="3040263" y="497278"/>
                  </a:cubicBezTo>
                  <a:cubicBezTo>
                    <a:pt x="3040263" y="516574"/>
                    <a:pt x="3055987" y="532306"/>
                    <a:pt x="3075274" y="532306"/>
                  </a:cubicBezTo>
                  <a:close/>
                  <a:moveTo>
                    <a:pt x="342635" y="545861"/>
                  </a:moveTo>
                  <a:cubicBezTo>
                    <a:pt x="362053" y="545861"/>
                    <a:pt x="377784" y="530088"/>
                    <a:pt x="377784" y="510619"/>
                  </a:cubicBezTo>
                  <a:cubicBezTo>
                    <a:pt x="377784" y="491272"/>
                    <a:pt x="362053" y="475500"/>
                    <a:pt x="342635" y="475500"/>
                  </a:cubicBezTo>
                  <a:cubicBezTo>
                    <a:pt x="326413" y="475500"/>
                    <a:pt x="312772" y="485974"/>
                    <a:pt x="308593" y="501131"/>
                  </a:cubicBezTo>
                  <a:cubicBezTo>
                    <a:pt x="308593" y="501131"/>
                    <a:pt x="308593" y="501131"/>
                    <a:pt x="239403" y="500638"/>
                  </a:cubicBezTo>
                  <a:cubicBezTo>
                    <a:pt x="239403" y="500638"/>
                    <a:pt x="239403" y="500638"/>
                    <a:pt x="2" y="500638"/>
                  </a:cubicBezTo>
                  <a:cubicBezTo>
                    <a:pt x="2" y="500638"/>
                    <a:pt x="2" y="500638"/>
                    <a:pt x="2" y="518505"/>
                  </a:cubicBezTo>
                  <a:cubicBezTo>
                    <a:pt x="2" y="518505"/>
                    <a:pt x="2" y="518505"/>
                    <a:pt x="4815" y="518505"/>
                  </a:cubicBezTo>
                  <a:lnTo>
                    <a:pt x="5626" y="518505"/>
                  </a:lnTo>
                  <a:lnTo>
                    <a:pt x="9095" y="519309"/>
                  </a:lnTo>
                  <a:lnTo>
                    <a:pt x="12667" y="518505"/>
                  </a:lnTo>
                  <a:lnTo>
                    <a:pt x="16249" y="518505"/>
                  </a:lnTo>
                  <a:cubicBezTo>
                    <a:pt x="43329" y="518505"/>
                    <a:pt x="115539" y="518505"/>
                    <a:pt x="308101" y="518505"/>
                  </a:cubicBezTo>
                  <a:cubicBezTo>
                    <a:pt x="311789" y="534278"/>
                    <a:pt x="325922" y="545861"/>
                    <a:pt x="342635" y="545861"/>
                  </a:cubicBezTo>
                  <a:close/>
                  <a:moveTo>
                    <a:pt x="1217000" y="614719"/>
                  </a:moveTo>
                  <a:cubicBezTo>
                    <a:pt x="1217000" y="614719"/>
                    <a:pt x="1217000" y="614719"/>
                    <a:pt x="1430799" y="400348"/>
                  </a:cubicBezTo>
                  <a:cubicBezTo>
                    <a:pt x="1435471" y="402437"/>
                    <a:pt x="1440266" y="403544"/>
                    <a:pt x="1445430" y="403544"/>
                  </a:cubicBezTo>
                  <a:cubicBezTo>
                    <a:pt x="1464855" y="403544"/>
                    <a:pt x="1480592" y="387810"/>
                    <a:pt x="1480592" y="368389"/>
                  </a:cubicBezTo>
                  <a:cubicBezTo>
                    <a:pt x="1480592" y="348968"/>
                    <a:pt x="1464855" y="333234"/>
                    <a:pt x="1445430" y="333234"/>
                  </a:cubicBezTo>
                  <a:cubicBezTo>
                    <a:pt x="1426128" y="333234"/>
                    <a:pt x="1410391" y="348968"/>
                    <a:pt x="1410391" y="368389"/>
                  </a:cubicBezTo>
                  <a:cubicBezTo>
                    <a:pt x="1410391" y="378345"/>
                    <a:pt x="1414571" y="386704"/>
                    <a:pt x="1420841" y="393587"/>
                  </a:cubicBezTo>
                  <a:cubicBezTo>
                    <a:pt x="1420841" y="393587"/>
                    <a:pt x="1420841" y="393587"/>
                    <a:pt x="1217000" y="596895"/>
                  </a:cubicBezTo>
                  <a:cubicBezTo>
                    <a:pt x="1217000" y="596895"/>
                    <a:pt x="1217000" y="596895"/>
                    <a:pt x="742067" y="122059"/>
                  </a:cubicBezTo>
                  <a:cubicBezTo>
                    <a:pt x="742067" y="122059"/>
                    <a:pt x="742067" y="122059"/>
                    <a:pt x="742067" y="1"/>
                  </a:cubicBezTo>
                  <a:cubicBezTo>
                    <a:pt x="742067" y="1"/>
                    <a:pt x="742067" y="1"/>
                    <a:pt x="724363" y="1"/>
                  </a:cubicBezTo>
                  <a:cubicBezTo>
                    <a:pt x="724363" y="1"/>
                    <a:pt x="724363" y="1"/>
                    <a:pt x="724363" y="122059"/>
                  </a:cubicBezTo>
                  <a:cubicBezTo>
                    <a:pt x="724363" y="122059"/>
                    <a:pt x="724363" y="122059"/>
                    <a:pt x="1217000" y="614719"/>
                  </a:cubicBezTo>
                  <a:close/>
                  <a:moveTo>
                    <a:pt x="2987933" y="638575"/>
                  </a:moveTo>
                  <a:cubicBezTo>
                    <a:pt x="3007370" y="638575"/>
                    <a:pt x="3023115" y="622955"/>
                    <a:pt x="3023115" y="603523"/>
                  </a:cubicBezTo>
                  <a:cubicBezTo>
                    <a:pt x="3023115" y="584090"/>
                    <a:pt x="3007370" y="568347"/>
                    <a:pt x="2987933" y="568347"/>
                  </a:cubicBezTo>
                  <a:cubicBezTo>
                    <a:pt x="2978461" y="568347"/>
                    <a:pt x="2969604" y="572037"/>
                    <a:pt x="2963330" y="578309"/>
                  </a:cubicBezTo>
                  <a:cubicBezTo>
                    <a:pt x="2963330" y="578309"/>
                    <a:pt x="2963330" y="578309"/>
                    <a:pt x="2794431" y="410056"/>
                  </a:cubicBezTo>
                  <a:cubicBezTo>
                    <a:pt x="2794431" y="410056"/>
                    <a:pt x="2794431" y="410056"/>
                    <a:pt x="2794431" y="2"/>
                  </a:cubicBezTo>
                  <a:cubicBezTo>
                    <a:pt x="2794431" y="2"/>
                    <a:pt x="2794431" y="2"/>
                    <a:pt x="2777085" y="2"/>
                  </a:cubicBezTo>
                  <a:cubicBezTo>
                    <a:pt x="2777085" y="2"/>
                    <a:pt x="2777085" y="2"/>
                    <a:pt x="2777085" y="410056"/>
                  </a:cubicBezTo>
                  <a:cubicBezTo>
                    <a:pt x="2777085" y="410056"/>
                    <a:pt x="2777085" y="410056"/>
                    <a:pt x="2955949" y="588763"/>
                  </a:cubicBezTo>
                  <a:cubicBezTo>
                    <a:pt x="2953858" y="593068"/>
                    <a:pt x="2952751" y="598234"/>
                    <a:pt x="2952751" y="603523"/>
                  </a:cubicBezTo>
                  <a:cubicBezTo>
                    <a:pt x="2952751" y="622955"/>
                    <a:pt x="2968497" y="638575"/>
                    <a:pt x="2987933" y="638575"/>
                  </a:cubicBezTo>
                  <a:close/>
                  <a:moveTo>
                    <a:pt x="342635" y="668938"/>
                  </a:moveTo>
                  <a:cubicBezTo>
                    <a:pt x="362053" y="668938"/>
                    <a:pt x="377783" y="653193"/>
                    <a:pt x="377783" y="633757"/>
                  </a:cubicBezTo>
                  <a:cubicBezTo>
                    <a:pt x="377783" y="614322"/>
                    <a:pt x="362053" y="598577"/>
                    <a:pt x="342635" y="598577"/>
                  </a:cubicBezTo>
                  <a:cubicBezTo>
                    <a:pt x="326413" y="598577"/>
                    <a:pt x="312772" y="609156"/>
                    <a:pt x="308593" y="623794"/>
                  </a:cubicBezTo>
                  <a:cubicBezTo>
                    <a:pt x="308593" y="623794"/>
                    <a:pt x="308593" y="623794"/>
                    <a:pt x="2" y="623794"/>
                  </a:cubicBezTo>
                  <a:cubicBezTo>
                    <a:pt x="2" y="623794"/>
                    <a:pt x="2" y="623794"/>
                    <a:pt x="2" y="641630"/>
                  </a:cubicBezTo>
                  <a:cubicBezTo>
                    <a:pt x="2" y="641630"/>
                    <a:pt x="2" y="641630"/>
                    <a:pt x="4672" y="641630"/>
                  </a:cubicBezTo>
                  <a:cubicBezTo>
                    <a:pt x="4672" y="641630"/>
                    <a:pt x="4672" y="641630"/>
                    <a:pt x="5732" y="641630"/>
                  </a:cubicBezTo>
                  <a:lnTo>
                    <a:pt x="5824" y="641630"/>
                  </a:lnTo>
                  <a:lnTo>
                    <a:pt x="9095" y="642388"/>
                  </a:lnTo>
                  <a:lnTo>
                    <a:pt x="12462" y="641630"/>
                  </a:lnTo>
                  <a:lnTo>
                    <a:pt x="13152" y="641630"/>
                  </a:lnTo>
                  <a:cubicBezTo>
                    <a:pt x="13152" y="641630"/>
                    <a:pt x="13152" y="641630"/>
                    <a:pt x="213718" y="641630"/>
                  </a:cubicBezTo>
                  <a:cubicBezTo>
                    <a:pt x="213718" y="641630"/>
                    <a:pt x="213718" y="641630"/>
                    <a:pt x="308101" y="641630"/>
                  </a:cubicBezTo>
                  <a:cubicBezTo>
                    <a:pt x="311789" y="657375"/>
                    <a:pt x="325921" y="668938"/>
                    <a:pt x="342635" y="668938"/>
                  </a:cubicBezTo>
                  <a:close/>
                  <a:moveTo>
                    <a:pt x="3849606" y="677070"/>
                  </a:moveTo>
                  <a:cubicBezTo>
                    <a:pt x="3868912" y="677070"/>
                    <a:pt x="3884652" y="661336"/>
                    <a:pt x="3884652" y="641914"/>
                  </a:cubicBezTo>
                  <a:cubicBezTo>
                    <a:pt x="3884652" y="622615"/>
                    <a:pt x="3868912" y="606880"/>
                    <a:pt x="3849606" y="606880"/>
                  </a:cubicBezTo>
                  <a:cubicBezTo>
                    <a:pt x="3839522" y="606880"/>
                    <a:pt x="3831160" y="611060"/>
                    <a:pt x="3824889" y="617329"/>
                  </a:cubicBezTo>
                  <a:cubicBezTo>
                    <a:pt x="3824889" y="617329"/>
                    <a:pt x="3824889" y="617329"/>
                    <a:pt x="3251365" y="44008"/>
                  </a:cubicBezTo>
                  <a:cubicBezTo>
                    <a:pt x="3251365" y="44008"/>
                    <a:pt x="3251365" y="44008"/>
                    <a:pt x="3251365" y="2"/>
                  </a:cubicBezTo>
                  <a:cubicBezTo>
                    <a:pt x="3251365" y="2"/>
                    <a:pt x="3251365" y="2"/>
                    <a:pt x="3234150" y="2"/>
                  </a:cubicBezTo>
                  <a:cubicBezTo>
                    <a:pt x="3234150" y="2"/>
                    <a:pt x="3234150" y="2"/>
                    <a:pt x="3234150" y="44008"/>
                  </a:cubicBezTo>
                  <a:cubicBezTo>
                    <a:pt x="3234150" y="44008"/>
                    <a:pt x="3234150" y="44008"/>
                    <a:pt x="3817634" y="627778"/>
                  </a:cubicBezTo>
                  <a:cubicBezTo>
                    <a:pt x="3815421" y="631957"/>
                    <a:pt x="3814437" y="636751"/>
                    <a:pt x="3814437" y="641914"/>
                  </a:cubicBezTo>
                  <a:cubicBezTo>
                    <a:pt x="3814437" y="661336"/>
                    <a:pt x="3830177" y="677070"/>
                    <a:pt x="3849606" y="677070"/>
                  </a:cubicBezTo>
                  <a:close/>
                  <a:moveTo>
                    <a:pt x="4387996" y="677071"/>
                  </a:moveTo>
                  <a:cubicBezTo>
                    <a:pt x="4407303" y="677071"/>
                    <a:pt x="4423044" y="661337"/>
                    <a:pt x="4423044" y="641915"/>
                  </a:cubicBezTo>
                  <a:cubicBezTo>
                    <a:pt x="4423044" y="622616"/>
                    <a:pt x="4407303" y="606881"/>
                    <a:pt x="4387996" y="606881"/>
                  </a:cubicBezTo>
                  <a:cubicBezTo>
                    <a:pt x="4378034" y="606881"/>
                    <a:pt x="4369549" y="611061"/>
                    <a:pt x="4362785" y="617330"/>
                  </a:cubicBezTo>
                  <a:cubicBezTo>
                    <a:pt x="4362785" y="617330"/>
                    <a:pt x="4362785" y="617330"/>
                    <a:pt x="3789832" y="44008"/>
                  </a:cubicBezTo>
                  <a:cubicBezTo>
                    <a:pt x="3789832" y="44008"/>
                    <a:pt x="3789832" y="44008"/>
                    <a:pt x="3789832" y="2"/>
                  </a:cubicBezTo>
                  <a:cubicBezTo>
                    <a:pt x="3789832" y="2"/>
                    <a:pt x="3789832" y="2"/>
                    <a:pt x="3772000" y="2"/>
                  </a:cubicBezTo>
                  <a:cubicBezTo>
                    <a:pt x="3772000" y="2"/>
                    <a:pt x="3772000" y="2"/>
                    <a:pt x="3772000" y="44008"/>
                  </a:cubicBezTo>
                  <a:cubicBezTo>
                    <a:pt x="3772000" y="44008"/>
                    <a:pt x="3772000" y="44008"/>
                    <a:pt x="4356021" y="627778"/>
                  </a:cubicBezTo>
                  <a:cubicBezTo>
                    <a:pt x="4353931" y="631958"/>
                    <a:pt x="4352824" y="636752"/>
                    <a:pt x="4352824" y="641915"/>
                  </a:cubicBezTo>
                  <a:cubicBezTo>
                    <a:pt x="4352824" y="661337"/>
                    <a:pt x="4368565" y="677071"/>
                    <a:pt x="4387996" y="677071"/>
                  </a:cubicBezTo>
                  <a:close/>
                  <a:moveTo>
                    <a:pt x="1270292" y="755145"/>
                  </a:moveTo>
                  <a:cubicBezTo>
                    <a:pt x="1270292" y="755145"/>
                    <a:pt x="1270292" y="755145"/>
                    <a:pt x="1537070" y="488392"/>
                  </a:cubicBezTo>
                  <a:cubicBezTo>
                    <a:pt x="1541250" y="490482"/>
                    <a:pt x="1546536" y="491588"/>
                    <a:pt x="1551208" y="491588"/>
                  </a:cubicBezTo>
                  <a:cubicBezTo>
                    <a:pt x="1570632" y="491588"/>
                    <a:pt x="1586860" y="475854"/>
                    <a:pt x="1586860" y="456431"/>
                  </a:cubicBezTo>
                  <a:cubicBezTo>
                    <a:pt x="1586860" y="437008"/>
                    <a:pt x="1570632" y="421397"/>
                    <a:pt x="1551208" y="421397"/>
                  </a:cubicBezTo>
                  <a:cubicBezTo>
                    <a:pt x="1531906" y="421397"/>
                    <a:pt x="1516170" y="437008"/>
                    <a:pt x="1516170" y="456431"/>
                  </a:cubicBezTo>
                  <a:cubicBezTo>
                    <a:pt x="1516170" y="465897"/>
                    <a:pt x="1520350" y="474747"/>
                    <a:pt x="1526620" y="481139"/>
                  </a:cubicBezTo>
                  <a:cubicBezTo>
                    <a:pt x="1526620" y="481139"/>
                    <a:pt x="1526620" y="481139"/>
                    <a:pt x="1270292" y="737936"/>
                  </a:cubicBezTo>
                  <a:cubicBezTo>
                    <a:pt x="1270292" y="737936"/>
                    <a:pt x="1270292" y="737936"/>
                    <a:pt x="689648" y="157225"/>
                  </a:cubicBezTo>
                  <a:cubicBezTo>
                    <a:pt x="689648" y="157225"/>
                    <a:pt x="689648" y="157225"/>
                    <a:pt x="689648" y="1"/>
                  </a:cubicBezTo>
                  <a:cubicBezTo>
                    <a:pt x="689648" y="1"/>
                    <a:pt x="689648" y="1"/>
                    <a:pt x="672313" y="1"/>
                  </a:cubicBezTo>
                  <a:cubicBezTo>
                    <a:pt x="672313" y="1"/>
                    <a:pt x="672313" y="1"/>
                    <a:pt x="672313" y="157225"/>
                  </a:cubicBezTo>
                  <a:cubicBezTo>
                    <a:pt x="672313" y="157225"/>
                    <a:pt x="672313" y="157225"/>
                    <a:pt x="1270292" y="755145"/>
                  </a:cubicBezTo>
                  <a:close/>
                  <a:moveTo>
                    <a:pt x="2741325" y="779002"/>
                  </a:moveTo>
                  <a:cubicBezTo>
                    <a:pt x="2760685" y="779002"/>
                    <a:pt x="2776962" y="763262"/>
                    <a:pt x="2776962" y="743834"/>
                  </a:cubicBezTo>
                  <a:cubicBezTo>
                    <a:pt x="2776962" y="727110"/>
                    <a:pt x="2764878" y="712969"/>
                    <a:pt x="2749094" y="709771"/>
                  </a:cubicBezTo>
                  <a:cubicBezTo>
                    <a:pt x="2749094" y="709771"/>
                    <a:pt x="2749094" y="709771"/>
                    <a:pt x="2749094" y="2"/>
                  </a:cubicBezTo>
                  <a:cubicBezTo>
                    <a:pt x="2749094" y="2"/>
                    <a:pt x="2749094" y="2"/>
                    <a:pt x="2731830" y="2"/>
                  </a:cubicBezTo>
                  <a:cubicBezTo>
                    <a:pt x="2731830" y="2"/>
                    <a:pt x="2731830" y="2"/>
                    <a:pt x="2731830" y="710263"/>
                  </a:cubicBezTo>
                  <a:cubicBezTo>
                    <a:pt x="2717033" y="714567"/>
                    <a:pt x="2706059" y="728216"/>
                    <a:pt x="2706059" y="743834"/>
                  </a:cubicBezTo>
                  <a:cubicBezTo>
                    <a:pt x="2706059" y="763262"/>
                    <a:pt x="2721842" y="779002"/>
                    <a:pt x="2741325" y="779002"/>
                  </a:cubicBezTo>
                  <a:close/>
                  <a:moveTo>
                    <a:pt x="2618680" y="779003"/>
                  </a:moveTo>
                  <a:cubicBezTo>
                    <a:pt x="2638129" y="779003"/>
                    <a:pt x="2653886" y="763263"/>
                    <a:pt x="2653886" y="743834"/>
                  </a:cubicBezTo>
                  <a:cubicBezTo>
                    <a:pt x="2653886" y="727110"/>
                    <a:pt x="2641822" y="712969"/>
                    <a:pt x="2626066" y="709772"/>
                  </a:cubicBezTo>
                  <a:cubicBezTo>
                    <a:pt x="2626066" y="709772"/>
                    <a:pt x="2626066" y="709772"/>
                    <a:pt x="2626066" y="2"/>
                  </a:cubicBezTo>
                  <a:cubicBezTo>
                    <a:pt x="2626066" y="2"/>
                    <a:pt x="2626066" y="2"/>
                    <a:pt x="2608709" y="2"/>
                  </a:cubicBezTo>
                  <a:cubicBezTo>
                    <a:pt x="2608709" y="2"/>
                    <a:pt x="2608709" y="2"/>
                    <a:pt x="2608709" y="710264"/>
                  </a:cubicBezTo>
                  <a:cubicBezTo>
                    <a:pt x="2594061" y="714568"/>
                    <a:pt x="2582982" y="728217"/>
                    <a:pt x="2582982" y="743834"/>
                  </a:cubicBezTo>
                  <a:cubicBezTo>
                    <a:pt x="2582982" y="763263"/>
                    <a:pt x="2599231" y="779003"/>
                    <a:pt x="2618680" y="779003"/>
                  </a:cubicBezTo>
                  <a:close/>
                  <a:moveTo>
                    <a:pt x="3849080" y="800689"/>
                  </a:moveTo>
                  <a:cubicBezTo>
                    <a:pt x="3868377" y="800689"/>
                    <a:pt x="3884110" y="784946"/>
                    <a:pt x="3884110" y="765513"/>
                  </a:cubicBezTo>
                  <a:cubicBezTo>
                    <a:pt x="3884110" y="746080"/>
                    <a:pt x="3868377" y="730460"/>
                    <a:pt x="3849080" y="730460"/>
                  </a:cubicBezTo>
                  <a:cubicBezTo>
                    <a:pt x="3839002" y="730460"/>
                    <a:pt x="3830644" y="734642"/>
                    <a:pt x="3824376" y="740914"/>
                  </a:cubicBezTo>
                  <a:cubicBezTo>
                    <a:pt x="3824376" y="740914"/>
                    <a:pt x="3824376" y="740914"/>
                    <a:pt x="3180945" y="97043"/>
                  </a:cubicBezTo>
                  <a:cubicBezTo>
                    <a:pt x="3180945" y="97043"/>
                    <a:pt x="3180945" y="97043"/>
                    <a:pt x="3180945" y="2"/>
                  </a:cubicBezTo>
                  <a:cubicBezTo>
                    <a:pt x="3180945" y="2"/>
                    <a:pt x="3180945" y="2"/>
                    <a:pt x="3163123" y="2"/>
                  </a:cubicBezTo>
                  <a:cubicBezTo>
                    <a:pt x="3163123" y="2"/>
                    <a:pt x="3163123" y="2"/>
                    <a:pt x="3163123" y="97043"/>
                  </a:cubicBezTo>
                  <a:cubicBezTo>
                    <a:pt x="3163123" y="97043"/>
                    <a:pt x="3163123" y="97043"/>
                    <a:pt x="3817124" y="751369"/>
                  </a:cubicBezTo>
                  <a:cubicBezTo>
                    <a:pt x="3814912" y="755551"/>
                    <a:pt x="3813929" y="760347"/>
                    <a:pt x="3813929" y="765513"/>
                  </a:cubicBezTo>
                  <a:cubicBezTo>
                    <a:pt x="3813929" y="784946"/>
                    <a:pt x="3829661" y="800689"/>
                    <a:pt x="3849080" y="800689"/>
                  </a:cubicBezTo>
                  <a:close/>
                  <a:moveTo>
                    <a:pt x="4387473" y="800690"/>
                  </a:moveTo>
                  <a:cubicBezTo>
                    <a:pt x="4406769" y="800690"/>
                    <a:pt x="4422502" y="784947"/>
                    <a:pt x="4422502" y="765514"/>
                  </a:cubicBezTo>
                  <a:cubicBezTo>
                    <a:pt x="4422502" y="746080"/>
                    <a:pt x="4406769" y="730460"/>
                    <a:pt x="4387473" y="730460"/>
                  </a:cubicBezTo>
                  <a:cubicBezTo>
                    <a:pt x="4377517" y="730460"/>
                    <a:pt x="4369036" y="734642"/>
                    <a:pt x="4362276" y="740915"/>
                  </a:cubicBezTo>
                  <a:cubicBezTo>
                    <a:pt x="4362276" y="740915"/>
                    <a:pt x="4362276" y="740915"/>
                    <a:pt x="3719337" y="97043"/>
                  </a:cubicBezTo>
                  <a:cubicBezTo>
                    <a:pt x="3719337" y="97043"/>
                    <a:pt x="3719337" y="97043"/>
                    <a:pt x="3719337" y="2"/>
                  </a:cubicBezTo>
                  <a:cubicBezTo>
                    <a:pt x="3719337" y="2"/>
                    <a:pt x="3719337" y="2"/>
                    <a:pt x="3701515" y="2"/>
                  </a:cubicBezTo>
                  <a:cubicBezTo>
                    <a:pt x="3701515" y="2"/>
                    <a:pt x="3701515" y="2"/>
                    <a:pt x="3701515" y="97043"/>
                  </a:cubicBezTo>
                  <a:cubicBezTo>
                    <a:pt x="3701515" y="97043"/>
                    <a:pt x="3701515" y="97043"/>
                    <a:pt x="4355516" y="751369"/>
                  </a:cubicBezTo>
                  <a:cubicBezTo>
                    <a:pt x="4353427" y="755551"/>
                    <a:pt x="4352321" y="760348"/>
                    <a:pt x="4352321" y="765514"/>
                  </a:cubicBezTo>
                  <a:cubicBezTo>
                    <a:pt x="4352321" y="784947"/>
                    <a:pt x="4368053" y="800690"/>
                    <a:pt x="4387473" y="800690"/>
                  </a:cubicBezTo>
                  <a:close/>
                  <a:moveTo>
                    <a:pt x="1322558" y="878764"/>
                  </a:moveTo>
                  <a:cubicBezTo>
                    <a:pt x="1322558" y="878764"/>
                    <a:pt x="1322558" y="878764"/>
                    <a:pt x="1624856" y="576823"/>
                  </a:cubicBezTo>
                  <a:cubicBezTo>
                    <a:pt x="1629036" y="578914"/>
                    <a:pt x="1633830" y="579898"/>
                    <a:pt x="1638993" y="579898"/>
                  </a:cubicBezTo>
                  <a:cubicBezTo>
                    <a:pt x="1658417" y="579898"/>
                    <a:pt x="1674153" y="564155"/>
                    <a:pt x="1674153" y="544723"/>
                  </a:cubicBezTo>
                  <a:cubicBezTo>
                    <a:pt x="1674153" y="525413"/>
                    <a:pt x="1658417" y="509056"/>
                    <a:pt x="1638993" y="509056"/>
                  </a:cubicBezTo>
                  <a:cubicBezTo>
                    <a:pt x="1619693" y="509056"/>
                    <a:pt x="1603957" y="525413"/>
                    <a:pt x="1603957" y="544723"/>
                  </a:cubicBezTo>
                  <a:cubicBezTo>
                    <a:pt x="1603957" y="554193"/>
                    <a:pt x="1608136" y="563171"/>
                    <a:pt x="1614406" y="569444"/>
                  </a:cubicBezTo>
                  <a:cubicBezTo>
                    <a:pt x="1614406" y="569444"/>
                    <a:pt x="1614406" y="569444"/>
                    <a:pt x="1322558" y="861422"/>
                  </a:cubicBezTo>
                  <a:cubicBezTo>
                    <a:pt x="1322558" y="861422"/>
                    <a:pt x="1322558" y="861422"/>
                    <a:pt x="654282" y="192480"/>
                  </a:cubicBezTo>
                  <a:cubicBezTo>
                    <a:pt x="654282" y="192480"/>
                    <a:pt x="654282" y="192480"/>
                    <a:pt x="654282" y="1"/>
                  </a:cubicBezTo>
                  <a:cubicBezTo>
                    <a:pt x="654282" y="1"/>
                    <a:pt x="654282" y="1"/>
                    <a:pt x="637070" y="1"/>
                  </a:cubicBezTo>
                  <a:cubicBezTo>
                    <a:pt x="637070" y="1"/>
                    <a:pt x="637070" y="1"/>
                    <a:pt x="637070" y="192480"/>
                  </a:cubicBezTo>
                  <a:cubicBezTo>
                    <a:pt x="637070" y="192480"/>
                    <a:pt x="637070" y="192480"/>
                    <a:pt x="1322558" y="878764"/>
                  </a:cubicBezTo>
                  <a:close/>
                  <a:moveTo>
                    <a:pt x="4388002" y="923766"/>
                  </a:moveTo>
                  <a:cubicBezTo>
                    <a:pt x="4407306" y="923766"/>
                    <a:pt x="4423044" y="908026"/>
                    <a:pt x="4423044" y="888596"/>
                  </a:cubicBezTo>
                  <a:cubicBezTo>
                    <a:pt x="4423044" y="869167"/>
                    <a:pt x="4407306" y="853426"/>
                    <a:pt x="4388002" y="853426"/>
                  </a:cubicBezTo>
                  <a:cubicBezTo>
                    <a:pt x="4378042" y="853426"/>
                    <a:pt x="4369558" y="857116"/>
                    <a:pt x="4362796" y="864002"/>
                  </a:cubicBezTo>
                  <a:cubicBezTo>
                    <a:pt x="4362796" y="864002"/>
                    <a:pt x="4362796" y="864002"/>
                    <a:pt x="3648910" y="149904"/>
                  </a:cubicBezTo>
                  <a:cubicBezTo>
                    <a:pt x="3648910" y="149904"/>
                    <a:pt x="3648910" y="149904"/>
                    <a:pt x="3648910" y="2"/>
                  </a:cubicBezTo>
                  <a:cubicBezTo>
                    <a:pt x="3648910" y="2"/>
                    <a:pt x="3648910" y="2"/>
                    <a:pt x="3631573" y="2"/>
                  </a:cubicBezTo>
                  <a:cubicBezTo>
                    <a:pt x="3631573" y="2"/>
                    <a:pt x="3631573" y="2"/>
                    <a:pt x="3631573" y="149904"/>
                  </a:cubicBezTo>
                  <a:cubicBezTo>
                    <a:pt x="3631573" y="149904"/>
                    <a:pt x="3631573" y="149904"/>
                    <a:pt x="4356033" y="873963"/>
                  </a:cubicBezTo>
                  <a:cubicBezTo>
                    <a:pt x="4353943" y="878636"/>
                    <a:pt x="4352836" y="883309"/>
                    <a:pt x="4352836" y="888596"/>
                  </a:cubicBezTo>
                  <a:cubicBezTo>
                    <a:pt x="4352836" y="908026"/>
                    <a:pt x="4368574" y="923766"/>
                    <a:pt x="4388002" y="923766"/>
                  </a:cubicBezTo>
                  <a:close/>
                  <a:moveTo>
                    <a:pt x="3849609" y="923766"/>
                  </a:moveTo>
                  <a:cubicBezTo>
                    <a:pt x="3868914" y="923766"/>
                    <a:pt x="3884652" y="908026"/>
                    <a:pt x="3884652" y="888596"/>
                  </a:cubicBezTo>
                  <a:cubicBezTo>
                    <a:pt x="3884652" y="869166"/>
                    <a:pt x="3868914" y="853426"/>
                    <a:pt x="3849609" y="853426"/>
                  </a:cubicBezTo>
                  <a:cubicBezTo>
                    <a:pt x="3839527" y="853426"/>
                    <a:pt x="3831166" y="857115"/>
                    <a:pt x="3824895" y="864002"/>
                  </a:cubicBezTo>
                  <a:cubicBezTo>
                    <a:pt x="3824895" y="864002"/>
                    <a:pt x="3824895" y="864002"/>
                    <a:pt x="3111009" y="149904"/>
                  </a:cubicBezTo>
                  <a:cubicBezTo>
                    <a:pt x="3111009" y="149904"/>
                    <a:pt x="3111009" y="149904"/>
                    <a:pt x="3111009" y="2"/>
                  </a:cubicBezTo>
                  <a:cubicBezTo>
                    <a:pt x="3111009" y="2"/>
                    <a:pt x="3111009" y="2"/>
                    <a:pt x="3093180" y="2"/>
                  </a:cubicBezTo>
                  <a:cubicBezTo>
                    <a:pt x="3093180" y="2"/>
                    <a:pt x="3093180" y="2"/>
                    <a:pt x="3093180" y="149904"/>
                  </a:cubicBezTo>
                  <a:cubicBezTo>
                    <a:pt x="3093180" y="149904"/>
                    <a:pt x="3093180" y="149904"/>
                    <a:pt x="3817640" y="873962"/>
                  </a:cubicBezTo>
                  <a:cubicBezTo>
                    <a:pt x="3815427" y="878635"/>
                    <a:pt x="3814443" y="883308"/>
                    <a:pt x="3814443" y="888596"/>
                  </a:cubicBezTo>
                  <a:cubicBezTo>
                    <a:pt x="3814443" y="908026"/>
                    <a:pt x="3830182" y="923766"/>
                    <a:pt x="3849609" y="923766"/>
                  </a:cubicBezTo>
                  <a:close/>
                  <a:moveTo>
                    <a:pt x="1257336" y="948706"/>
                  </a:moveTo>
                  <a:cubicBezTo>
                    <a:pt x="1257336" y="948706"/>
                    <a:pt x="1257336" y="948706"/>
                    <a:pt x="1644114" y="948706"/>
                  </a:cubicBezTo>
                  <a:cubicBezTo>
                    <a:pt x="1644114" y="948706"/>
                    <a:pt x="1644114" y="948706"/>
                    <a:pt x="1960691" y="632132"/>
                  </a:cubicBezTo>
                  <a:cubicBezTo>
                    <a:pt x="1960691" y="632132"/>
                    <a:pt x="1960691" y="632132"/>
                    <a:pt x="2118919" y="632132"/>
                  </a:cubicBezTo>
                  <a:cubicBezTo>
                    <a:pt x="2118919" y="632132"/>
                    <a:pt x="2118919" y="632132"/>
                    <a:pt x="2262516" y="488536"/>
                  </a:cubicBezTo>
                  <a:cubicBezTo>
                    <a:pt x="2267311" y="490626"/>
                    <a:pt x="2271982" y="491732"/>
                    <a:pt x="2277269" y="491732"/>
                  </a:cubicBezTo>
                  <a:cubicBezTo>
                    <a:pt x="2296694" y="491732"/>
                    <a:pt x="2312307" y="475996"/>
                    <a:pt x="2312307" y="456571"/>
                  </a:cubicBezTo>
                  <a:cubicBezTo>
                    <a:pt x="2312307" y="437146"/>
                    <a:pt x="2296694" y="421533"/>
                    <a:pt x="2277269" y="421533"/>
                  </a:cubicBezTo>
                  <a:cubicBezTo>
                    <a:pt x="2257844" y="421533"/>
                    <a:pt x="2242107" y="437146"/>
                    <a:pt x="2242107" y="456571"/>
                  </a:cubicBezTo>
                  <a:cubicBezTo>
                    <a:pt x="2242107" y="466037"/>
                    <a:pt x="2245795" y="474889"/>
                    <a:pt x="2252558" y="481282"/>
                  </a:cubicBezTo>
                  <a:cubicBezTo>
                    <a:pt x="2252558" y="481282"/>
                    <a:pt x="2252558" y="481282"/>
                    <a:pt x="2118919" y="614920"/>
                  </a:cubicBezTo>
                  <a:cubicBezTo>
                    <a:pt x="2118919" y="614920"/>
                    <a:pt x="2118919" y="614920"/>
                    <a:pt x="1960691" y="614920"/>
                  </a:cubicBezTo>
                  <a:cubicBezTo>
                    <a:pt x="1960691" y="614920"/>
                    <a:pt x="1960691" y="614920"/>
                    <a:pt x="1644114" y="931494"/>
                  </a:cubicBezTo>
                  <a:cubicBezTo>
                    <a:pt x="1644114" y="931494"/>
                    <a:pt x="1644114" y="931494"/>
                    <a:pt x="1257336" y="931494"/>
                  </a:cubicBezTo>
                  <a:cubicBezTo>
                    <a:pt x="1257336" y="931494"/>
                    <a:pt x="1257336" y="931494"/>
                    <a:pt x="518327" y="192492"/>
                  </a:cubicBezTo>
                  <a:cubicBezTo>
                    <a:pt x="518327" y="192492"/>
                    <a:pt x="518327" y="192492"/>
                    <a:pt x="518327" y="16809"/>
                  </a:cubicBezTo>
                  <a:cubicBezTo>
                    <a:pt x="518327" y="16809"/>
                    <a:pt x="518327" y="16809"/>
                    <a:pt x="1" y="16809"/>
                  </a:cubicBezTo>
                  <a:cubicBezTo>
                    <a:pt x="1" y="16809"/>
                    <a:pt x="1" y="16809"/>
                    <a:pt x="1" y="34635"/>
                  </a:cubicBezTo>
                  <a:cubicBezTo>
                    <a:pt x="1" y="34635"/>
                    <a:pt x="1" y="34635"/>
                    <a:pt x="500992" y="34635"/>
                  </a:cubicBezTo>
                  <a:cubicBezTo>
                    <a:pt x="500992" y="34635"/>
                    <a:pt x="500992" y="34635"/>
                    <a:pt x="500992" y="192492"/>
                  </a:cubicBezTo>
                  <a:cubicBezTo>
                    <a:pt x="500992" y="192492"/>
                    <a:pt x="500992" y="192492"/>
                    <a:pt x="1257336" y="948706"/>
                  </a:cubicBezTo>
                  <a:close/>
                  <a:moveTo>
                    <a:pt x="1274671" y="1044674"/>
                  </a:moveTo>
                  <a:cubicBezTo>
                    <a:pt x="1274671" y="1044674"/>
                    <a:pt x="1274671" y="1044674"/>
                    <a:pt x="1661940" y="1044674"/>
                  </a:cubicBezTo>
                  <a:cubicBezTo>
                    <a:pt x="1661940" y="1044674"/>
                    <a:pt x="1661940" y="1044674"/>
                    <a:pt x="1995853" y="710799"/>
                  </a:cubicBezTo>
                  <a:cubicBezTo>
                    <a:pt x="1995853" y="710799"/>
                    <a:pt x="1995853" y="710799"/>
                    <a:pt x="2243214" y="710799"/>
                  </a:cubicBezTo>
                  <a:cubicBezTo>
                    <a:pt x="2246287" y="726540"/>
                    <a:pt x="2260426" y="738099"/>
                    <a:pt x="2277269" y="738099"/>
                  </a:cubicBezTo>
                  <a:cubicBezTo>
                    <a:pt x="2296694" y="738099"/>
                    <a:pt x="2312307" y="722359"/>
                    <a:pt x="2312307" y="702929"/>
                  </a:cubicBezTo>
                  <a:cubicBezTo>
                    <a:pt x="2312307" y="683499"/>
                    <a:pt x="2296694" y="667759"/>
                    <a:pt x="2277269" y="667759"/>
                  </a:cubicBezTo>
                  <a:cubicBezTo>
                    <a:pt x="2261041" y="667759"/>
                    <a:pt x="2247885" y="678211"/>
                    <a:pt x="2243706" y="692968"/>
                  </a:cubicBezTo>
                  <a:cubicBezTo>
                    <a:pt x="2243706" y="692968"/>
                    <a:pt x="2243706" y="692968"/>
                    <a:pt x="1995853" y="692968"/>
                  </a:cubicBezTo>
                  <a:cubicBezTo>
                    <a:pt x="1995853" y="692968"/>
                    <a:pt x="1995853" y="692968"/>
                    <a:pt x="1661940" y="1027457"/>
                  </a:cubicBezTo>
                  <a:cubicBezTo>
                    <a:pt x="1661940" y="1027457"/>
                    <a:pt x="1661940" y="1027457"/>
                    <a:pt x="1274671" y="1027457"/>
                  </a:cubicBezTo>
                  <a:cubicBezTo>
                    <a:pt x="1274671" y="1027457"/>
                    <a:pt x="1274671" y="1027457"/>
                    <a:pt x="448127" y="200211"/>
                  </a:cubicBezTo>
                  <a:cubicBezTo>
                    <a:pt x="448127" y="200211"/>
                    <a:pt x="448127" y="200211"/>
                    <a:pt x="448127" y="77484"/>
                  </a:cubicBezTo>
                  <a:cubicBezTo>
                    <a:pt x="448127" y="77484"/>
                    <a:pt x="448127" y="77484"/>
                    <a:pt x="239493" y="76992"/>
                  </a:cubicBezTo>
                  <a:cubicBezTo>
                    <a:pt x="239493" y="76992"/>
                    <a:pt x="239493" y="76992"/>
                    <a:pt x="1" y="76992"/>
                  </a:cubicBezTo>
                  <a:cubicBezTo>
                    <a:pt x="1" y="76992"/>
                    <a:pt x="1" y="76992"/>
                    <a:pt x="1" y="94822"/>
                  </a:cubicBezTo>
                  <a:cubicBezTo>
                    <a:pt x="1" y="94822"/>
                    <a:pt x="1" y="94822"/>
                    <a:pt x="430792" y="94822"/>
                  </a:cubicBezTo>
                  <a:cubicBezTo>
                    <a:pt x="430792" y="94822"/>
                    <a:pt x="430792" y="94822"/>
                    <a:pt x="430792" y="200211"/>
                  </a:cubicBezTo>
                  <a:cubicBezTo>
                    <a:pt x="430792" y="200211"/>
                    <a:pt x="430792" y="200211"/>
                    <a:pt x="1274671" y="1044674"/>
                  </a:cubicBezTo>
                  <a:close/>
                  <a:moveTo>
                    <a:pt x="3849078" y="1046843"/>
                  </a:moveTo>
                  <a:cubicBezTo>
                    <a:pt x="3868376" y="1046843"/>
                    <a:pt x="3884110" y="1031103"/>
                    <a:pt x="3884110" y="1011796"/>
                  </a:cubicBezTo>
                  <a:cubicBezTo>
                    <a:pt x="3884110" y="992367"/>
                    <a:pt x="3868376" y="976627"/>
                    <a:pt x="3849078" y="976627"/>
                  </a:cubicBezTo>
                  <a:cubicBezTo>
                    <a:pt x="3838999" y="976627"/>
                    <a:pt x="3830640" y="980316"/>
                    <a:pt x="3824371" y="986588"/>
                  </a:cubicBezTo>
                  <a:cubicBezTo>
                    <a:pt x="3824371" y="986588"/>
                    <a:pt x="3824371" y="986588"/>
                    <a:pt x="3039905" y="202410"/>
                  </a:cubicBezTo>
                  <a:cubicBezTo>
                    <a:pt x="3039905" y="202410"/>
                    <a:pt x="3039905" y="202410"/>
                    <a:pt x="3039905" y="2"/>
                  </a:cubicBezTo>
                  <a:cubicBezTo>
                    <a:pt x="3039905" y="2"/>
                    <a:pt x="3039905" y="2"/>
                    <a:pt x="3022696" y="2"/>
                  </a:cubicBezTo>
                  <a:cubicBezTo>
                    <a:pt x="3022696" y="2"/>
                    <a:pt x="3022696" y="2"/>
                    <a:pt x="3022696" y="202410"/>
                  </a:cubicBezTo>
                  <a:cubicBezTo>
                    <a:pt x="3022696" y="202410"/>
                    <a:pt x="3022696" y="202410"/>
                    <a:pt x="3817119" y="997040"/>
                  </a:cubicBezTo>
                  <a:cubicBezTo>
                    <a:pt x="3814906" y="1001836"/>
                    <a:pt x="3813923" y="1006509"/>
                    <a:pt x="3813923" y="1011796"/>
                  </a:cubicBezTo>
                  <a:cubicBezTo>
                    <a:pt x="3813923" y="1031103"/>
                    <a:pt x="3829656" y="1046843"/>
                    <a:pt x="3849078" y="1046843"/>
                  </a:cubicBezTo>
                  <a:close/>
                  <a:moveTo>
                    <a:pt x="4387470" y="1046843"/>
                  </a:moveTo>
                  <a:cubicBezTo>
                    <a:pt x="4406768" y="1046843"/>
                    <a:pt x="4422502" y="1031103"/>
                    <a:pt x="4422502" y="1011796"/>
                  </a:cubicBezTo>
                  <a:cubicBezTo>
                    <a:pt x="4422502" y="992367"/>
                    <a:pt x="4406768" y="976627"/>
                    <a:pt x="4387470" y="976627"/>
                  </a:cubicBezTo>
                  <a:cubicBezTo>
                    <a:pt x="4377514" y="976627"/>
                    <a:pt x="4369032" y="980316"/>
                    <a:pt x="4362272" y="986588"/>
                  </a:cubicBezTo>
                  <a:cubicBezTo>
                    <a:pt x="4362272" y="986588"/>
                    <a:pt x="4362272" y="986588"/>
                    <a:pt x="3578420" y="202410"/>
                  </a:cubicBezTo>
                  <a:cubicBezTo>
                    <a:pt x="3578420" y="202410"/>
                    <a:pt x="3578420" y="202410"/>
                    <a:pt x="3578420" y="2"/>
                  </a:cubicBezTo>
                  <a:cubicBezTo>
                    <a:pt x="3578420" y="2"/>
                    <a:pt x="3578420" y="2"/>
                    <a:pt x="3561089" y="2"/>
                  </a:cubicBezTo>
                  <a:cubicBezTo>
                    <a:pt x="3561089" y="2"/>
                    <a:pt x="3561089" y="2"/>
                    <a:pt x="3561089" y="202410"/>
                  </a:cubicBezTo>
                  <a:cubicBezTo>
                    <a:pt x="3561089" y="202410"/>
                    <a:pt x="3561089" y="202410"/>
                    <a:pt x="4355511" y="997040"/>
                  </a:cubicBezTo>
                  <a:cubicBezTo>
                    <a:pt x="4353422" y="1001836"/>
                    <a:pt x="4352315" y="1006509"/>
                    <a:pt x="4352315" y="1011796"/>
                  </a:cubicBezTo>
                  <a:cubicBezTo>
                    <a:pt x="4352315" y="1031103"/>
                    <a:pt x="4368049" y="1046843"/>
                    <a:pt x="4387470" y="1046843"/>
                  </a:cubicBezTo>
                  <a:close/>
                  <a:moveTo>
                    <a:pt x="1029022" y="1062025"/>
                  </a:moveTo>
                  <a:cubicBezTo>
                    <a:pt x="1048451" y="1062025"/>
                    <a:pt x="1064192" y="1046295"/>
                    <a:pt x="1064192" y="1027001"/>
                  </a:cubicBezTo>
                  <a:cubicBezTo>
                    <a:pt x="1064192" y="1007585"/>
                    <a:pt x="1048451" y="991855"/>
                    <a:pt x="1029022" y="991855"/>
                  </a:cubicBezTo>
                  <a:cubicBezTo>
                    <a:pt x="1023857" y="991855"/>
                    <a:pt x="1018569" y="992961"/>
                    <a:pt x="1014388" y="995050"/>
                  </a:cubicBezTo>
                  <a:cubicBezTo>
                    <a:pt x="1014388" y="995050"/>
                    <a:pt x="1014388" y="995050"/>
                    <a:pt x="782712" y="763402"/>
                  </a:cubicBezTo>
                  <a:cubicBezTo>
                    <a:pt x="782712" y="763402"/>
                    <a:pt x="782712" y="763402"/>
                    <a:pt x="342845" y="763402"/>
                  </a:cubicBezTo>
                  <a:cubicBezTo>
                    <a:pt x="342845" y="763402"/>
                    <a:pt x="342845" y="763402"/>
                    <a:pt x="219628" y="886538"/>
                  </a:cubicBezTo>
                  <a:cubicBezTo>
                    <a:pt x="219628" y="886538"/>
                    <a:pt x="219628" y="886538"/>
                    <a:pt x="2" y="886538"/>
                  </a:cubicBezTo>
                  <a:cubicBezTo>
                    <a:pt x="2" y="886538"/>
                    <a:pt x="2" y="886538"/>
                    <a:pt x="2" y="903865"/>
                  </a:cubicBezTo>
                  <a:cubicBezTo>
                    <a:pt x="2" y="903865"/>
                    <a:pt x="2" y="903865"/>
                    <a:pt x="219628" y="903865"/>
                  </a:cubicBezTo>
                  <a:cubicBezTo>
                    <a:pt x="219628" y="903865"/>
                    <a:pt x="219628" y="903865"/>
                    <a:pt x="342845" y="780730"/>
                  </a:cubicBezTo>
                  <a:cubicBezTo>
                    <a:pt x="342845" y="780730"/>
                    <a:pt x="342845" y="780730"/>
                    <a:pt x="782712" y="780730"/>
                  </a:cubicBezTo>
                  <a:cubicBezTo>
                    <a:pt x="782712" y="780730"/>
                    <a:pt x="782712" y="780730"/>
                    <a:pt x="1003935" y="1002300"/>
                  </a:cubicBezTo>
                  <a:cubicBezTo>
                    <a:pt x="997664" y="1008691"/>
                    <a:pt x="993360" y="1017539"/>
                    <a:pt x="993360" y="1027001"/>
                  </a:cubicBezTo>
                  <a:cubicBezTo>
                    <a:pt x="993360" y="1046295"/>
                    <a:pt x="1009716" y="1062025"/>
                    <a:pt x="1029022" y="1062025"/>
                  </a:cubicBezTo>
                  <a:close/>
                  <a:moveTo>
                    <a:pt x="905418" y="1062566"/>
                  </a:moveTo>
                  <a:cubicBezTo>
                    <a:pt x="924840" y="1062566"/>
                    <a:pt x="940573" y="1046816"/>
                    <a:pt x="940573" y="1027497"/>
                  </a:cubicBezTo>
                  <a:cubicBezTo>
                    <a:pt x="940573" y="1008055"/>
                    <a:pt x="924840" y="992304"/>
                    <a:pt x="905418" y="992304"/>
                  </a:cubicBezTo>
                  <a:cubicBezTo>
                    <a:pt x="900256" y="992304"/>
                    <a:pt x="894971" y="993411"/>
                    <a:pt x="890792" y="995503"/>
                  </a:cubicBezTo>
                  <a:cubicBezTo>
                    <a:pt x="890792" y="995503"/>
                    <a:pt x="890792" y="995503"/>
                    <a:pt x="747223" y="851779"/>
                  </a:cubicBezTo>
                  <a:cubicBezTo>
                    <a:pt x="747223" y="851779"/>
                    <a:pt x="747223" y="851779"/>
                    <a:pt x="342699" y="851779"/>
                  </a:cubicBezTo>
                  <a:cubicBezTo>
                    <a:pt x="342699" y="851779"/>
                    <a:pt x="342699" y="851779"/>
                    <a:pt x="254689" y="939392"/>
                  </a:cubicBezTo>
                  <a:cubicBezTo>
                    <a:pt x="254689" y="939392"/>
                    <a:pt x="254689" y="939392"/>
                    <a:pt x="2" y="939392"/>
                  </a:cubicBezTo>
                  <a:cubicBezTo>
                    <a:pt x="2" y="939392"/>
                    <a:pt x="2" y="939392"/>
                    <a:pt x="2" y="957111"/>
                  </a:cubicBezTo>
                  <a:cubicBezTo>
                    <a:pt x="2" y="957111"/>
                    <a:pt x="2" y="957111"/>
                    <a:pt x="254689" y="957111"/>
                  </a:cubicBezTo>
                  <a:cubicBezTo>
                    <a:pt x="254689" y="957111"/>
                    <a:pt x="254689" y="957111"/>
                    <a:pt x="342699" y="869006"/>
                  </a:cubicBezTo>
                  <a:cubicBezTo>
                    <a:pt x="342699" y="869006"/>
                    <a:pt x="342699" y="869006"/>
                    <a:pt x="747223" y="869006"/>
                  </a:cubicBezTo>
                  <a:cubicBezTo>
                    <a:pt x="747223" y="869006"/>
                    <a:pt x="747223" y="869006"/>
                    <a:pt x="880343" y="1002763"/>
                  </a:cubicBezTo>
                  <a:cubicBezTo>
                    <a:pt x="874075" y="1009162"/>
                    <a:pt x="870387" y="1018022"/>
                    <a:pt x="870387" y="1027497"/>
                  </a:cubicBezTo>
                  <a:cubicBezTo>
                    <a:pt x="870387" y="1046816"/>
                    <a:pt x="886120" y="1062566"/>
                    <a:pt x="905418" y="1062566"/>
                  </a:cubicBezTo>
                  <a:close/>
                  <a:moveTo>
                    <a:pt x="1151612" y="1062567"/>
                  </a:moveTo>
                  <a:cubicBezTo>
                    <a:pt x="1171530" y="1062567"/>
                    <a:pt x="1187269" y="1046824"/>
                    <a:pt x="1187269" y="1027514"/>
                  </a:cubicBezTo>
                  <a:cubicBezTo>
                    <a:pt x="1187269" y="1008080"/>
                    <a:pt x="1171530" y="992337"/>
                    <a:pt x="1151612" y="992337"/>
                  </a:cubicBezTo>
                  <a:cubicBezTo>
                    <a:pt x="1146816" y="992337"/>
                    <a:pt x="1141652" y="993444"/>
                    <a:pt x="1137471" y="995535"/>
                  </a:cubicBezTo>
                  <a:cubicBezTo>
                    <a:pt x="1137471" y="995535"/>
                    <a:pt x="1137471" y="995535"/>
                    <a:pt x="834999" y="693460"/>
                  </a:cubicBezTo>
                  <a:cubicBezTo>
                    <a:pt x="834999" y="693460"/>
                    <a:pt x="834999" y="693460"/>
                    <a:pt x="307639" y="693460"/>
                  </a:cubicBezTo>
                  <a:cubicBezTo>
                    <a:pt x="307639" y="693460"/>
                    <a:pt x="307639" y="693460"/>
                    <a:pt x="166730" y="834043"/>
                  </a:cubicBezTo>
                  <a:cubicBezTo>
                    <a:pt x="166730" y="834043"/>
                    <a:pt x="166730" y="834043"/>
                    <a:pt x="2" y="834043"/>
                  </a:cubicBezTo>
                  <a:cubicBezTo>
                    <a:pt x="2" y="834043"/>
                    <a:pt x="2" y="834043"/>
                    <a:pt x="2" y="851877"/>
                  </a:cubicBezTo>
                  <a:cubicBezTo>
                    <a:pt x="2" y="851877"/>
                    <a:pt x="2" y="851877"/>
                    <a:pt x="166730" y="851877"/>
                  </a:cubicBezTo>
                  <a:cubicBezTo>
                    <a:pt x="166730" y="851877"/>
                    <a:pt x="166730" y="851877"/>
                    <a:pt x="307639" y="710803"/>
                  </a:cubicBezTo>
                  <a:cubicBezTo>
                    <a:pt x="307639" y="710803"/>
                    <a:pt x="307639" y="710803"/>
                    <a:pt x="834999" y="710803"/>
                  </a:cubicBezTo>
                  <a:cubicBezTo>
                    <a:pt x="834999" y="710803"/>
                    <a:pt x="834999" y="710803"/>
                    <a:pt x="1127020" y="1002791"/>
                  </a:cubicBezTo>
                  <a:cubicBezTo>
                    <a:pt x="1120626" y="1009187"/>
                    <a:pt x="1116446" y="1018043"/>
                    <a:pt x="1116446" y="1027514"/>
                  </a:cubicBezTo>
                  <a:cubicBezTo>
                    <a:pt x="1116446" y="1046824"/>
                    <a:pt x="1132184" y="1062567"/>
                    <a:pt x="1151612" y="1062567"/>
                  </a:cubicBezTo>
                  <a:close/>
                  <a:moveTo>
                    <a:pt x="782462" y="1062567"/>
                  </a:moveTo>
                  <a:cubicBezTo>
                    <a:pt x="801762" y="1062567"/>
                    <a:pt x="817497" y="1046833"/>
                    <a:pt x="817497" y="1027535"/>
                  </a:cubicBezTo>
                  <a:cubicBezTo>
                    <a:pt x="817497" y="1008114"/>
                    <a:pt x="801762" y="992380"/>
                    <a:pt x="782462" y="992380"/>
                  </a:cubicBezTo>
                  <a:cubicBezTo>
                    <a:pt x="777175" y="992380"/>
                    <a:pt x="772505" y="993486"/>
                    <a:pt x="767710" y="995576"/>
                  </a:cubicBezTo>
                  <a:cubicBezTo>
                    <a:pt x="767710" y="995576"/>
                    <a:pt x="767710" y="995576"/>
                    <a:pt x="676618" y="904371"/>
                  </a:cubicBezTo>
                  <a:cubicBezTo>
                    <a:pt x="676618" y="904371"/>
                    <a:pt x="676618" y="904371"/>
                    <a:pt x="412929" y="904371"/>
                  </a:cubicBezTo>
                  <a:cubicBezTo>
                    <a:pt x="412929" y="904371"/>
                    <a:pt x="412929" y="904371"/>
                    <a:pt x="324910" y="992380"/>
                  </a:cubicBezTo>
                  <a:cubicBezTo>
                    <a:pt x="324910" y="992380"/>
                    <a:pt x="324910" y="992380"/>
                    <a:pt x="2" y="992380"/>
                  </a:cubicBezTo>
                  <a:cubicBezTo>
                    <a:pt x="2" y="992380"/>
                    <a:pt x="2" y="992380"/>
                    <a:pt x="2" y="1010203"/>
                  </a:cubicBezTo>
                  <a:cubicBezTo>
                    <a:pt x="2" y="1010203"/>
                    <a:pt x="2" y="1010203"/>
                    <a:pt x="324910" y="1010203"/>
                  </a:cubicBezTo>
                  <a:cubicBezTo>
                    <a:pt x="324910" y="1010203"/>
                    <a:pt x="324910" y="1010203"/>
                    <a:pt x="412929" y="922194"/>
                  </a:cubicBezTo>
                  <a:cubicBezTo>
                    <a:pt x="412929" y="922194"/>
                    <a:pt x="412929" y="922194"/>
                    <a:pt x="676618" y="922194"/>
                  </a:cubicBezTo>
                  <a:cubicBezTo>
                    <a:pt x="676618" y="922194"/>
                    <a:pt x="676618" y="922194"/>
                    <a:pt x="757260" y="1002828"/>
                  </a:cubicBezTo>
                  <a:cubicBezTo>
                    <a:pt x="750991" y="1009220"/>
                    <a:pt x="747304" y="1018070"/>
                    <a:pt x="747304" y="1027535"/>
                  </a:cubicBezTo>
                  <a:cubicBezTo>
                    <a:pt x="747304" y="1046833"/>
                    <a:pt x="763038" y="1062567"/>
                    <a:pt x="782462" y="1062567"/>
                  </a:cubicBezTo>
                  <a:close/>
                  <a:moveTo>
                    <a:pt x="2" y="1088050"/>
                  </a:moveTo>
                  <a:cubicBezTo>
                    <a:pt x="2" y="1088050"/>
                    <a:pt x="2" y="1088050"/>
                    <a:pt x="395777" y="1088050"/>
                  </a:cubicBezTo>
                  <a:cubicBezTo>
                    <a:pt x="395777" y="1088050"/>
                    <a:pt x="395777" y="1088050"/>
                    <a:pt x="465980" y="1035212"/>
                  </a:cubicBezTo>
                  <a:cubicBezTo>
                    <a:pt x="465980" y="1035212"/>
                    <a:pt x="465980" y="1035212"/>
                    <a:pt x="624832" y="1035212"/>
                  </a:cubicBezTo>
                  <a:cubicBezTo>
                    <a:pt x="628397" y="1050941"/>
                    <a:pt x="642660" y="1062368"/>
                    <a:pt x="659380" y="1062368"/>
                  </a:cubicBezTo>
                  <a:cubicBezTo>
                    <a:pt x="678807" y="1062368"/>
                    <a:pt x="694422" y="1046640"/>
                    <a:pt x="694422" y="1027348"/>
                  </a:cubicBezTo>
                  <a:cubicBezTo>
                    <a:pt x="694422" y="1007934"/>
                    <a:pt x="678807" y="992205"/>
                    <a:pt x="659380" y="992205"/>
                  </a:cubicBezTo>
                  <a:cubicBezTo>
                    <a:pt x="643152" y="992205"/>
                    <a:pt x="629504" y="1003264"/>
                    <a:pt x="625323" y="1017887"/>
                  </a:cubicBezTo>
                  <a:cubicBezTo>
                    <a:pt x="625323" y="1017887"/>
                    <a:pt x="625323" y="1017887"/>
                    <a:pt x="465980" y="1017395"/>
                  </a:cubicBezTo>
                  <a:cubicBezTo>
                    <a:pt x="465980" y="1017395"/>
                    <a:pt x="465980" y="1017395"/>
                    <a:pt x="395777" y="1070232"/>
                  </a:cubicBezTo>
                  <a:cubicBezTo>
                    <a:pt x="395777" y="1070232"/>
                    <a:pt x="395777" y="1070232"/>
                    <a:pt x="213811" y="1070232"/>
                  </a:cubicBezTo>
                  <a:cubicBezTo>
                    <a:pt x="213811" y="1070232"/>
                    <a:pt x="213811" y="1070232"/>
                    <a:pt x="2" y="1070232"/>
                  </a:cubicBezTo>
                  <a:cubicBezTo>
                    <a:pt x="2" y="1070232"/>
                    <a:pt x="2" y="1070232"/>
                    <a:pt x="2" y="1088050"/>
                  </a:cubicBezTo>
                  <a:close/>
                  <a:moveTo>
                    <a:pt x="2" y="1119497"/>
                  </a:moveTo>
                  <a:cubicBezTo>
                    <a:pt x="2" y="1119497"/>
                    <a:pt x="2" y="1119497"/>
                    <a:pt x="741184" y="1119497"/>
                  </a:cubicBezTo>
                  <a:cubicBezTo>
                    <a:pt x="741184" y="1119497"/>
                    <a:pt x="741184" y="1119497"/>
                    <a:pt x="2145962" y="1119497"/>
                  </a:cubicBezTo>
                  <a:cubicBezTo>
                    <a:pt x="2145962" y="1119497"/>
                    <a:pt x="2145962" y="1119497"/>
                    <a:pt x="2322036" y="943834"/>
                  </a:cubicBezTo>
                  <a:cubicBezTo>
                    <a:pt x="2322036" y="943834"/>
                    <a:pt x="2322036" y="943834"/>
                    <a:pt x="2831937" y="943834"/>
                  </a:cubicBezTo>
                  <a:cubicBezTo>
                    <a:pt x="2831937" y="943834"/>
                    <a:pt x="2831937" y="943834"/>
                    <a:pt x="2982928" y="792774"/>
                  </a:cubicBezTo>
                  <a:cubicBezTo>
                    <a:pt x="2989199" y="799048"/>
                    <a:pt x="2998051" y="802738"/>
                    <a:pt x="3008011" y="802738"/>
                  </a:cubicBezTo>
                  <a:cubicBezTo>
                    <a:pt x="3027438" y="802738"/>
                    <a:pt x="3043176" y="786992"/>
                    <a:pt x="3043176" y="767556"/>
                  </a:cubicBezTo>
                  <a:cubicBezTo>
                    <a:pt x="3043176" y="748243"/>
                    <a:pt x="3027438" y="732498"/>
                    <a:pt x="3008011" y="732498"/>
                  </a:cubicBezTo>
                  <a:cubicBezTo>
                    <a:pt x="2988092" y="732498"/>
                    <a:pt x="2972477" y="748243"/>
                    <a:pt x="2972477" y="767556"/>
                  </a:cubicBezTo>
                  <a:cubicBezTo>
                    <a:pt x="2972477" y="772846"/>
                    <a:pt x="2973952" y="778136"/>
                    <a:pt x="2975550" y="782318"/>
                  </a:cubicBezTo>
                  <a:cubicBezTo>
                    <a:pt x="2975550" y="782318"/>
                    <a:pt x="2975550" y="782318"/>
                    <a:pt x="2831937" y="925997"/>
                  </a:cubicBezTo>
                  <a:cubicBezTo>
                    <a:pt x="2831937" y="925997"/>
                    <a:pt x="2831937" y="925997"/>
                    <a:pt x="2322036" y="925997"/>
                  </a:cubicBezTo>
                  <a:cubicBezTo>
                    <a:pt x="2322036" y="925997"/>
                    <a:pt x="2322036" y="925997"/>
                    <a:pt x="2145962" y="1102152"/>
                  </a:cubicBezTo>
                  <a:cubicBezTo>
                    <a:pt x="2145962" y="1102152"/>
                    <a:pt x="2145962" y="1102152"/>
                    <a:pt x="2" y="1102152"/>
                  </a:cubicBezTo>
                  <a:cubicBezTo>
                    <a:pt x="2" y="1102152"/>
                    <a:pt x="2" y="1102152"/>
                    <a:pt x="2" y="1119497"/>
                  </a:cubicBezTo>
                  <a:close/>
                  <a:moveTo>
                    <a:pt x="2" y="1167751"/>
                  </a:moveTo>
                  <a:cubicBezTo>
                    <a:pt x="2" y="1167751"/>
                    <a:pt x="2" y="1167751"/>
                    <a:pt x="1372839" y="1167751"/>
                  </a:cubicBezTo>
                  <a:cubicBezTo>
                    <a:pt x="1372839" y="1167751"/>
                    <a:pt x="1372839" y="1167751"/>
                    <a:pt x="1398538" y="1167751"/>
                  </a:cubicBezTo>
                  <a:cubicBezTo>
                    <a:pt x="1398538" y="1167751"/>
                    <a:pt x="1398538" y="1167751"/>
                    <a:pt x="2785885" y="1167751"/>
                  </a:cubicBezTo>
                  <a:cubicBezTo>
                    <a:pt x="2785885" y="1167751"/>
                    <a:pt x="2785885" y="1167751"/>
                    <a:pt x="3102504" y="851295"/>
                  </a:cubicBezTo>
                  <a:cubicBezTo>
                    <a:pt x="3102504" y="851295"/>
                    <a:pt x="3102504" y="851295"/>
                    <a:pt x="3402279" y="851295"/>
                  </a:cubicBezTo>
                  <a:cubicBezTo>
                    <a:pt x="3405968" y="867026"/>
                    <a:pt x="3419616" y="878578"/>
                    <a:pt x="3436338" y="878578"/>
                  </a:cubicBezTo>
                  <a:cubicBezTo>
                    <a:pt x="3455766" y="878578"/>
                    <a:pt x="3471505" y="862847"/>
                    <a:pt x="3471505" y="843430"/>
                  </a:cubicBezTo>
                  <a:cubicBezTo>
                    <a:pt x="3471505" y="824135"/>
                    <a:pt x="3455766" y="808405"/>
                    <a:pt x="3436338" y="808405"/>
                  </a:cubicBezTo>
                  <a:cubicBezTo>
                    <a:pt x="3420600" y="808405"/>
                    <a:pt x="3407074" y="818850"/>
                    <a:pt x="3402771" y="833475"/>
                  </a:cubicBezTo>
                  <a:cubicBezTo>
                    <a:pt x="3402771" y="833475"/>
                    <a:pt x="3402771" y="833475"/>
                    <a:pt x="3102504" y="833475"/>
                  </a:cubicBezTo>
                  <a:cubicBezTo>
                    <a:pt x="3102504" y="833475"/>
                    <a:pt x="3102504" y="833475"/>
                    <a:pt x="2785885" y="1149932"/>
                  </a:cubicBezTo>
                  <a:cubicBezTo>
                    <a:pt x="2785885" y="1149932"/>
                    <a:pt x="2785885" y="1149932"/>
                    <a:pt x="1398538" y="1149932"/>
                  </a:cubicBezTo>
                  <a:cubicBezTo>
                    <a:pt x="1398538" y="1149932"/>
                    <a:pt x="1398538" y="1149932"/>
                    <a:pt x="2" y="1149932"/>
                  </a:cubicBezTo>
                  <a:cubicBezTo>
                    <a:pt x="2" y="1149932"/>
                    <a:pt x="2" y="1149932"/>
                    <a:pt x="2" y="1167751"/>
                  </a:cubicBezTo>
                  <a:close/>
                  <a:moveTo>
                    <a:pt x="2" y="1238236"/>
                  </a:moveTo>
                  <a:cubicBezTo>
                    <a:pt x="2" y="1238236"/>
                    <a:pt x="2" y="1238236"/>
                    <a:pt x="1372839" y="1238236"/>
                  </a:cubicBezTo>
                  <a:cubicBezTo>
                    <a:pt x="1372839" y="1238236"/>
                    <a:pt x="1372839" y="1238236"/>
                    <a:pt x="2785885" y="1238236"/>
                  </a:cubicBezTo>
                  <a:cubicBezTo>
                    <a:pt x="2785885" y="1238236"/>
                    <a:pt x="2785885" y="1238236"/>
                    <a:pt x="3031680" y="991878"/>
                  </a:cubicBezTo>
                  <a:cubicBezTo>
                    <a:pt x="3031680" y="991878"/>
                    <a:pt x="3031680" y="991878"/>
                    <a:pt x="3402279" y="991878"/>
                  </a:cubicBezTo>
                  <a:cubicBezTo>
                    <a:pt x="3405968" y="1007622"/>
                    <a:pt x="3419616" y="1019675"/>
                    <a:pt x="3436338" y="1019675"/>
                  </a:cubicBezTo>
                  <a:cubicBezTo>
                    <a:pt x="3455766" y="1019675"/>
                    <a:pt x="3471505" y="1003932"/>
                    <a:pt x="3471505" y="984499"/>
                  </a:cubicBezTo>
                  <a:cubicBezTo>
                    <a:pt x="3471505" y="964574"/>
                    <a:pt x="3455766" y="948831"/>
                    <a:pt x="3436338" y="948831"/>
                  </a:cubicBezTo>
                  <a:cubicBezTo>
                    <a:pt x="3420600" y="948831"/>
                    <a:pt x="3407074" y="959900"/>
                    <a:pt x="3402771" y="974536"/>
                  </a:cubicBezTo>
                  <a:cubicBezTo>
                    <a:pt x="3402771" y="974536"/>
                    <a:pt x="3402771" y="974536"/>
                    <a:pt x="3031680" y="974536"/>
                  </a:cubicBezTo>
                  <a:cubicBezTo>
                    <a:pt x="3031680" y="974536"/>
                    <a:pt x="3031680" y="974536"/>
                    <a:pt x="2785885" y="1221017"/>
                  </a:cubicBezTo>
                  <a:cubicBezTo>
                    <a:pt x="2785885" y="1221017"/>
                    <a:pt x="2785885" y="1221017"/>
                    <a:pt x="1398538" y="1221017"/>
                  </a:cubicBezTo>
                  <a:cubicBezTo>
                    <a:pt x="1398538" y="1221017"/>
                    <a:pt x="1398538" y="1221017"/>
                    <a:pt x="2" y="1221017"/>
                  </a:cubicBezTo>
                  <a:cubicBezTo>
                    <a:pt x="2" y="1221017"/>
                    <a:pt x="2" y="1221017"/>
                    <a:pt x="2" y="1238236"/>
                  </a:cubicBezTo>
                  <a:close/>
                  <a:moveTo>
                    <a:pt x="2" y="1326071"/>
                  </a:moveTo>
                  <a:cubicBezTo>
                    <a:pt x="2" y="1326071"/>
                    <a:pt x="2" y="1326071"/>
                    <a:pt x="2838059" y="1326071"/>
                  </a:cubicBezTo>
                  <a:cubicBezTo>
                    <a:pt x="2838059" y="1326071"/>
                    <a:pt x="2838059" y="1326071"/>
                    <a:pt x="2996418" y="1167721"/>
                  </a:cubicBezTo>
                  <a:cubicBezTo>
                    <a:pt x="2996418" y="1167721"/>
                    <a:pt x="2996418" y="1167721"/>
                    <a:pt x="3524120" y="1167721"/>
                  </a:cubicBezTo>
                  <a:cubicBezTo>
                    <a:pt x="3524120" y="1167721"/>
                    <a:pt x="3524120" y="1167721"/>
                    <a:pt x="3612276" y="1079695"/>
                  </a:cubicBezTo>
                  <a:cubicBezTo>
                    <a:pt x="3612276" y="1079695"/>
                    <a:pt x="3612276" y="1079695"/>
                    <a:pt x="3630595" y="1079695"/>
                  </a:cubicBezTo>
                  <a:cubicBezTo>
                    <a:pt x="3634283" y="1095432"/>
                    <a:pt x="3648423" y="1106988"/>
                    <a:pt x="3664652" y="1106988"/>
                  </a:cubicBezTo>
                  <a:cubicBezTo>
                    <a:pt x="3684570" y="1106988"/>
                    <a:pt x="3700308" y="1091252"/>
                    <a:pt x="3700308" y="1071827"/>
                  </a:cubicBezTo>
                  <a:cubicBezTo>
                    <a:pt x="3700308" y="1052402"/>
                    <a:pt x="3684570" y="1036665"/>
                    <a:pt x="3664652" y="1036665"/>
                  </a:cubicBezTo>
                  <a:cubicBezTo>
                    <a:pt x="3648915" y="1036665"/>
                    <a:pt x="3635267" y="1047730"/>
                    <a:pt x="3631087" y="1062360"/>
                  </a:cubicBezTo>
                  <a:cubicBezTo>
                    <a:pt x="3631087" y="1062360"/>
                    <a:pt x="3631087" y="1062360"/>
                    <a:pt x="3612276" y="1062360"/>
                  </a:cubicBezTo>
                  <a:cubicBezTo>
                    <a:pt x="3612276" y="1062360"/>
                    <a:pt x="3612276" y="1062360"/>
                    <a:pt x="3524120" y="1149895"/>
                  </a:cubicBezTo>
                  <a:cubicBezTo>
                    <a:pt x="3524120" y="1149895"/>
                    <a:pt x="3524120" y="1149895"/>
                    <a:pt x="2996418" y="1149895"/>
                  </a:cubicBezTo>
                  <a:cubicBezTo>
                    <a:pt x="2996418" y="1149895"/>
                    <a:pt x="2996418" y="1149895"/>
                    <a:pt x="2838059" y="1308244"/>
                  </a:cubicBezTo>
                  <a:cubicBezTo>
                    <a:pt x="2838059" y="1308244"/>
                    <a:pt x="2838059" y="1308244"/>
                    <a:pt x="2" y="1308244"/>
                  </a:cubicBezTo>
                  <a:cubicBezTo>
                    <a:pt x="2" y="1308244"/>
                    <a:pt x="2" y="1308244"/>
                    <a:pt x="2" y="1326071"/>
                  </a:cubicBezTo>
                  <a:close/>
                  <a:moveTo>
                    <a:pt x="2" y="1378663"/>
                  </a:moveTo>
                  <a:cubicBezTo>
                    <a:pt x="2" y="1378663"/>
                    <a:pt x="2" y="1378663"/>
                    <a:pt x="1372739" y="1378663"/>
                  </a:cubicBezTo>
                  <a:cubicBezTo>
                    <a:pt x="1372739" y="1378663"/>
                    <a:pt x="1372739" y="1378663"/>
                    <a:pt x="1398436" y="1378663"/>
                  </a:cubicBezTo>
                  <a:cubicBezTo>
                    <a:pt x="1398436" y="1378663"/>
                    <a:pt x="1398436" y="1378663"/>
                    <a:pt x="2855886" y="1378663"/>
                  </a:cubicBezTo>
                  <a:cubicBezTo>
                    <a:pt x="2855886" y="1378663"/>
                    <a:pt x="2855886" y="1378663"/>
                    <a:pt x="3014246" y="1220615"/>
                  </a:cubicBezTo>
                  <a:cubicBezTo>
                    <a:pt x="3014246" y="1220615"/>
                    <a:pt x="3014246" y="1220615"/>
                    <a:pt x="3630595" y="1220615"/>
                  </a:cubicBezTo>
                  <a:cubicBezTo>
                    <a:pt x="3634283" y="1236334"/>
                    <a:pt x="3648423" y="1247754"/>
                    <a:pt x="3664652" y="1247754"/>
                  </a:cubicBezTo>
                  <a:cubicBezTo>
                    <a:pt x="3684570" y="1247754"/>
                    <a:pt x="3700308" y="1232159"/>
                    <a:pt x="3700308" y="1212756"/>
                  </a:cubicBezTo>
                  <a:cubicBezTo>
                    <a:pt x="3700308" y="1193353"/>
                    <a:pt x="3684570" y="1177634"/>
                    <a:pt x="3664652" y="1177634"/>
                  </a:cubicBezTo>
                  <a:cubicBezTo>
                    <a:pt x="3648915" y="1177634"/>
                    <a:pt x="3635267" y="1188072"/>
                    <a:pt x="3631087" y="1202808"/>
                  </a:cubicBezTo>
                  <a:cubicBezTo>
                    <a:pt x="3631087" y="1202808"/>
                    <a:pt x="3631087" y="1202808"/>
                    <a:pt x="3014246" y="1202808"/>
                  </a:cubicBezTo>
                  <a:cubicBezTo>
                    <a:pt x="3014246" y="1202808"/>
                    <a:pt x="3014246" y="1202808"/>
                    <a:pt x="2855886" y="1360856"/>
                  </a:cubicBezTo>
                  <a:cubicBezTo>
                    <a:pt x="2855886" y="1360856"/>
                    <a:pt x="2855886" y="1360856"/>
                    <a:pt x="1398436" y="1360856"/>
                  </a:cubicBezTo>
                  <a:cubicBezTo>
                    <a:pt x="1398436" y="1360856"/>
                    <a:pt x="1398436" y="1360856"/>
                    <a:pt x="1372739" y="1360856"/>
                  </a:cubicBezTo>
                  <a:cubicBezTo>
                    <a:pt x="1372739" y="1360856"/>
                    <a:pt x="1372739" y="1360856"/>
                    <a:pt x="2" y="1360856"/>
                  </a:cubicBezTo>
                  <a:cubicBezTo>
                    <a:pt x="2" y="1360856"/>
                    <a:pt x="2" y="1360856"/>
                    <a:pt x="2" y="1378663"/>
                  </a:cubicBezTo>
                  <a:close/>
                  <a:moveTo>
                    <a:pt x="2" y="1431255"/>
                  </a:moveTo>
                  <a:cubicBezTo>
                    <a:pt x="2" y="1431255"/>
                    <a:pt x="2" y="1431255"/>
                    <a:pt x="1372739" y="1431255"/>
                  </a:cubicBezTo>
                  <a:cubicBezTo>
                    <a:pt x="1372739" y="1431255"/>
                    <a:pt x="1372739" y="1431255"/>
                    <a:pt x="2891050" y="1431255"/>
                  </a:cubicBezTo>
                  <a:cubicBezTo>
                    <a:pt x="2891050" y="1431255"/>
                    <a:pt x="2891050" y="1431255"/>
                    <a:pt x="3031459" y="1290882"/>
                  </a:cubicBezTo>
                  <a:cubicBezTo>
                    <a:pt x="3031459" y="1290882"/>
                    <a:pt x="3031459" y="1290882"/>
                    <a:pt x="3330719" y="1290882"/>
                  </a:cubicBezTo>
                  <a:cubicBezTo>
                    <a:pt x="3330719" y="1290882"/>
                    <a:pt x="3330719" y="1290882"/>
                    <a:pt x="3401047" y="1361069"/>
                  </a:cubicBezTo>
                  <a:cubicBezTo>
                    <a:pt x="3401047" y="1361069"/>
                    <a:pt x="3401047" y="1361069"/>
                    <a:pt x="3630595" y="1361069"/>
                  </a:cubicBezTo>
                  <a:cubicBezTo>
                    <a:pt x="3634283" y="1376802"/>
                    <a:pt x="3648423" y="1388356"/>
                    <a:pt x="3664652" y="1388356"/>
                  </a:cubicBezTo>
                  <a:cubicBezTo>
                    <a:pt x="3684570" y="1388356"/>
                    <a:pt x="3700308" y="1372623"/>
                    <a:pt x="3700308" y="1353202"/>
                  </a:cubicBezTo>
                  <a:cubicBezTo>
                    <a:pt x="3700308" y="1333904"/>
                    <a:pt x="3684570" y="1318170"/>
                    <a:pt x="3664652" y="1318170"/>
                  </a:cubicBezTo>
                  <a:cubicBezTo>
                    <a:pt x="3648915" y="1318170"/>
                    <a:pt x="3635267" y="1329110"/>
                    <a:pt x="3631087" y="1343860"/>
                  </a:cubicBezTo>
                  <a:cubicBezTo>
                    <a:pt x="3631087" y="1343860"/>
                    <a:pt x="3631087" y="1343860"/>
                    <a:pt x="3401047" y="1343860"/>
                  </a:cubicBezTo>
                  <a:cubicBezTo>
                    <a:pt x="3401047" y="1343860"/>
                    <a:pt x="3401047" y="1343860"/>
                    <a:pt x="3330719" y="1273059"/>
                  </a:cubicBezTo>
                  <a:cubicBezTo>
                    <a:pt x="3330719" y="1273059"/>
                    <a:pt x="3330719" y="1273059"/>
                    <a:pt x="3031459" y="1273059"/>
                  </a:cubicBezTo>
                  <a:cubicBezTo>
                    <a:pt x="3031459" y="1273059"/>
                    <a:pt x="3031459" y="1273059"/>
                    <a:pt x="2891050" y="1414047"/>
                  </a:cubicBezTo>
                  <a:cubicBezTo>
                    <a:pt x="2891050" y="1414047"/>
                    <a:pt x="2891050" y="1414047"/>
                    <a:pt x="2" y="1414047"/>
                  </a:cubicBezTo>
                  <a:cubicBezTo>
                    <a:pt x="2" y="1414047"/>
                    <a:pt x="2" y="1414047"/>
                    <a:pt x="2" y="1431255"/>
                  </a:cubicBezTo>
                  <a:close/>
                  <a:moveTo>
                    <a:pt x="3664652" y="1529391"/>
                  </a:moveTo>
                  <a:cubicBezTo>
                    <a:pt x="3684570" y="1529391"/>
                    <a:pt x="3700308" y="1513619"/>
                    <a:pt x="3700308" y="1494149"/>
                  </a:cubicBezTo>
                  <a:cubicBezTo>
                    <a:pt x="3700308" y="1474680"/>
                    <a:pt x="3684570" y="1459030"/>
                    <a:pt x="3664652" y="1459030"/>
                  </a:cubicBezTo>
                  <a:cubicBezTo>
                    <a:pt x="3648915" y="1459030"/>
                    <a:pt x="3635267" y="1469504"/>
                    <a:pt x="3631087" y="1484168"/>
                  </a:cubicBezTo>
                  <a:cubicBezTo>
                    <a:pt x="3631087" y="1484168"/>
                    <a:pt x="3631087" y="1484168"/>
                    <a:pt x="1371141" y="1484168"/>
                  </a:cubicBezTo>
                  <a:cubicBezTo>
                    <a:pt x="1371141" y="1484168"/>
                    <a:pt x="1371141" y="1484168"/>
                    <a:pt x="2" y="1484168"/>
                  </a:cubicBezTo>
                  <a:cubicBezTo>
                    <a:pt x="2" y="1484168"/>
                    <a:pt x="2" y="1484168"/>
                    <a:pt x="2" y="1501543"/>
                  </a:cubicBezTo>
                  <a:cubicBezTo>
                    <a:pt x="2" y="1501543"/>
                    <a:pt x="2" y="1501543"/>
                    <a:pt x="1371141" y="1501543"/>
                  </a:cubicBezTo>
                  <a:cubicBezTo>
                    <a:pt x="1371141" y="1501543"/>
                    <a:pt x="1371141" y="1501543"/>
                    <a:pt x="1400526" y="1501543"/>
                  </a:cubicBezTo>
                  <a:cubicBezTo>
                    <a:pt x="1400526" y="1501543"/>
                    <a:pt x="1400526" y="1501543"/>
                    <a:pt x="3630595" y="1502036"/>
                  </a:cubicBezTo>
                  <a:cubicBezTo>
                    <a:pt x="3634283" y="1517315"/>
                    <a:pt x="3648423" y="1529391"/>
                    <a:pt x="3664652" y="1529391"/>
                  </a:cubicBezTo>
                  <a:close/>
                  <a:moveTo>
                    <a:pt x="3299711" y="1687710"/>
                  </a:moveTo>
                  <a:cubicBezTo>
                    <a:pt x="3319136" y="1687710"/>
                    <a:pt x="3334873" y="1671947"/>
                    <a:pt x="3334873" y="1652614"/>
                  </a:cubicBezTo>
                  <a:cubicBezTo>
                    <a:pt x="3334873" y="1633157"/>
                    <a:pt x="3319136" y="1617395"/>
                    <a:pt x="3299711" y="1617395"/>
                  </a:cubicBezTo>
                  <a:cubicBezTo>
                    <a:pt x="3283483" y="1617395"/>
                    <a:pt x="3269836" y="1627862"/>
                    <a:pt x="3265655" y="1642639"/>
                  </a:cubicBezTo>
                  <a:cubicBezTo>
                    <a:pt x="3265655" y="1642639"/>
                    <a:pt x="3265655" y="1642639"/>
                    <a:pt x="2930263" y="1642639"/>
                  </a:cubicBezTo>
                  <a:cubicBezTo>
                    <a:pt x="2930263" y="1642639"/>
                    <a:pt x="2930263" y="1642639"/>
                    <a:pt x="2824899" y="1537105"/>
                  </a:cubicBezTo>
                  <a:cubicBezTo>
                    <a:pt x="2824899" y="1537105"/>
                    <a:pt x="2824899" y="1537105"/>
                    <a:pt x="855327" y="1537105"/>
                  </a:cubicBezTo>
                  <a:cubicBezTo>
                    <a:pt x="855327" y="1537105"/>
                    <a:pt x="855327" y="1537105"/>
                    <a:pt x="2" y="1537105"/>
                  </a:cubicBezTo>
                  <a:cubicBezTo>
                    <a:pt x="2" y="1537105"/>
                    <a:pt x="2" y="1537105"/>
                    <a:pt x="2" y="1554345"/>
                  </a:cubicBezTo>
                  <a:cubicBezTo>
                    <a:pt x="2" y="1554345"/>
                    <a:pt x="2" y="1554345"/>
                    <a:pt x="1023638" y="1554345"/>
                  </a:cubicBezTo>
                  <a:cubicBezTo>
                    <a:pt x="1023638" y="1554345"/>
                    <a:pt x="1023638" y="1554345"/>
                    <a:pt x="2824899" y="1554345"/>
                  </a:cubicBezTo>
                  <a:cubicBezTo>
                    <a:pt x="2824899" y="1554345"/>
                    <a:pt x="2824899" y="1554345"/>
                    <a:pt x="2930263" y="1660495"/>
                  </a:cubicBezTo>
                  <a:cubicBezTo>
                    <a:pt x="2930263" y="1660495"/>
                    <a:pt x="2930263" y="1660495"/>
                    <a:pt x="3265164" y="1660495"/>
                  </a:cubicBezTo>
                  <a:cubicBezTo>
                    <a:pt x="3268729" y="1675642"/>
                    <a:pt x="3282868" y="1687710"/>
                    <a:pt x="3299711" y="1687710"/>
                  </a:cubicBezTo>
                  <a:close/>
                  <a:moveTo>
                    <a:pt x="201711" y="1706687"/>
                  </a:moveTo>
                  <a:cubicBezTo>
                    <a:pt x="221131" y="1706687"/>
                    <a:pt x="237357" y="1690942"/>
                    <a:pt x="237357" y="1671506"/>
                  </a:cubicBezTo>
                  <a:cubicBezTo>
                    <a:pt x="237357" y="1652071"/>
                    <a:pt x="221131" y="1636326"/>
                    <a:pt x="201711" y="1636326"/>
                  </a:cubicBezTo>
                  <a:cubicBezTo>
                    <a:pt x="185486" y="1636326"/>
                    <a:pt x="171350" y="1647888"/>
                    <a:pt x="167662" y="1663634"/>
                  </a:cubicBezTo>
                  <a:cubicBezTo>
                    <a:pt x="167662" y="1663634"/>
                    <a:pt x="167662" y="1663634"/>
                    <a:pt x="29515" y="1663634"/>
                  </a:cubicBezTo>
                  <a:lnTo>
                    <a:pt x="12428" y="1663634"/>
                  </a:lnTo>
                  <a:lnTo>
                    <a:pt x="9095" y="1662893"/>
                  </a:lnTo>
                  <a:lnTo>
                    <a:pt x="5858" y="1663634"/>
                  </a:lnTo>
                  <a:lnTo>
                    <a:pt x="2" y="1663634"/>
                  </a:lnTo>
                  <a:cubicBezTo>
                    <a:pt x="2" y="1663634"/>
                    <a:pt x="2" y="1663634"/>
                    <a:pt x="2" y="1681470"/>
                  </a:cubicBezTo>
                  <a:cubicBezTo>
                    <a:pt x="2" y="1681470"/>
                    <a:pt x="2" y="1681470"/>
                    <a:pt x="168154" y="1681470"/>
                  </a:cubicBezTo>
                  <a:cubicBezTo>
                    <a:pt x="172333" y="1696108"/>
                    <a:pt x="185977" y="1706687"/>
                    <a:pt x="201711" y="1706687"/>
                  </a:cubicBezTo>
                  <a:close/>
                  <a:moveTo>
                    <a:pt x="2131958" y="1846027"/>
                  </a:moveTo>
                  <a:cubicBezTo>
                    <a:pt x="2151261" y="1846027"/>
                    <a:pt x="2167001" y="1830301"/>
                    <a:pt x="2167001" y="1810889"/>
                  </a:cubicBezTo>
                  <a:cubicBezTo>
                    <a:pt x="2167001" y="1791477"/>
                    <a:pt x="2151261" y="1775258"/>
                    <a:pt x="2131958" y="1775258"/>
                  </a:cubicBezTo>
                  <a:cubicBezTo>
                    <a:pt x="2115111" y="1775258"/>
                    <a:pt x="2100970" y="1787299"/>
                    <a:pt x="2097281" y="1803026"/>
                  </a:cubicBezTo>
                  <a:cubicBezTo>
                    <a:pt x="2097281" y="1803026"/>
                    <a:pt x="2097281" y="1803026"/>
                    <a:pt x="1797494" y="1803026"/>
                  </a:cubicBezTo>
                  <a:cubicBezTo>
                    <a:pt x="1797494" y="1803026"/>
                    <a:pt x="1797494" y="1803026"/>
                    <a:pt x="1604071" y="1609758"/>
                  </a:cubicBezTo>
                  <a:cubicBezTo>
                    <a:pt x="1604071" y="1609758"/>
                    <a:pt x="1604071" y="1609758"/>
                    <a:pt x="530962" y="1609758"/>
                  </a:cubicBezTo>
                  <a:cubicBezTo>
                    <a:pt x="530962" y="1609758"/>
                    <a:pt x="530962" y="1609758"/>
                    <a:pt x="372706" y="1767886"/>
                  </a:cubicBezTo>
                  <a:cubicBezTo>
                    <a:pt x="372706" y="1767886"/>
                    <a:pt x="372706" y="1767886"/>
                    <a:pt x="2" y="1767886"/>
                  </a:cubicBezTo>
                  <a:cubicBezTo>
                    <a:pt x="2" y="1767886"/>
                    <a:pt x="2" y="1767886"/>
                    <a:pt x="2" y="1785210"/>
                  </a:cubicBezTo>
                  <a:cubicBezTo>
                    <a:pt x="2" y="1785210"/>
                    <a:pt x="2" y="1785210"/>
                    <a:pt x="372706" y="1785210"/>
                  </a:cubicBezTo>
                  <a:cubicBezTo>
                    <a:pt x="372706" y="1785210"/>
                    <a:pt x="372706" y="1785210"/>
                    <a:pt x="530962" y="1627082"/>
                  </a:cubicBezTo>
                  <a:cubicBezTo>
                    <a:pt x="530962" y="1627082"/>
                    <a:pt x="530962" y="1627082"/>
                    <a:pt x="1604071" y="1627082"/>
                  </a:cubicBezTo>
                  <a:cubicBezTo>
                    <a:pt x="1604071" y="1627082"/>
                    <a:pt x="1604071" y="1627082"/>
                    <a:pt x="1797494" y="1820349"/>
                  </a:cubicBezTo>
                  <a:cubicBezTo>
                    <a:pt x="1797494" y="1820349"/>
                    <a:pt x="1797494" y="1820349"/>
                    <a:pt x="2097896" y="1820349"/>
                  </a:cubicBezTo>
                  <a:cubicBezTo>
                    <a:pt x="2102077" y="1834970"/>
                    <a:pt x="2115603" y="1846027"/>
                    <a:pt x="2131958" y="1846027"/>
                  </a:cubicBezTo>
                  <a:close/>
                  <a:moveTo>
                    <a:pt x="2" y="1969103"/>
                  </a:moveTo>
                  <a:cubicBezTo>
                    <a:pt x="2" y="1969103"/>
                    <a:pt x="2" y="1969103"/>
                    <a:pt x="370072" y="1969103"/>
                  </a:cubicBezTo>
                  <a:cubicBezTo>
                    <a:pt x="370072" y="1969103"/>
                    <a:pt x="370072" y="1969103"/>
                    <a:pt x="510969" y="1828398"/>
                  </a:cubicBezTo>
                  <a:cubicBezTo>
                    <a:pt x="510969" y="1828398"/>
                    <a:pt x="510969" y="1828398"/>
                    <a:pt x="924069" y="1828398"/>
                  </a:cubicBezTo>
                  <a:cubicBezTo>
                    <a:pt x="927757" y="1844114"/>
                    <a:pt x="941281" y="1855532"/>
                    <a:pt x="958126" y="1855532"/>
                  </a:cubicBezTo>
                  <a:cubicBezTo>
                    <a:pt x="977428" y="1855532"/>
                    <a:pt x="993165" y="1839817"/>
                    <a:pt x="993165" y="1820541"/>
                  </a:cubicBezTo>
                  <a:cubicBezTo>
                    <a:pt x="993165" y="1801143"/>
                    <a:pt x="977428" y="1785427"/>
                    <a:pt x="958126" y="1785427"/>
                  </a:cubicBezTo>
                  <a:cubicBezTo>
                    <a:pt x="942388" y="1785427"/>
                    <a:pt x="928741" y="1796477"/>
                    <a:pt x="924561" y="1811088"/>
                  </a:cubicBezTo>
                  <a:cubicBezTo>
                    <a:pt x="924561" y="1811088"/>
                    <a:pt x="924561" y="1811088"/>
                    <a:pt x="510969" y="1811088"/>
                  </a:cubicBezTo>
                  <a:cubicBezTo>
                    <a:pt x="510969" y="1811088"/>
                    <a:pt x="510969" y="1811088"/>
                    <a:pt x="370072" y="1951300"/>
                  </a:cubicBezTo>
                  <a:cubicBezTo>
                    <a:pt x="370072" y="1951300"/>
                    <a:pt x="370072" y="1951300"/>
                    <a:pt x="2" y="1951300"/>
                  </a:cubicBezTo>
                  <a:cubicBezTo>
                    <a:pt x="2" y="1951300"/>
                    <a:pt x="2" y="1951300"/>
                    <a:pt x="2" y="1969103"/>
                  </a:cubicBezTo>
                  <a:close/>
                  <a:moveTo>
                    <a:pt x="2374861" y="1986453"/>
                  </a:moveTo>
                  <a:cubicBezTo>
                    <a:pt x="2394164" y="1986453"/>
                    <a:pt x="2409901" y="1970708"/>
                    <a:pt x="2409901" y="1951273"/>
                  </a:cubicBezTo>
                  <a:cubicBezTo>
                    <a:pt x="2409901" y="1931962"/>
                    <a:pt x="2394164" y="1916217"/>
                    <a:pt x="2374861" y="1916217"/>
                  </a:cubicBezTo>
                  <a:cubicBezTo>
                    <a:pt x="2358632" y="1916217"/>
                    <a:pt x="2345476" y="1926672"/>
                    <a:pt x="2341296" y="1941433"/>
                  </a:cubicBezTo>
                  <a:cubicBezTo>
                    <a:pt x="2341296" y="1941433"/>
                    <a:pt x="2341296" y="1941433"/>
                    <a:pt x="1776844" y="1941433"/>
                  </a:cubicBezTo>
                  <a:cubicBezTo>
                    <a:pt x="1776844" y="1941433"/>
                    <a:pt x="1776844" y="1941433"/>
                    <a:pt x="1530455" y="1695424"/>
                  </a:cubicBezTo>
                  <a:cubicBezTo>
                    <a:pt x="1530455" y="1695424"/>
                    <a:pt x="1530455" y="1695424"/>
                    <a:pt x="580684" y="1695424"/>
                  </a:cubicBezTo>
                  <a:cubicBezTo>
                    <a:pt x="580684" y="1695424"/>
                    <a:pt x="580684" y="1695424"/>
                    <a:pt x="370075" y="1906253"/>
                  </a:cubicBezTo>
                  <a:cubicBezTo>
                    <a:pt x="370075" y="1906253"/>
                    <a:pt x="370075" y="1906253"/>
                    <a:pt x="2" y="1906253"/>
                  </a:cubicBezTo>
                  <a:cubicBezTo>
                    <a:pt x="2" y="1906253"/>
                    <a:pt x="2" y="1906253"/>
                    <a:pt x="2" y="1924089"/>
                  </a:cubicBezTo>
                  <a:cubicBezTo>
                    <a:pt x="2" y="1924089"/>
                    <a:pt x="2" y="1924089"/>
                    <a:pt x="276265" y="1924089"/>
                  </a:cubicBezTo>
                  <a:cubicBezTo>
                    <a:pt x="276265" y="1924089"/>
                    <a:pt x="276265" y="1924089"/>
                    <a:pt x="370075" y="1924089"/>
                  </a:cubicBezTo>
                  <a:cubicBezTo>
                    <a:pt x="370075" y="1924089"/>
                    <a:pt x="370075" y="1924089"/>
                    <a:pt x="580684" y="1712768"/>
                  </a:cubicBezTo>
                  <a:cubicBezTo>
                    <a:pt x="580684" y="1712768"/>
                    <a:pt x="580684" y="1712768"/>
                    <a:pt x="1530455" y="1712768"/>
                  </a:cubicBezTo>
                  <a:cubicBezTo>
                    <a:pt x="1530455" y="1712768"/>
                    <a:pt x="1530455" y="1712768"/>
                    <a:pt x="1776844" y="1959146"/>
                  </a:cubicBezTo>
                  <a:cubicBezTo>
                    <a:pt x="1776844" y="1959146"/>
                    <a:pt x="1776844" y="1959146"/>
                    <a:pt x="2340805" y="1959146"/>
                  </a:cubicBezTo>
                  <a:cubicBezTo>
                    <a:pt x="2343878" y="1974891"/>
                    <a:pt x="2358017" y="1986453"/>
                    <a:pt x="2374861" y="1986453"/>
                  </a:cubicBezTo>
                  <a:close/>
                  <a:moveTo>
                    <a:pt x="2" y="2081878"/>
                  </a:moveTo>
                  <a:cubicBezTo>
                    <a:pt x="2" y="2081878"/>
                    <a:pt x="2" y="2081878"/>
                    <a:pt x="342800" y="2081878"/>
                  </a:cubicBezTo>
                  <a:cubicBezTo>
                    <a:pt x="342800" y="2081878"/>
                    <a:pt x="342800" y="2081878"/>
                    <a:pt x="483337" y="1941172"/>
                  </a:cubicBezTo>
                  <a:cubicBezTo>
                    <a:pt x="483337" y="1941172"/>
                    <a:pt x="483337" y="1941172"/>
                    <a:pt x="818759" y="1941172"/>
                  </a:cubicBezTo>
                  <a:cubicBezTo>
                    <a:pt x="821832" y="1956765"/>
                    <a:pt x="836095" y="1968798"/>
                    <a:pt x="852816" y="1968798"/>
                  </a:cubicBezTo>
                  <a:cubicBezTo>
                    <a:pt x="872243" y="1968798"/>
                    <a:pt x="887981" y="1953082"/>
                    <a:pt x="887981" y="1933315"/>
                  </a:cubicBezTo>
                  <a:cubicBezTo>
                    <a:pt x="887981" y="1913916"/>
                    <a:pt x="872243" y="1898200"/>
                    <a:pt x="852816" y="1898200"/>
                  </a:cubicBezTo>
                  <a:cubicBezTo>
                    <a:pt x="836586" y="1898200"/>
                    <a:pt x="823430" y="1909127"/>
                    <a:pt x="819250" y="1923861"/>
                  </a:cubicBezTo>
                  <a:cubicBezTo>
                    <a:pt x="819250" y="1923861"/>
                    <a:pt x="819250" y="1923861"/>
                    <a:pt x="483337" y="1923861"/>
                  </a:cubicBezTo>
                  <a:cubicBezTo>
                    <a:pt x="483337" y="1923861"/>
                    <a:pt x="483337" y="1923861"/>
                    <a:pt x="342800" y="2064075"/>
                  </a:cubicBezTo>
                  <a:cubicBezTo>
                    <a:pt x="342800" y="2064075"/>
                    <a:pt x="342800" y="2064075"/>
                    <a:pt x="2" y="2064075"/>
                  </a:cubicBezTo>
                  <a:cubicBezTo>
                    <a:pt x="2" y="2064075"/>
                    <a:pt x="2" y="2064075"/>
                    <a:pt x="2" y="2081878"/>
                  </a:cubicBezTo>
                  <a:close/>
                  <a:moveTo>
                    <a:pt x="2" y="2170255"/>
                  </a:moveTo>
                  <a:cubicBezTo>
                    <a:pt x="2" y="2170255"/>
                    <a:pt x="2" y="2170255"/>
                    <a:pt x="518504" y="2170255"/>
                  </a:cubicBezTo>
                  <a:cubicBezTo>
                    <a:pt x="518504" y="2170255"/>
                    <a:pt x="518504" y="2170255"/>
                    <a:pt x="518504" y="2029549"/>
                  </a:cubicBezTo>
                  <a:cubicBezTo>
                    <a:pt x="518504" y="2029549"/>
                    <a:pt x="518504" y="2029549"/>
                    <a:pt x="713066" y="2029549"/>
                  </a:cubicBezTo>
                  <a:cubicBezTo>
                    <a:pt x="716756" y="2045265"/>
                    <a:pt x="730899" y="2056683"/>
                    <a:pt x="747624" y="2056683"/>
                  </a:cubicBezTo>
                  <a:cubicBezTo>
                    <a:pt x="767055" y="2056683"/>
                    <a:pt x="782798" y="2040968"/>
                    <a:pt x="782798" y="2021691"/>
                  </a:cubicBezTo>
                  <a:cubicBezTo>
                    <a:pt x="782798" y="2002292"/>
                    <a:pt x="767055" y="1986576"/>
                    <a:pt x="747624" y="1986576"/>
                  </a:cubicBezTo>
                  <a:cubicBezTo>
                    <a:pt x="731390" y="1986576"/>
                    <a:pt x="717740" y="1997626"/>
                    <a:pt x="713558" y="2012237"/>
                  </a:cubicBezTo>
                  <a:cubicBezTo>
                    <a:pt x="713558" y="2012237"/>
                    <a:pt x="713558" y="2012237"/>
                    <a:pt x="501164" y="2012237"/>
                  </a:cubicBezTo>
                  <a:cubicBezTo>
                    <a:pt x="501164" y="2012237"/>
                    <a:pt x="501164" y="2012237"/>
                    <a:pt x="501164" y="2152452"/>
                  </a:cubicBezTo>
                  <a:cubicBezTo>
                    <a:pt x="501164" y="2152452"/>
                    <a:pt x="501164" y="2152452"/>
                    <a:pt x="2" y="2152452"/>
                  </a:cubicBezTo>
                  <a:cubicBezTo>
                    <a:pt x="2" y="2152452"/>
                    <a:pt x="2" y="2152452"/>
                    <a:pt x="2" y="2170255"/>
                  </a:cubicBezTo>
                  <a:close/>
                  <a:moveTo>
                    <a:pt x="2" y="2293331"/>
                  </a:moveTo>
                  <a:cubicBezTo>
                    <a:pt x="2" y="2293331"/>
                    <a:pt x="2" y="2293331"/>
                    <a:pt x="712295" y="2293331"/>
                  </a:cubicBezTo>
                  <a:cubicBezTo>
                    <a:pt x="712295" y="2293331"/>
                    <a:pt x="712295" y="2293331"/>
                    <a:pt x="1064074" y="1941229"/>
                  </a:cubicBezTo>
                  <a:cubicBezTo>
                    <a:pt x="1064074" y="1941229"/>
                    <a:pt x="1064074" y="1941229"/>
                    <a:pt x="1257979" y="1941229"/>
                  </a:cubicBezTo>
                  <a:cubicBezTo>
                    <a:pt x="1261668" y="1956842"/>
                    <a:pt x="1275807" y="1968890"/>
                    <a:pt x="1292653" y="1968890"/>
                  </a:cubicBezTo>
                  <a:cubicBezTo>
                    <a:pt x="1311957" y="1968890"/>
                    <a:pt x="1327696" y="1953154"/>
                    <a:pt x="1327696" y="1933853"/>
                  </a:cubicBezTo>
                  <a:cubicBezTo>
                    <a:pt x="1327696" y="1913936"/>
                    <a:pt x="1311957" y="1898200"/>
                    <a:pt x="1292653" y="1898200"/>
                  </a:cubicBezTo>
                  <a:cubicBezTo>
                    <a:pt x="1276299" y="1898200"/>
                    <a:pt x="1263266" y="1909141"/>
                    <a:pt x="1258470" y="1923894"/>
                  </a:cubicBezTo>
                  <a:cubicBezTo>
                    <a:pt x="1258470" y="1923894"/>
                    <a:pt x="1258470" y="1923894"/>
                    <a:pt x="1064074" y="1923894"/>
                  </a:cubicBezTo>
                  <a:cubicBezTo>
                    <a:pt x="1064074" y="1923894"/>
                    <a:pt x="1064074" y="1923894"/>
                    <a:pt x="712295" y="2275505"/>
                  </a:cubicBezTo>
                  <a:cubicBezTo>
                    <a:pt x="712295" y="2275505"/>
                    <a:pt x="712295" y="2275505"/>
                    <a:pt x="2" y="2275505"/>
                  </a:cubicBezTo>
                  <a:cubicBezTo>
                    <a:pt x="2" y="2275505"/>
                    <a:pt x="2" y="2275505"/>
                    <a:pt x="2" y="2293331"/>
                  </a:cubicBezTo>
                  <a:close/>
                  <a:moveTo>
                    <a:pt x="2" y="2399058"/>
                  </a:moveTo>
                  <a:cubicBezTo>
                    <a:pt x="2" y="2399058"/>
                    <a:pt x="2" y="2399058"/>
                    <a:pt x="239477" y="2399058"/>
                  </a:cubicBezTo>
                  <a:cubicBezTo>
                    <a:pt x="239477" y="2399058"/>
                    <a:pt x="239477" y="2399058"/>
                    <a:pt x="764651" y="2399058"/>
                  </a:cubicBezTo>
                  <a:cubicBezTo>
                    <a:pt x="764651" y="2399058"/>
                    <a:pt x="764651" y="2399058"/>
                    <a:pt x="1046046" y="2117467"/>
                  </a:cubicBezTo>
                  <a:cubicBezTo>
                    <a:pt x="1046046" y="2117467"/>
                    <a:pt x="1046046" y="2117467"/>
                    <a:pt x="1328549" y="2117467"/>
                  </a:cubicBezTo>
                  <a:cubicBezTo>
                    <a:pt x="1332237" y="2133214"/>
                    <a:pt x="1345760" y="2144777"/>
                    <a:pt x="1362602" y="2144777"/>
                  </a:cubicBezTo>
                  <a:cubicBezTo>
                    <a:pt x="1382025" y="2144777"/>
                    <a:pt x="1397638" y="2129031"/>
                    <a:pt x="1397638" y="2109594"/>
                  </a:cubicBezTo>
                  <a:cubicBezTo>
                    <a:pt x="1397638" y="2090157"/>
                    <a:pt x="1382025" y="2074410"/>
                    <a:pt x="1362602" y="2074410"/>
                  </a:cubicBezTo>
                  <a:cubicBezTo>
                    <a:pt x="1346866" y="2074410"/>
                    <a:pt x="1333220" y="2084990"/>
                    <a:pt x="1329040" y="2099629"/>
                  </a:cubicBezTo>
                  <a:cubicBezTo>
                    <a:pt x="1329040" y="2099629"/>
                    <a:pt x="1329040" y="2099629"/>
                    <a:pt x="1046046" y="2099629"/>
                  </a:cubicBezTo>
                  <a:cubicBezTo>
                    <a:pt x="1046046" y="2099629"/>
                    <a:pt x="1046046" y="2099629"/>
                    <a:pt x="764651" y="2381220"/>
                  </a:cubicBezTo>
                  <a:cubicBezTo>
                    <a:pt x="764651" y="2381220"/>
                    <a:pt x="764651" y="2381220"/>
                    <a:pt x="2" y="2381220"/>
                  </a:cubicBezTo>
                  <a:cubicBezTo>
                    <a:pt x="2" y="2381220"/>
                    <a:pt x="2" y="2381220"/>
                    <a:pt x="2" y="2399058"/>
                  </a:cubicBezTo>
                  <a:close/>
                  <a:moveTo>
                    <a:pt x="2" y="2487434"/>
                  </a:moveTo>
                  <a:cubicBezTo>
                    <a:pt x="2" y="2487434"/>
                    <a:pt x="2" y="2487434"/>
                    <a:pt x="213815" y="2487434"/>
                  </a:cubicBezTo>
                  <a:cubicBezTo>
                    <a:pt x="213815" y="2487434"/>
                    <a:pt x="213815" y="2487434"/>
                    <a:pt x="817629" y="2487434"/>
                  </a:cubicBezTo>
                  <a:cubicBezTo>
                    <a:pt x="817629" y="2487434"/>
                    <a:pt x="817629" y="2487434"/>
                    <a:pt x="1099064" y="2205844"/>
                  </a:cubicBezTo>
                  <a:cubicBezTo>
                    <a:pt x="1099064" y="2205844"/>
                    <a:pt x="1099064" y="2205844"/>
                    <a:pt x="1240705" y="2205844"/>
                  </a:cubicBezTo>
                  <a:cubicBezTo>
                    <a:pt x="1244270" y="2221590"/>
                    <a:pt x="1257917" y="2233154"/>
                    <a:pt x="1274762" y="2233154"/>
                  </a:cubicBezTo>
                  <a:cubicBezTo>
                    <a:pt x="1294066" y="2233154"/>
                    <a:pt x="1309804" y="2217407"/>
                    <a:pt x="1309804" y="2197970"/>
                  </a:cubicBezTo>
                  <a:cubicBezTo>
                    <a:pt x="1309804" y="2178533"/>
                    <a:pt x="1294066" y="2162787"/>
                    <a:pt x="1274762" y="2162787"/>
                  </a:cubicBezTo>
                  <a:cubicBezTo>
                    <a:pt x="1259024" y="2162787"/>
                    <a:pt x="1245377" y="2173367"/>
                    <a:pt x="1241197" y="2188006"/>
                  </a:cubicBezTo>
                  <a:cubicBezTo>
                    <a:pt x="1241197" y="2188006"/>
                    <a:pt x="1241197" y="2188006"/>
                    <a:pt x="1099064" y="2188006"/>
                  </a:cubicBezTo>
                  <a:cubicBezTo>
                    <a:pt x="1099064" y="2188006"/>
                    <a:pt x="1099064" y="2188006"/>
                    <a:pt x="817629" y="2469597"/>
                  </a:cubicBezTo>
                  <a:cubicBezTo>
                    <a:pt x="817629" y="2469597"/>
                    <a:pt x="817629" y="2469597"/>
                    <a:pt x="2" y="2469597"/>
                  </a:cubicBezTo>
                  <a:cubicBezTo>
                    <a:pt x="2" y="2469597"/>
                    <a:pt x="2" y="2469597"/>
                    <a:pt x="2" y="2487434"/>
                  </a:cubicBezTo>
                  <a:close/>
                  <a:moveTo>
                    <a:pt x="2" y="2560630"/>
                  </a:moveTo>
                  <a:cubicBezTo>
                    <a:pt x="2" y="2560630"/>
                    <a:pt x="2" y="2560630"/>
                    <a:pt x="896490" y="2560630"/>
                  </a:cubicBezTo>
                  <a:cubicBezTo>
                    <a:pt x="896490" y="2560630"/>
                    <a:pt x="896490" y="2560630"/>
                    <a:pt x="1093004" y="2364323"/>
                  </a:cubicBezTo>
                  <a:cubicBezTo>
                    <a:pt x="1097800" y="2366411"/>
                    <a:pt x="1102474" y="2367394"/>
                    <a:pt x="1107761" y="2367394"/>
                  </a:cubicBezTo>
                  <a:cubicBezTo>
                    <a:pt x="1127192" y="2367394"/>
                    <a:pt x="1142810" y="2351670"/>
                    <a:pt x="1142810" y="2332383"/>
                  </a:cubicBezTo>
                  <a:cubicBezTo>
                    <a:pt x="1142810" y="2312974"/>
                    <a:pt x="1127192" y="2297249"/>
                    <a:pt x="1107761" y="2297249"/>
                  </a:cubicBezTo>
                  <a:cubicBezTo>
                    <a:pt x="1088331" y="2297249"/>
                    <a:pt x="1072591" y="2312974"/>
                    <a:pt x="1072591" y="2332383"/>
                  </a:cubicBezTo>
                  <a:cubicBezTo>
                    <a:pt x="1072591" y="2342334"/>
                    <a:pt x="1076280" y="2350687"/>
                    <a:pt x="1082551" y="2357444"/>
                  </a:cubicBezTo>
                  <a:cubicBezTo>
                    <a:pt x="1082551" y="2357444"/>
                    <a:pt x="1082551" y="2357444"/>
                    <a:pt x="896490" y="2543432"/>
                  </a:cubicBezTo>
                  <a:cubicBezTo>
                    <a:pt x="896490" y="2543432"/>
                    <a:pt x="896490" y="2543432"/>
                    <a:pt x="2" y="2543432"/>
                  </a:cubicBezTo>
                  <a:cubicBezTo>
                    <a:pt x="2" y="2543432"/>
                    <a:pt x="2" y="2543432"/>
                    <a:pt x="2" y="2560630"/>
                  </a:cubicBezTo>
                  <a:close/>
                  <a:moveTo>
                    <a:pt x="2" y="2645211"/>
                  </a:moveTo>
                  <a:cubicBezTo>
                    <a:pt x="2" y="2645211"/>
                    <a:pt x="2" y="2645211"/>
                    <a:pt x="301839" y="2645211"/>
                  </a:cubicBezTo>
                  <a:cubicBezTo>
                    <a:pt x="301839" y="2645211"/>
                    <a:pt x="301839" y="2645211"/>
                    <a:pt x="985304" y="2645211"/>
                  </a:cubicBezTo>
                  <a:cubicBezTo>
                    <a:pt x="985304" y="2645211"/>
                    <a:pt x="985304" y="2645211"/>
                    <a:pt x="1231692" y="2398887"/>
                  </a:cubicBezTo>
                  <a:cubicBezTo>
                    <a:pt x="1231692" y="2398887"/>
                    <a:pt x="1231692" y="2398887"/>
                    <a:pt x="1425089" y="2398887"/>
                  </a:cubicBezTo>
                  <a:cubicBezTo>
                    <a:pt x="1425089" y="2398887"/>
                    <a:pt x="1425089" y="2398887"/>
                    <a:pt x="1723853" y="2099560"/>
                  </a:cubicBezTo>
                  <a:cubicBezTo>
                    <a:pt x="1723853" y="2099560"/>
                    <a:pt x="1723853" y="2099560"/>
                    <a:pt x="2340805" y="2099560"/>
                  </a:cubicBezTo>
                  <a:cubicBezTo>
                    <a:pt x="2343878" y="2115301"/>
                    <a:pt x="2358017" y="2127353"/>
                    <a:pt x="2374861" y="2127353"/>
                  </a:cubicBezTo>
                  <a:cubicBezTo>
                    <a:pt x="2394164" y="2127353"/>
                    <a:pt x="2409901" y="2111612"/>
                    <a:pt x="2409901" y="2092182"/>
                  </a:cubicBezTo>
                  <a:cubicBezTo>
                    <a:pt x="2409901" y="2072259"/>
                    <a:pt x="2394164" y="2056518"/>
                    <a:pt x="2374861" y="2056518"/>
                  </a:cubicBezTo>
                  <a:cubicBezTo>
                    <a:pt x="2358632" y="2056518"/>
                    <a:pt x="2345476" y="2067586"/>
                    <a:pt x="2341296" y="2082220"/>
                  </a:cubicBezTo>
                  <a:cubicBezTo>
                    <a:pt x="2341296" y="2082220"/>
                    <a:pt x="2341296" y="2082220"/>
                    <a:pt x="1723853" y="2082220"/>
                  </a:cubicBezTo>
                  <a:cubicBezTo>
                    <a:pt x="1723853" y="2082220"/>
                    <a:pt x="1723853" y="2082220"/>
                    <a:pt x="1425089" y="2381055"/>
                  </a:cubicBezTo>
                  <a:cubicBezTo>
                    <a:pt x="1425089" y="2381055"/>
                    <a:pt x="1425089" y="2381055"/>
                    <a:pt x="1231692" y="2381055"/>
                  </a:cubicBezTo>
                  <a:cubicBezTo>
                    <a:pt x="1231692" y="2381055"/>
                    <a:pt x="1231692" y="2381055"/>
                    <a:pt x="985304" y="2627379"/>
                  </a:cubicBezTo>
                  <a:cubicBezTo>
                    <a:pt x="985304" y="2627379"/>
                    <a:pt x="985304" y="2627379"/>
                    <a:pt x="2" y="2627379"/>
                  </a:cubicBezTo>
                  <a:cubicBezTo>
                    <a:pt x="2" y="2627379"/>
                    <a:pt x="2" y="2627379"/>
                    <a:pt x="2" y="2645211"/>
                  </a:cubicBezTo>
                  <a:close/>
                  <a:moveTo>
                    <a:pt x="2" y="2760155"/>
                  </a:moveTo>
                  <a:cubicBezTo>
                    <a:pt x="2" y="2760155"/>
                    <a:pt x="2" y="2760155"/>
                    <a:pt x="196581" y="2760155"/>
                  </a:cubicBezTo>
                  <a:cubicBezTo>
                    <a:pt x="196581" y="2760155"/>
                    <a:pt x="196581" y="2760155"/>
                    <a:pt x="1046084" y="2760155"/>
                  </a:cubicBezTo>
                  <a:cubicBezTo>
                    <a:pt x="1046084" y="2760155"/>
                    <a:pt x="1046084" y="2760155"/>
                    <a:pt x="1242663" y="2563810"/>
                  </a:cubicBezTo>
                  <a:cubicBezTo>
                    <a:pt x="1247335" y="2565408"/>
                    <a:pt x="1252006" y="2567005"/>
                    <a:pt x="1257293" y="2567005"/>
                  </a:cubicBezTo>
                  <a:cubicBezTo>
                    <a:pt x="1276717" y="2567005"/>
                    <a:pt x="1292453" y="2550663"/>
                    <a:pt x="1292453" y="2531373"/>
                  </a:cubicBezTo>
                  <a:cubicBezTo>
                    <a:pt x="1292453" y="2511960"/>
                    <a:pt x="1276717" y="2496232"/>
                    <a:pt x="1257293" y="2496232"/>
                  </a:cubicBezTo>
                  <a:cubicBezTo>
                    <a:pt x="1237869" y="2496232"/>
                    <a:pt x="1222132" y="2511960"/>
                    <a:pt x="1222132" y="2531373"/>
                  </a:cubicBezTo>
                  <a:cubicBezTo>
                    <a:pt x="1222132" y="2541325"/>
                    <a:pt x="1225821" y="2550172"/>
                    <a:pt x="1232090" y="2556438"/>
                  </a:cubicBezTo>
                  <a:cubicBezTo>
                    <a:pt x="1232090" y="2556438"/>
                    <a:pt x="1232090" y="2556438"/>
                    <a:pt x="1046084" y="2742339"/>
                  </a:cubicBezTo>
                  <a:cubicBezTo>
                    <a:pt x="1046084" y="2742339"/>
                    <a:pt x="1046084" y="2742339"/>
                    <a:pt x="256820" y="2742339"/>
                  </a:cubicBezTo>
                  <a:cubicBezTo>
                    <a:pt x="256820" y="2742339"/>
                    <a:pt x="256820" y="2742339"/>
                    <a:pt x="196581" y="2742339"/>
                  </a:cubicBezTo>
                  <a:cubicBezTo>
                    <a:pt x="196581" y="2742339"/>
                    <a:pt x="196581" y="2742339"/>
                    <a:pt x="2" y="2742339"/>
                  </a:cubicBezTo>
                  <a:cubicBezTo>
                    <a:pt x="2" y="2742339"/>
                    <a:pt x="2" y="2742339"/>
                    <a:pt x="2" y="2760155"/>
                  </a:cubicBezTo>
                  <a:close/>
                  <a:moveTo>
                    <a:pt x="2" y="2820880"/>
                  </a:moveTo>
                  <a:cubicBezTo>
                    <a:pt x="2" y="2820880"/>
                    <a:pt x="2" y="2820880"/>
                    <a:pt x="319174" y="2820880"/>
                  </a:cubicBezTo>
                  <a:cubicBezTo>
                    <a:pt x="319174" y="2820880"/>
                    <a:pt x="319174" y="2820880"/>
                    <a:pt x="1196529" y="2820880"/>
                  </a:cubicBezTo>
                  <a:cubicBezTo>
                    <a:pt x="1196529" y="2820880"/>
                    <a:pt x="1196529" y="2820880"/>
                    <a:pt x="1776844" y="2240539"/>
                  </a:cubicBezTo>
                  <a:cubicBezTo>
                    <a:pt x="1776844" y="2240539"/>
                    <a:pt x="1776844" y="2240539"/>
                    <a:pt x="2340805" y="2240539"/>
                  </a:cubicBezTo>
                  <a:cubicBezTo>
                    <a:pt x="2343878" y="2256284"/>
                    <a:pt x="2358017" y="2267723"/>
                    <a:pt x="2374861" y="2267723"/>
                  </a:cubicBezTo>
                  <a:cubicBezTo>
                    <a:pt x="2394164" y="2267723"/>
                    <a:pt x="2409901" y="2251978"/>
                    <a:pt x="2409901" y="2232666"/>
                  </a:cubicBezTo>
                  <a:cubicBezTo>
                    <a:pt x="2409901" y="2213232"/>
                    <a:pt x="2394164" y="2197487"/>
                    <a:pt x="2374861" y="2197487"/>
                  </a:cubicBezTo>
                  <a:cubicBezTo>
                    <a:pt x="2358632" y="2197487"/>
                    <a:pt x="2345476" y="2207942"/>
                    <a:pt x="2341296" y="2222703"/>
                  </a:cubicBezTo>
                  <a:cubicBezTo>
                    <a:pt x="2341296" y="2222703"/>
                    <a:pt x="2341296" y="2222703"/>
                    <a:pt x="1776844" y="2222703"/>
                  </a:cubicBezTo>
                  <a:cubicBezTo>
                    <a:pt x="1776844" y="2222703"/>
                    <a:pt x="1776844" y="2222703"/>
                    <a:pt x="1196529" y="2803536"/>
                  </a:cubicBezTo>
                  <a:cubicBezTo>
                    <a:pt x="1196529" y="2803536"/>
                    <a:pt x="1196529" y="2803536"/>
                    <a:pt x="2" y="2803536"/>
                  </a:cubicBezTo>
                  <a:cubicBezTo>
                    <a:pt x="2" y="2803536"/>
                    <a:pt x="2" y="2803536"/>
                    <a:pt x="2" y="2820880"/>
                  </a:cubicBezTo>
                  <a:close/>
                  <a:moveTo>
                    <a:pt x="2" y="2974861"/>
                  </a:moveTo>
                  <a:cubicBezTo>
                    <a:pt x="2" y="2974861"/>
                    <a:pt x="2" y="2974861"/>
                    <a:pt x="1179260" y="2974861"/>
                  </a:cubicBezTo>
                  <a:cubicBezTo>
                    <a:pt x="1179260" y="2974861"/>
                    <a:pt x="1179260" y="2974861"/>
                    <a:pt x="1762620" y="2391389"/>
                  </a:cubicBezTo>
                  <a:cubicBezTo>
                    <a:pt x="1767291" y="2393480"/>
                    <a:pt x="1771964" y="2394587"/>
                    <a:pt x="1777250" y="2394587"/>
                  </a:cubicBezTo>
                  <a:cubicBezTo>
                    <a:pt x="1796675" y="2394587"/>
                    <a:pt x="1812411" y="2378844"/>
                    <a:pt x="1812411" y="2359411"/>
                  </a:cubicBezTo>
                  <a:cubicBezTo>
                    <a:pt x="1812411" y="2340102"/>
                    <a:pt x="1796675" y="2324359"/>
                    <a:pt x="1777250" y="2324359"/>
                  </a:cubicBezTo>
                  <a:cubicBezTo>
                    <a:pt x="1757825" y="2324359"/>
                    <a:pt x="1742089" y="2340102"/>
                    <a:pt x="1742089" y="2359411"/>
                  </a:cubicBezTo>
                  <a:cubicBezTo>
                    <a:pt x="1742089" y="2368882"/>
                    <a:pt x="1745776" y="2377860"/>
                    <a:pt x="1752539" y="2384133"/>
                  </a:cubicBezTo>
                  <a:cubicBezTo>
                    <a:pt x="1752539" y="2384133"/>
                    <a:pt x="1752539" y="2384133"/>
                    <a:pt x="1179260" y="2957642"/>
                  </a:cubicBezTo>
                  <a:cubicBezTo>
                    <a:pt x="1179260" y="2957642"/>
                    <a:pt x="1179260" y="2957642"/>
                    <a:pt x="2" y="2957642"/>
                  </a:cubicBezTo>
                  <a:cubicBezTo>
                    <a:pt x="2" y="2957642"/>
                    <a:pt x="2" y="2957642"/>
                    <a:pt x="2" y="2974861"/>
                  </a:cubicBezTo>
                  <a:close/>
                  <a:moveTo>
                    <a:pt x="2" y="3044803"/>
                  </a:moveTo>
                  <a:cubicBezTo>
                    <a:pt x="2" y="3044803"/>
                    <a:pt x="2" y="3044803"/>
                    <a:pt x="1232133" y="3044803"/>
                  </a:cubicBezTo>
                  <a:cubicBezTo>
                    <a:pt x="1232133" y="3044803"/>
                    <a:pt x="1232133" y="3044803"/>
                    <a:pt x="1885696" y="2391363"/>
                  </a:cubicBezTo>
                  <a:cubicBezTo>
                    <a:pt x="1890491" y="2393453"/>
                    <a:pt x="1895163" y="2394559"/>
                    <a:pt x="1900449" y="2394559"/>
                  </a:cubicBezTo>
                  <a:cubicBezTo>
                    <a:pt x="1919752" y="2394559"/>
                    <a:pt x="1935488" y="2378822"/>
                    <a:pt x="1935488" y="2359398"/>
                  </a:cubicBezTo>
                  <a:cubicBezTo>
                    <a:pt x="1935488" y="2340095"/>
                    <a:pt x="1919752" y="2324359"/>
                    <a:pt x="1900449" y="2324359"/>
                  </a:cubicBezTo>
                  <a:cubicBezTo>
                    <a:pt x="1881024" y="2324359"/>
                    <a:pt x="1865288" y="2340095"/>
                    <a:pt x="1865288" y="2359398"/>
                  </a:cubicBezTo>
                  <a:cubicBezTo>
                    <a:pt x="1865288" y="2368864"/>
                    <a:pt x="1868976" y="2377839"/>
                    <a:pt x="1875246" y="2384109"/>
                  </a:cubicBezTo>
                  <a:cubicBezTo>
                    <a:pt x="1875246" y="2384109"/>
                    <a:pt x="1875246" y="2384109"/>
                    <a:pt x="1232133" y="3027591"/>
                  </a:cubicBezTo>
                  <a:cubicBezTo>
                    <a:pt x="1232133" y="3027591"/>
                    <a:pt x="1232133" y="3027591"/>
                    <a:pt x="2" y="3027591"/>
                  </a:cubicBezTo>
                  <a:cubicBezTo>
                    <a:pt x="2" y="3027591"/>
                    <a:pt x="2" y="3027591"/>
                    <a:pt x="2" y="3044803"/>
                  </a:cubicBezTo>
                  <a:close/>
                  <a:moveTo>
                    <a:pt x="2" y="3115830"/>
                  </a:moveTo>
                  <a:cubicBezTo>
                    <a:pt x="2" y="3115830"/>
                    <a:pt x="2" y="3115830"/>
                    <a:pt x="1284897" y="3115830"/>
                  </a:cubicBezTo>
                  <a:cubicBezTo>
                    <a:pt x="1284897" y="3115830"/>
                    <a:pt x="1284897" y="3115830"/>
                    <a:pt x="2009304" y="2391381"/>
                  </a:cubicBezTo>
                  <a:cubicBezTo>
                    <a:pt x="2014101" y="2393471"/>
                    <a:pt x="2018773" y="2394578"/>
                    <a:pt x="2023938" y="2394578"/>
                  </a:cubicBezTo>
                  <a:cubicBezTo>
                    <a:pt x="2043366" y="2394578"/>
                    <a:pt x="2059106" y="2378837"/>
                    <a:pt x="2059106" y="2359407"/>
                  </a:cubicBezTo>
                  <a:cubicBezTo>
                    <a:pt x="2059106" y="2340100"/>
                    <a:pt x="2043366" y="2324359"/>
                    <a:pt x="2023938" y="2324359"/>
                  </a:cubicBezTo>
                  <a:cubicBezTo>
                    <a:pt x="2004632" y="2324359"/>
                    <a:pt x="1988892" y="2340100"/>
                    <a:pt x="1988892" y="2359407"/>
                  </a:cubicBezTo>
                  <a:cubicBezTo>
                    <a:pt x="1988892" y="2368876"/>
                    <a:pt x="1992581" y="2377853"/>
                    <a:pt x="1998852" y="2384125"/>
                  </a:cubicBezTo>
                  <a:cubicBezTo>
                    <a:pt x="1998852" y="2384125"/>
                    <a:pt x="1998852" y="2384125"/>
                    <a:pt x="1284897" y="3097998"/>
                  </a:cubicBezTo>
                  <a:cubicBezTo>
                    <a:pt x="1284897" y="3097998"/>
                    <a:pt x="1284897" y="3097998"/>
                    <a:pt x="2" y="3097998"/>
                  </a:cubicBezTo>
                  <a:cubicBezTo>
                    <a:pt x="2" y="3097998"/>
                    <a:pt x="2" y="3097998"/>
                    <a:pt x="2" y="3115830"/>
                  </a:cubicBezTo>
                  <a:close/>
                  <a:moveTo>
                    <a:pt x="2" y="3185772"/>
                  </a:moveTo>
                  <a:cubicBezTo>
                    <a:pt x="2" y="3185772"/>
                    <a:pt x="2" y="3185772"/>
                    <a:pt x="1337689" y="3185772"/>
                  </a:cubicBezTo>
                  <a:cubicBezTo>
                    <a:pt x="1337689" y="3185772"/>
                    <a:pt x="1337689" y="3185772"/>
                    <a:pt x="2132384" y="2391359"/>
                  </a:cubicBezTo>
                  <a:cubicBezTo>
                    <a:pt x="2136565" y="2393449"/>
                    <a:pt x="2141852" y="2394555"/>
                    <a:pt x="2147016" y="2394555"/>
                  </a:cubicBezTo>
                  <a:cubicBezTo>
                    <a:pt x="2166443" y="2394555"/>
                    <a:pt x="2182182" y="2378820"/>
                    <a:pt x="2182182" y="2359395"/>
                  </a:cubicBezTo>
                  <a:cubicBezTo>
                    <a:pt x="2182182" y="2340095"/>
                    <a:pt x="2166443" y="2324359"/>
                    <a:pt x="2147016" y="2324359"/>
                  </a:cubicBezTo>
                  <a:cubicBezTo>
                    <a:pt x="2127712" y="2324359"/>
                    <a:pt x="2111358" y="2340095"/>
                    <a:pt x="2111358" y="2359395"/>
                  </a:cubicBezTo>
                  <a:cubicBezTo>
                    <a:pt x="2111358" y="2368861"/>
                    <a:pt x="2115539" y="2377836"/>
                    <a:pt x="2121933" y="2384106"/>
                  </a:cubicBezTo>
                  <a:cubicBezTo>
                    <a:pt x="2121933" y="2384106"/>
                    <a:pt x="2121933" y="2384106"/>
                    <a:pt x="1337689" y="3167946"/>
                  </a:cubicBezTo>
                  <a:cubicBezTo>
                    <a:pt x="1337689" y="3167946"/>
                    <a:pt x="1337689" y="3167946"/>
                    <a:pt x="2" y="3167946"/>
                  </a:cubicBezTo>
                  <a:cubicBezTo>
                    <a:pt x="2" y="3167946"/>
                    <a:pt x="2" y="3167946"/>
                    <a:pt x="2" y="3185772"/>
                  </a:cubicBezTo>
                  <a:close/>
                  <a:moveTo>
                    <a:pt x="1154880" y="3350991"/>
                  </a:moveTo>
                  <a:cubicBezTo>
                    <a:pt x="1163854" y="3350991"/>
                    <a:pt x="1172766" y="3347589"/>
                    <a:pt x="1179588" y="3340785"/>
                  </a:cubicBezTo>
                  <a:cubicBezTo>
                    <a:pt x="1193233" y="3327176"/>
                    <a:pt x="1193233" y="3304741"/>
                    <a:pt x="1179588" y="3291133"/>
                  </a:cubicBezTo>
                  <a:cubicBezTo>
                    <a:pt x="1172766" y="3284329"/>
                    <a:pt x="1163854" y="3280927"/>
                    <a:pt x="1154880" y="3280927"/>
                  </a:cubicBezTo>
                  <a:cubicBezTo>
                    <a:pt x="1145906" y="3280927"/>
                    <a:pt x="1136872" y="3284329"/>
                    <a:pt x="1129803" y="3291133"/>
                  </a:cubicBezTo>
                  <a:cubicBezTo>
                    <a:pt x="1126116" y="3294811"/>
                    <a:pt x="1123534" y="3298979"/>
                    <a:pt x="1121936" y="3303638"/>
                  </a:cubicBezTo>
                  <a:cubicBezTo>
                    <a:pt x="1121936" y="3303638"/>
                    <a:pt x="1121936" y="3303638"/>
                    <a:pt x="2" y="3303638"/>
                  </a:cubicBezTo>
                  <a:cubicBezTo>
                    <a:pt x="2" y="3303638"/>
                    <a:pt x="2" y="3303638"/>
                    <a:pt x="2" y="3326686"/>
                  </a:cubicBezTo>
                  <a:cubicBezTo>
                    <a:pt x="2" y="3326686"/>
                    <a:pt x="2" y="3326686"/>
                    <a:pt x="10942" y="3316143"/>
                  </a:cubicBezTo>
                  <a:cubicBezTo>
                    <a:pt x="10942" y="3316143"/>
                    <a:pt x="10942" y="3316143"/>
                    <a:pt x="1119846" y="3316143"/>
                  </a:cubicBezTo>
                  <a:cubicBezTo>
                    <a:pt x="1119846" y="3325092"/>
                    <a:pt x="1123043" y="3333919"/>
                    <a:pt x="1129803" y="3340785"/>
                  </a:cubicBezTo>
                  <a:cubicBezTo>
                    <a:pt x="1136871" y="3347589"/>
                    <a:pt x="1145906" y="3350991"/>
                    <a:pt x="1154880" y="3350991"/>
                  </a:cubicBezTo>
                  <a:close/>
                  <a:moveTo>
                    <a:pt x="1067982" y="3437766"/>
                  </a:moveTo>
                  <a:cubicBezTo>
                    <a:pt x="1077035" y="3437766"/>
                    <a:pt x="1086072" y="3434389"/>
                    <a:pt x="1092835" y="3427635"/>
                  </a:cubicBezTo>
                  <a:cubicBezTo>
                    <a:pt x="1106483" y="3414006"/>
                    <a:pt x="1106483" y="3391412"/>
                    <a:pt x="1092835" y="3377905"/>
                  </a:cubicBezTo>
                  <a:cubicBezTo>
                    <a:pt x="1086072" y="3371090"/>
                    <a:pt x="1077035" y="3367682"/>
                    <a:pt x="1067982" y="3367682"/>
                  </a:cubicBezTo>
                  <a:cubicBezTo>
                    <a:pt x="1058929" y="3367682"/>
                    <a:pt x="1049861" y="3371090"/>
                    <a:pt x="1043036" y="3377905"/>
                  </a:cubicBezTo>
                  <a:cubicBezTo>
                    <a:pt x="1039471" y="3381465"/>
                    <a:pt x="1036766" y="3385763"/>
                    <a:pt x="1035168" y="3390429"/>
                  </a:cubicBezTo>
                  <a:cubicBezTo>
                    <a:pt x="1035168" y="3390429"/>
                    <a:pt x="1035168" y="3390429"/>
                    <a:pt x="10946" y="3390429"/>
                  </a:cubicBezTo>
                  <a:cubicBezTo>
                    <a:pt x="10946" y="3390429"/>
                    <a:pt x="10946" y="3390429"/>
                    <a:pt x="2" y="3400867"/>
                  </a:cubicBezTo>
                  <a:cubicBezTo>
                    <a:pt x="2" y="3400867"/>
                    <a:pt x="2" y="3400867"/>
                    <a:pt x="2" y="3426039"/>
                  </a:cubicBezTo>
                  <a:cubicBezTo>
                    <a:pt x="2" y="3426039"/>
                    <a:pt x="2" y="3426039"/>
                    <a:pt x="23610" y="3402954"/>
                  </a:cubicBezTo>
                  <a:cubicBezTo>
                    <a:pt x="23610" y="3402954"/>
                    <a:pt x="23610" y="3402954"/>
                    <a:pt x="1033078" y="3402954"/>
                  </a:cubicBezTo>
                  <a:cubicBezTo>
                    <a:pt x="1033078" y="3411918"/>
                    <a:pt x="1036274" y="3420759"/>
                    <a:pt x="1043036" y="3427635"/>
                  </a:cubicBezTo>
                  <a:cubicBezTo>
                    <a:pt x="1049861" y="3434389"/>
                    <a:pt x="1058929" y="3437766"/>
                    <a:pt x="1067982" y="3437766"/>
                  </a:cubicBezTo>
                  <a:close/>
                  <a:moveTo>
                    <a:pt x="2" y="3525861"/>
                  </a:moveTo>
                  <a:cubicBezTo>
                    <a:pt x="2" y="3525861"/>
                    <a:pt x="2" y="3525861"/>
                    <a:pt x="35665" y="3490308"/>
                  </a:cubicBezTo>
                  <a:cubicBezTo>
                    <a:pt x="35665" y="3490308"/>
                    <a:pt x="35665" y="3490308"/>
                    <a:pt x="946314" y="3490308"/>
                  </a:cubicBezTo>
                  <a:cubicBezTo>
                    <a:pt x="946314" y="3499135"/>
                    <a:pt x="949388" y="3508084"/>
                    <a:pt x="956275" y="3514827"/>
                  </a:cubicBezTo>
                  <a:cubicBezTo>
                    <a:pt x="969926" y="3528435"/>
                    <a:pt x="992431" y="3528435"/>
                    <a:pt x="1006082" y="3514827"/>
                  </a:cubicBezTo>
                  <a:cubicBezTo>
                    <a:pt x="1019732" y="3501219"/>
                    <a:pt x="1019732" y="3478784"/>
                    <a:pt x="1006082" y="3465175"/>
                  </a:cubicBezTo>
                  <a:cubicBezTo>
                    <a:pt x="999256" y="3458371"/>
                    <a:pt x="990217" y="3454969"/>
                    <a:pt x="981179" y="3454969"/>
                  </a:cubicBezTo>
                  <a:cubicBezTo>
                    <a:pt x="972140" y="3454969"/>
                    <a:pt x="963100" y="3458371"/>
                    <a:pt x="956275" y="3465175"/>
                  </a:cubicBezTo>
                  <a:cubicBezTo>
                    <a:pt x="952586" y="3468853"/>
                    <a:pt x="950004" y="3473022"/>
                    <a:pt x="948405" y="3477680"/>
                  </a:cubicBezTo>
                  <a:cubicBezTo>
                    <a:pt x="948405" y="3477680"/>
                    <a:pt x="948405" y="3477680"/>
                    <a:pt x="23614" y="3477680"/>
                  </a:cubicBezTo>
                  <a:cubicBezTo>
                    <a:pt x="23614" y="3477680"/>
                    <a:pt x="23614" y="3477680"/>
                    <a:pt x="2" y="3500728"/>
                  </a:cubicBezTo>
                  <a:cubicBezTo>
                    <a:pt x="2" y="3500728"/>
                    <a:pt x="2" y="3500728"/>
                    <a:pt x="2" y="3525861"/>
                  </a:cubicBezTo>
                  <a:close/>
                  <a:moveTo>
                    <a:pt x="8575308" y="3538083"/>
                  </a:moveTo>
                  <a:cubicBezTo>
                    <a:pt x="8592037" y="3538083"/>
                    <a:pt x="8605692" y="3526499"/>
                    <a:pt x="8609382" y="3510727"/>
                  </a:cubicBezTo>
                  <a:cubicBezTo>
                    <a:pt x="8927125" y="3510727"/>
                    <a:pt x="8927125" y="3510727"/>
                    <a:pt x="8927125" y="3510727"/>
                  </a:cubicBezTo>
                  <a:cubicBezTo>
                    <a:pt x="8927125" y="3493475"/>
                    <a:pt x="8927125" y="3493475"/>
                    <a:pt x="8927125" y="3493475"/>
                  </a:cubicBezTo>
                  <a:cubicBezTo>
                    <a:pt x="8608890" y="3493475"/>
                    <a:pt x="8608890" y="3493475"/>
                    <a:pt x="8608890" y="3493475"/>
                  </a:cubicBezTo>
                  <a:cubicBezTo>
                    <a:pt x="8604584" y="3478689"/>
                    <a:pt x="8591053" y="3467721"/>
                    <a:pt x="8575308" y="3467721"/>
                  </a:cubicBezTo>
                  <a:cubicBezTo>
                    <a:pt x="8555872" y="3467721"/>
                    <a:pt x="8540126" y="3483494"/>
                    <a:pt x="8540126" y="3502840"/>
                  </a:cubicBezTo>
                  <a:cubicBezTo>
                    <a:pt x="8540126" y="3522310"/>
                    <a:pt x="8555872" y="3538083"/>
                    <a:pt x="8575308" y="3538083"/>
                  </a:cubicBezTo>
                  <a:close/>
                  <a:moveTo>
                    <a:pt x="2" y="3625486"/>
                  </a:moveTo>
                  <a:cubicBezTo>
                    <a:pt x="2" y="3625486"/>
                    <a:pt x="2" y="3625486"/>
                    <a:pt x="48197" y="3577223"/>
                  </a:cubicBezTo>
                  <a:cubicBezTo>
                    <a:pt x="48197" y="3577223"/>
                    <a:pt x="48197" y="3577223"/>
                    <a:pt x="858549" y="3577223"/>
                  </a:cubicBezTo>
                  <a:cubicBezTo>
                    <a:pt x="858549" y="3586088"/>
                    <a:pt x="862237" y="3594952"/>
                    <a:pt x="869000" y="3601847"/>
                  </a:cubicBezTo>
                  <a:cubicBezTo>
                    <a:pt x="882647" y="3615513"/>
                    <a:pt x="905146" y="3615513"/>
                    <a:pt x="918793" y="3601847"/>
                  </a:cubicBezTo>
                  <a:cubicBezTo>
                    <a:pt x="932440" y="3588181"/>
                    <a:pt x="932440" y="3566142"/>
                    <a:pt x="918793" y="3551984"/>
                  </a:cubicBezTo>
                  <a:cubicBezTo>
                    <a:pt x="911970" y="3545150"/>
                    <a:pt x="902933" y="3541734"/>
                    <a:pt x="893896" y="3541734"/>
                  </a:cubicBezTo>
                  <a:cubicBezTo>
                    <a:pt x="884860" y="3541734"/>
                    <a:pt x="875823" y="3545150"/>
                    <a:pt x="869000" y="3551984"/>
                  </a:cubicBezTo>
                  <a:cubicBezTo>
                    <a:pt x="865311" y="3555677"/>
                    <a:pt x="862729" y="3559863"/>
                    <a:pt x="861131" y="3564542"/>
                  </a:cubicBezTo>
                  <a:cubicBezTo>
                    <a:pt x="861131" y="3564542"/>
                    <a:pt x="861131" y="3564542"/>
                    <a:pt x="35657" y="3564542"/>
                  </a:cubicBezTo>
                  <a:cubicBezTo>
                    <a:pt x="35657" y="3564542"/>
                    <a:pt x="35657" y="3564542"/>
                    <a:pt x="2" y="3600246"/>
                  </a:cubicBezTo>
                  <a:cubicBezTo>
                    <a:pt x="2" y="3600246"/>
                    <a:pt x="2" y="3600246"/>
                    <a:pt x="2" y="3625486"/>
                  </a:cubicBezTo>
                  <a:close/>
                  <a:moveTo>
                    <a:pt x="7296271" y="3675798"/>
                  </a:moveTo>
                  <a:cubicBezTo>
                    <a:pt x="7315699" y="3675799"/>
                    <a:pt x="7331314" y="3660065"/>
                    <a:pt x="7331314" y="3640767"/>
                  </a:cubicBezTo>
                  <a:cubicBezTo>
                    <a:pt x="7331314" y="3630810"/>
                    <a:pt x="7327748" y="3621837"/>
                    <a:pt x="7321355" y="3615568"/>
                  </a:cubicBezTo>
                  <a:cubicBezTo>
                    <a:pt x="8105576" y="2831717"/>
                    <a:pt x="8105576" y="2831717"/>
                    <a:pt x="8105576" y="2831717"/>
                  </a:cubicBezTo>
                  <a:cubicBezTo>
                    <a:pt x="9143458" y="2831717"/>
                    <a:pt x="9143458" y="2831717"/>
                    <a:pt x="9143458" y="2831717"/>
                  </a:cubicBezTo>
                  <a:cubicBezTo>
                    <a:pt x="9143458" y="2814385"/>
                    <a:pt x="9143458" y="2814385"/>
                    <a:pt x="9143458" y="2814385"/>
                  </a:cubicBezTo>
                  <a:cubicBezTo>
                    <a:pt x="8105576" y="2814385"/>
                    <a:pt x="8105576" y="2814385"/>
                    <a:pt x="8105576" y="2814385"/>
                  </a:cubicBezTo>
                  <a:cubicBezTo>
                    <a:pt x="7310903" y="3608808"/>
                    <a:pt x="7310903" y="3608808"/>
                    <a:pt x="7310903" y="3608808"/>
                  </a:cubicBezTo>
                  <a:cubicBezTo>
                    <a:pt x="7306723" y="3606718"/>
                    <a:pt x="7301435" y="3605612"/>
                    <a:pt x="7296271" y="3605612"/>
                  </a:cubicBezTo>
                  <a:cubicBezTo>
                    <a:pt x="7276844" y="3605612"/>
                    <a:pt x="7261106" y="3621345"/>
                    <a:pt x="7261106" y="3640767"/>
                  </a:cubicBezTo>
                  <a:cubicBezTo>
                    <a:pt x="7261106" y="3660065"/>
                    <a:pt x="7276844" y="3675798"/>
                    <a:pt x="7296271" y="3675798"/>
                  </a:cubicBezTo>
                  <a:close/>
                  <a:moveTo>
                    <a:pt x="7665916" y="3676340"/>
                  </a:moveTo>
                  <a:cubicBezTo>
                    <a:pt x="7685342" y="3676340"/>
                    <a:pt x="7701078" y="3660600"/>
                    <a:pt x="7701078" y="3641292"/>
                  </a:cubicBezTo>
                  <a:cubicBezTo>
                    <a:pt x="7701078" y="3631331"/>
                    <a:pt x="7697390" y="3622353"/>
                    <a:pt x="7690628" y="3616081"/>
                  </a:cubicBezTo>
                  <a:cubicBezTo>
                    <a:pt x="8263916" y="3043128"/>
                    <a:pt x="8263916" y="3043128"/>
                    <a:pt x="8263916" y="3043128"/>
                  </a:cubicBezTo>
                  <a:cubicBezTo>
                    <a:pt x="9143458" y="3043128"/>
                    <a:pt x="9143458" y="3043128"/>
                    <a:pt x="9143458" y="3043128"/>
                  </a:cubicBezTo>
                  <a:cubicBezTo>
                    <a:pt x="9143458" y="3025296"/>
                    <a:pt x="9143458" y="3025296"/>
                    <a:pt x="9143458" y="3025296"/>
                  </a:cubicBezTo>
                  <a:cubicBezTo>
                    <a:pt x="8263916" y="3025296"/>
                    <a:pt x="8263916" y="3025296"/>
                    <a:pt x="8263916" y="3025296"/>
                  </a:cubicBezTo>
                  <a:cubicBezTo>
                    <a:pt x="7680670" y="3609318"/>
                    <a:pt x="7680670" y="3609318"/>
                    <a:pt x="7680670" y="3609318"/>
                  </a:cubicBezTo>
                  <a:cubicBezTo>
                    <a:pt x="7675875" y="3607227"/>
                    <a:pt x="7671203" y="3606120"/>
                    <a:pt x="7665916" y="3606120"/>
                  </a:cubicBezTo>
                  <a:cubicBezTo>
                    <a:pt x="7646614" y="3606120"/>
                    <a:pt x="7630878" y="3621861"/>
                    <a:pt x="7630878" y="3641292"/>
                  </a:cubicBezTo>
                  <a:cubicBezTo>
                    <a:pt x="7630878" y="3660600"/>
                    <a:pt x="7646614" y="3676340"/>
                    <a:pt x="7665916" y="3676340"/>
                  </a:cubicBezTo>
                  <a:close/>
                  <a:moveTo>
                    <a:pt x="7542837" y="3676340"/>
                  </a:moveTo>
                  <a:cubicBezTo>
                    <a:pt x="7562261" y="3676340"/>
                    <a:pt x="7577997" y="3660606"/>
                    <a:pt x="7577997" y="3641306"/>
                  </a:cubicBezTo>
                  <a:cubicBezTo>
                    <a:pt x="7577997" y="3631348"/>
                    <a:pt x="7574309" y="3622374"/>
                    <a:pt x="7567547" y="3616105"/>
                  </a:cubicBezTo>
                  <a:cubicBezTo>
                    <a:pt x="8211115" y="2973056"/>
                    <a:pt x="8211115" y="2973056"/>
                    <a:pt x="8211115" y="2973056"/>
                  </a:cubicBezTo>
                  <a:cubicBezTo>
                    <a:pt x="9143458" y="2973056"/>
                    <a:pt x="9143458" y="2973056"/>
                    <a:pt x="9143458" y="2973056"/>
                  </a:cubicBezTo>
                  <a:cubicBezTo>
                    <a:pt x="9143458" y="2955354"/>
                    <a:pt x="9143458" y="2955354"/>
                    <a:pt x="9143458" y="2955354"/>
                  </a:cubicBezTo>
                  <a:cubicBezTo>
                    <a:pt x="8211115" y="2955354"/>
                    <a:pt x="8211115" y="2955354"/>
                    <a:pt x="8211115" y="2955354"/>
                  </a:cubicBezTo>
                  <a:cubicBezTo>
                    <a:pt x="7557589" y="3609343"/>
                    <a:pt x="7557589" y="3609343"/>
                    <a:pt x="7557589" y="3609343"/>
                  </a:cubicBezTo>
                  <a:cubicBezTo>
                    <a:pt x="7552795" y="3607254"/>
                    <a:pt x="7548123" y="3606147"/>
                    <a:pt x="7542837" y="3606147"/>
                  </a:cubicBezTo>
                  <a:cubicBezTo>
                    <a:pt x="7523536" y="3606147"/>
                    <a:pt x="7507801" y="3621882"/>
                    <a:pt x="7507801" y="3641306"/>
                  </a:cubicBezTo>
                  <a:cubicBezTo>
                    <a:pt x="7507801" y="3660606"/>
                    <a:pt x="7523536" y="3676340"/>
                    <a:pt x="7542837" y="3676340"/>
                  </a:cubicBezTo>
                  <a:close/>
                  <a:moveTo>
                    <a:pt x="7419893" y="3676340"/>
                  </a:moveTo>
                  <a:cubicBezTo>
                    <a:pt x="7439198" y="3676340"/>
                    <a:pt x="7454938" y="3660602"/>
                    <a:pt x="7454938" y="3641298"/>
                  </a:cubicBezTo>
                  <a:cubicBezTo>
                    <a:pt x="7454938" y="3631338"/>
                    <a:pt x="7451249" y="3622362"/>
                    <a:pt x="7444978" y="3616092"/>
                  </a:cubicBezTo>
                  <a:cubicBezTo>
                    <a:pt x="8158427" y="2902207"/>
                    <a:pt x="8158427" y="2902207"/>
                    <a:pt x="8158427" y="2902207"/>
                  </a:cubicBezTo>
                  <a:cubicBezTo>
                    <a:pt x="9144000" y="2902207"/>
                    <a:pt x="9144000" y="2902207"/>
                    <a:pt x="9144000" y="2902207"/>
                  </a:cubicBezTo>
                  <a:cubicBezTo>
                    <a:pt x="9144000" y="2884870"/>
                    <a:pt x="9144000" y="2884870"/>
                    <a:pt x="9144000" y="2884870"/>
                  </a:cubicBezTo>
                  <a:cubicBezTo>
                    <a:pt x="8158427" y="2884870"/>
                    <a:pt x="8158427" y="2884870"/>
                    <a:pt x="8158427" y="2884870"/>
                  </a:cubicBezTo>
                  <a:cubicBezTo>
                    <a:pt x="7434526" y="3609329"/>
                    <a:pt x="7434526" y="3609329"/>
                    <a:pt x="7434526" y="3609329"/>
                  </a:cubicBezTo>
                  <a:cubicBezTo>
                    <a:pt x="7429853" y="3607239"/>
                    <a:pt x="7425057" y="3606132"/>
                    <a:pt x="7419893" y="3606132"/>
                  </a:cubicBezTo>
                  <a:cubicBezTo>
                    <a:pt x="7400464" y="3606132"/>
                    <a:pt x="7384724" y="3621871"/>
                    <a:pt x="7384724" y="3641298"/>
                  </a:cubicBezTo>
                  <a:cubicBezTo>
                    <a:pt x="7384724" y="3660602"/>
                    <a:pt x="7400464" y="3676340"/>
                    <a:pt x="7419893" y="3676340"/>
                  </a:cubicBezTo>
                  <a:close/>
                  <a:moveTo>
                    <a:pt x="6909687" y="3764175"/>
                  </a:moveTo>
                  <a:cubicBezTo>
                    <a:pt x="6926408" y="3764175"/>
                    <a:pt x="6940546" y="3752129"/>
                    <a:pt x="6943743" y="3736396"/>
                  </a:cubicBezTo>
                  <a:cubicBezTo>
                    <a:pt x="7701078" y="3736396"/>
                    <a:pt x="7701078" y="3736396"/>
                    <a:pt x="7701078" y="3736396"/>
                  </a:cubicBezTo>
                  <a:cubicBezTo>
                    <a:pt x="8316413" y="3121194"/>
                    <a:pt x="8316413" y="3121194"/>
                    <a:pt x="8316413" y="3121194"/>
                  </a:cubicBezTo>
                  <a:cubicBezTo>
                    <a:pt x="9143458" y="3121194"/>
                    <a:pt x="9143458" y="3121194"/>
                    <a:pt x="9143458" y="3121194"/>
                  </a:cubicBezTo>
                  <a:cubicBezTo>
                    <a:pt x="9143458" y="3103371"/>
                    <a:pt x="9143458" y="3103371"/>
                    <a:pt x="9143458" y="3103371"/>
                  </a:cubicBezTo>
                  <a:cubicBezTo>
                    <a:pt x="8316413" y="3103371"/>
                    <a:pt x="8316413" y="3103371"/>
                    <a:pt x="8316413" y="3103371"/>
                  </a:cubicBezTo>
                  <a:cubicBezTo>
                    <a:pt x="7701078" y="3719064"/>
                    <a:pt x="7701078" y="3719064"/>
                    <a:pt x="7701078" y="3719064"/>
                  </a:cubicBezTo>
                  <a:cubicBezTo>
                    <a:pt x="6943128" y="3719064"/>
                    <a:pt x="6943128" y="3719064"/>
                    <a:pt x="6943128" y="3719064"/>
                  </a:cubicBezTo>
                  <a:cubicBezTo>
                    <a:pt x="6938948" y="3704437"/>
                    <a:pt x="6925916" y="3693375"/>
                    <a:pt x="6909687" y="3693375"/>
                  </a:cubicBezTo>
                  <a:cubicBezTo>
                    <a:pt x="6890262" y="3693375"/>
                    <a:pt x="6874526" y="3709108"/>
                    <a:pt x="6874526" y="3729021"/>
                  </a:cubicBezTo>
                  <a:cubicBezTo>
                    <a:pt x="6874526" y="3748441"/>
                    <a:pt x="6890262" y="3764175"/>
                    <a:pt x="6909687" y="3764175"/>
                  </a:cubicBezTo>
                  <a:close/>
                  <a:moveTo>
                    <a:pt x="6909687" y="3887794"/>
                  </a:moveTo>
                  <a:cubicBezTo>
                    <a:pt x="6926408" y="3887794"/>
                    <a:pt x="6940546" y="3875741"/>
                    <a:pt x="6943743" y="3859998"/>
                  </a:cubicBezTo>
                  <a:cubicBezTo>
                    <a:pt x="7665916" y="3859998"/>
                    <a:pt x="7665916" y="3859998"/>
                    <a:pt x="7665916" y="3859998"/>
                  </a:cubicBezTo>
                  <a:cubicBezTo>
                    <a:pt x="8352067" y="3174216"/>
                    <a:pt x="8352067" y="3174216"/>
                    <a:pt x="8352067" y="3174216"/>
                  </a:cubicBezTo>
                  <a:cubicBezTo>
                    <a:pt x="9143458" y="3174216"/>
                    <a:pt x="9143458" y="3174216"/>
                    <a:pt x="9143458" y="3174216"/>
                  </a:cubicBezTo>
                  <a:cubicBezTo>
                    <a:pt x="9143458" y="3156506"/>
                    <a:pt x="9143458" y="3156506"/>
                    <a:pt x="9143458" y="3156506"/>
                  </a:cubicBezTo>
                  <a:cubicBezTo>
                    <a:pt x="8352067" y="3156506"/>
                    <a:pt x="8352067" y="3156506"/>
                    <a:pt x="8352067" y="3156506"/>
                  </a:cubicBezTo>
                  <a:cubicBezTo>
                    <a:pt x="7665916" y="3842780"/>
                    <a:pt x="7665916" y="3842780"/>
                    <a:pt x="7665916" y="3842780"/>
                  </a:cubicBezTo>
                  <a:cubicBezTo>
                    <a:pt x="6943128" y="3842780"/>
                    <a:pt x="6943128" y="3842780"/>
                    <a:pt x="6943128" y="3842780"/>
                  </a:cubicBezTo>
                  <a:cubicBezTo>
                    <a:pt x="6938948" y="3828021"/>
                    <a:pt x="6925916" y="3817075"/>
                    <a:pt x="6909687" y="3817075"/>
                  </a:cubicBezTo>
                  <a:cubicBezTo>
                    <a:pt x="6890262" y="3817075"/>
                    <a:pt x="6874526" y="3832818"/>
                    <a:pt x="6874526" y="3852250"/>
                  </a:cubicBezTo>
                  <a:cubicBezTo>
                    <a:pt x="6874526" y="3871559"/>
                    <a:pt x="6890262" y="3887794"/>
                    <a:pt x="6909687" y="3887794"/>
                  </a:cubicBezTo>
                  <a:close/>
                  <a:moveTo>
                    <a:pt x="8562694" y="3905143"/>
                  </a:moveTo>
                  <a:cubicBezTo>
                    <a:pt x="8579536" y="3905143"/>
                    <a:pt x="8593674" y="3893560"/>
                    <a:pt x="8597362" y="3877788"/>
                  </a:cubicBezTo>
                  <a:cubicBezTo>
                    <a:pt x="9143458" y="3877788"/>
                    <a:pt x="9143458" y="3877788"/>
                    <a:pt x="9143458" y="3877788"/>
                  </a:cubicBezTo>
                  <a:cubicBezTo>
                    <a:pt x="9143458" y="3859920"/>
                    <a:pt x="9143458" y="3859920"/>
                    <a:pt x="9143458" y="3859920"/>
                  </a:cubicBezTo>
                  <a:cubicBezTo>
                    <a:pt x="8596748" y="3859920"/>
                    <a:pt x="8596748" y="3859920"/>
                    <a:pt x="8596748" y="3859920"/>
                  </a:cubicBezTo>
                  <a:cubicBezTo>
                    <a:pt x="8592568" y="3845257"/>
                    <a:pt x="8578921" y="3834782"/>
                    <a:pt x="8562694" y="3834782"/>
                  </a:cubicBezTo>
                  <a:cubicBezTo>
                    <a:pt x="8543392" y="3834782"/>
                    <a:pt x="8527656" y="3850555"/>
                    <a:pt x="8527656" y="3869901"/>
                  </a:cubicBezTo>
                  <a:cubicBezTo>
                    <a:pt x="8527656" y="3889370"/>
                    <a:pt x="8543392" y="3905143"/>
                    <a:pt x="8562694" y="3905143"/>
                  </a:cubicBezTo>
                  <a:close/>
                  <a:moveTo>
                    <a:pt x="8562694" y="4028220"/>
                  </a:moveTo>
                  <a:cubicBezTo>
                    <a:pt x="8579536" y="4028220"/>
                    <a:pt x="8593674" y="4016637"/>
                    <a:pt x="8597362" y="4000864"/>
                  </a:cubicBezTo>
                  <a:cubicBezTo>
                    <a:pt x="9143458" y="4000864"/>
                    <a:pt x="9143458" y="4000864"/>
                    <a:pt x="9143458" y="4000864"/>
                  </a:cubicBezTo>
                  <a:cubicBezTo>
                    <a:pt x="9143458" y="3982997"/>
                    <a:pt x="9143458" y="3982997"/>
                    <a:pt x="9143458" y="3982997"/>
                  </a:cubicBezTo>
                  <a:cubicBezTo>
                    <a:pt x="8596748" y="3982997"/>
                    <a:pt x="8596748" y="3982997"/>
                    <a:pt x="8596748" y="3982997"/>
                  </a:cubicBezTo>
                  <a:cubicBezTo>
                    <a:pt x="8592568" y="3968333"/>
                    <a:pt x="8578921" y="3957859"/>
                    <a:pt x="8562694" y="3957859"/>
                  </a:cubicBezTo>
                  <a:cubicBezTo>
                    <a:pt x="8543392" y="3957859"/>
                    <a:pt x="8527656" y="3973632"/>
                    <a:pt x="8527656" y="3992978"/>
                  </a:cubicBezTo>
                  <a:cubicBezTo>
                    <a:pt x="8527656" y="4012447"/>
                    <a:pt x="8543392" y="4028220"/>
                    <a:pt x="8562694" y="4028220"/>
                  </a:cubicBezTo>
                  <a:close/>
                  <a:moveTo>
                    <a:pt x="7665916" y="4116055"/>
                  </a:moveTo>
                  <a:cubicBezTo>
                    <a:pt x="7685342" y="4116055"/>
                    <a:pt x="7701078" y="4100312"/>
                    <a:pt x="7701078" y="4080879"/>
                  </a:cubicBezTo>
                  <a:cubicBezTo>
                    <a:pt x="7701078" y="4070917"/>
                    <a:pt x="7697390" y="4062061"/>
                    <a:pt x="7690628" y="4055789"/>
                  </a:cubicBezTo>
                  <a:cubicBezTo>
                    <a:pt x="8316413" y="3429760"/>
                    <a:pt x="8316413" y="3429760"/>
                    <a:pt x="8316413" y="3429760"/>
                  </a:cubicBezTo>
                  <a:cubicBezTo>
                    <a:pt x="9143458" y="3429760"/>
                    <a:pt x="9143458" y="3429760"/>
                    <a:pt x="9143458" y="3429760"/>
                  </a:cubicBezTo>
                  <a:cubicBezTo>
                    <a:pt x="9143458" y="3412418"/>
                    <a:pt x="9143458" y="3412418"/>
                    <a:pt x="9143458" y="3412418"/>
                  </a:cubicBezTo>
                  <a:cubicBezTo>
                    <a:pt x="8316413" y="3412418"/>
                    <a:pt x="8316413" y="3412418"/>
                    <a:pt x="8316413" y="3412418"/>
                  </a:cubicBezTo>
                  <a:cubicBezTo>
                    <a:pt x="7680670" y="4048409"/>
                    <a:pt x="7680670" y="4048409"/>
                    <a:pt x="7680670" y="4048409"/>
                  </a:cubicBezTo>
                  <a:cubicBezTo>
                    <a:pt x="7675875" y="4046810"/>
                    <a:pt x="7671203" y="4045334"/>
                    <a:pt x="7665916" y="4045334"/>
                  </a:cubicBezTo>
                  <a:cubicBezTo>
                    <a:pt x="7646614" y="4045334"/>
                    <a:pt x="7630878" y="4061569"/>
                    <a:pt x="7630878" y="4080879"/>
                  </a:cubicBezTo>
                  <a:cubicBezTo>
                    <a:pt x="7630878" y="4100312"/>
                    <a:pt x="7646614" y="4116055"/>
                    <a:pt x="7665916" y="4116055"/>
                  </a:cubicBezTo>
                  <a:close/>
                  <a:moveTo>
                    <a:pt x="7050114" y="4133405"/>
                  </a:moveTo>
                  <a:cubicBezTo>
                    <a:pt x="7070030" y="4133405"/>
                    <a:pt x="7085767" y="4117668"/>
                    <a:pt x="7085767" y="4098243"/>
                  </a:cubicBezTo>
                  <a:cubicBezTo>
                    <a:pt x="7085767" y="4088777"/>
                    <a:pt x="7081587" y="4079925"/>
                    <a:pt x="7075317" y="4073655"/>
                  </a:cubicBezTo>
                  <a:cubicBezTo>
                    <a:pt x="7244117" y="3904856"/>
                    <a:pt x="7244117" y="3904856"/>
                    <a:pt x="7244117" y="3904856"/>
                  </a:cubicBezTo>
                  <a:cubicBezTo>
                    <a:pt x="7665933" y="3904856"/>
                    <a:pt x="7665933" y="3904856"/>
                    <a:pt x="7665933" y="3904856"/>
                  </a:cubicBezTo>
                  <a:cubicBezTo>
                    <a:pt x="8352076" y="3218842"/>
                    <a:pt x="8352076" y="3218842"/>
                    <a:pt x="8352076" y="3218842"/>
                  </a:cubicBezTo>
                  <a:cubicBezTo>
                    <a:pt x="9143458" y="3218842"/>
                    <a:pt x="9143458" y="3218842"/>
                    <a:pt x="9143458" y="3218842"/>
                  </a:cubicBezTo>
                  <a:cubicBezTo>
                    <a:pt x="9143458" y="3201507"/>
                    <a:pt x="9143458" y="3201507"/>
                    <a:pt x="9143458" y="3201507"/>
                  </a:cubicBezTo>
                  <a:cubicBezTo>
                    <a:pt x="8352076" y="3201507"/>
                    <a:pt x="8352076" y="3201507"/>
                    <a:pt x="8352076" y="3201507"/>
                  </a:cubicBezTo>
                  <a:cubicBezTo>
                    <a:pt x="7665933" y="3887521"/>
                    <a:pt x="7665933" y="3887521"/>
                    <a:pt x="7665933" y="3887521"/>
                  </a:cubicBezTo>
                  <a:cubicBezTo>
                    <a:pt x="7244117" y="3887521"/>
                    <a:pt x="7244117" y="3887521"/>
                    <a:pt x="7244117" y="3887521"/>
                  </a:cubicBezTo>
                  <a:cubicBezTo>
                    <a:pt x="7064744" y="4066279"/>
                    <a:pt x="7064744" y="4066279"/>
                    <a:pt x="7064744" y="4066279"/>
                  </a:cubicBezTo>
                  <a:cubicBezTo>
                    <a:pt x="7060564" y="4064188"/>
                    <a:pt x="7055400" y="4063082"/>
                    <a:pt x="7050114" y="4063082"/>
                  </a:cubicBezTo>
                  <a:cubicBezTo>
                    <a:pt x="7030689" y="4063082"/>
                    <a:pt x="7014952" y="4078819"/>
                    <a:pt x="7014952" y="4098243"/>
                  </a:cubicBezTo>
                  <a:cubicBezTo>
                    <a:pt x="7014952" y="4117668"/>
                    <a:pt x="7030689" y="4133405"/>
                    <a:pt x="7050114" y="4133405"/>
                  </a:cubicBezTo>
                  <a:close/>
                  <a:moveTo>
                    <a:pt x="8562694" y="4151297"/>
                  </a:moveTo>
                  <a:cubicBezTo>
                    <a:pt x="8579536" y="4151297"/>
                    <a:pt x="8593674" y="4139734"/>
                    <a:pt x="8597362" y="4123989"/>
                  </a:cubicBezTo>
                  <a:cubicBezTo>
                    <a:pt x="9143458" y="4123989"/>
                    <a:pt x="9143458" y="4123989"/>
                    <a:pt x="9143458" y="4123989"/>
                  </a:cubicBezTo>
                  <a:cubicBezTo>
                    <a:pt x="9143458" y="4106152"/>
                    <a:pt x="9143458" y="4106152"/>
                    <a:pt x="9143458" y="4106152"/>
                  </a:cubicBezTo>
                  <a:cubicBezTo>
                    <a:pt x="8596748" y="4106152"/>
                    <a:pt x="8596748" y="4106152"/>
                    <a:pt x="8596748" y="4106152"/>
                  </a:cubicBezTo>
                  <a:cubicBezTo>
                    <a:pt x="8592568" y="4091514"/>
                    <a:pt x="8578921" y="4080935"/>
                    <a:pt x="8562694" y="4080935"/>
                  </a:cubicBezTo>
                  <a:cubicBezTo>
                    <a:pt x="8543392" y="4080935"/>
                    <a:pt x="8527656" y="4096680"/>
                    <a:pt x="8527656" y="4116116"/>
                  </a:cubicBezTo>
                  <a:cubicBezTo>
                    <a:pt x="8527656" y="4135552"/>
                    <a:pt x="8543392" y="4151297"/>
                    <a:pt x="8562694" y="4151297"/>
                  </a:cubicBezTo>
                  <a:close/>
                  <a:moveTo>
                    <a:pt x="7155722" y="4221239"/>
                  </a:moveTo>
                  <a:cubicBezTo>
                    <a:pt x="7175149" y="4221239"/>
                    <a:pt x="7190888" y="4205504"/>
                    <a:pt x="7190888" y="4186081"/>
                  </a:cubicBezTo>
                  <a:cubicBezTo>
                    <a:pt x="7190888" y="4176124"/>
                    <a:pt x="7186707" y="4167765"/>
                    <a:pt x="7180436" y="4161003"/>
                  </a:cubicBezTo>
                  <a:cubicBezTo>
                    <a:pt x="7366471" y="3974886"/>
                    <a:pt x="7366471" y="3974886"/>
                    <a:pt x="7366471" y="3974886"/>
                  </a:cubicBezTo>
                  <a:cubicBezTo>
                    <a:pt x="7665751" y="3974886"/>
                    <a:pt x="7665751" y="3974886"/>
                    <a:pt x="7665751" y="3974886"/>
                  </a:cubicBezTo>
                  <a:cubicBezTo>
                    <a:pt x="8298984" y="3341917"/>
                    <a:pt x="8298984" y="3341917"/>
                    <a:pt x="8298984" y="3341917"/>
                  </a:cubicBezTo>
                  <a:cubicBezTo>
                    <a:pt x="9143458" y="3341917"/>
                    <a:pt x="9143458" y="3341917"/>
                    <a:pt x="9143458" y="3341917"/>
                  </a:cubicBezTo>
                  <a:cubicBezTo>
                    <a:pt x="9143458" y="3324584"/>
                    <a:pt x="9143458" y="3324584"/>
                    <a:pt x="9143458" y="3324584"/>
                  </a:cubicBezTo>
                  <a:cubicBezTo>
                    <a:pt x="8298984" y="3324584"/>
                    <a:pt x="8298984" y="3324584"/>
                    <a:pt x="8298984" y="3324584"/>
                  </a:cubicBezTo>
                  <a:cubicBezTo>
                    <a:pt x="7665751" y="3957676"/>
                    <a:pt x="7665751" y="3957676"/>
                    <a:pt x="7665751" y="3957676"/>
                  </a:cubicBezTo>
                  <a:cubicBezTo>
                    <a:pt x="7366471" y="3957676"/>
                    <a:pt x="7366471" y="3957676"/>
                    <a:pt x="7366471" y="3957676"/>
                  </a:cubicBezTo>
                  <a:cubicBezTo>
                    <a:pt x="7169862" y="4154119"/>
                    <a:pt x="7169862" y="4154119"/>
                    <a:pt x="7169862" y="4154119"/>
                  </a:cubicBezTo>
                  <a:cubicBezTo>
                    <a:pt x="7165681" y="4152029"/>
                    <a:pt x="7161009" y="4151046"/>
                    <a:pt x="7155722" y="4151046"/>
                  </a:cubicBezTo>
                  <a:cubicBezTo>
                    <a:pt x="7136295" y="4151046"/>
                    <a:pt x="7120679" y="4166781"/>
                    <a:pt x="7120679" y="4186081"/>
                  </a:cubicBezTo>
                  <a:cubicBezTo>
                    <a:pt x="7120679" y="4205504"/>
                    <a:pt x="7136295" y="4221239"/>
                    <a:pt x="7155722" y="4221239"/>
                  </a:cubicBezTo>
                  <a:close/>
                  <a:moveTo>
                    <a:pt x="8562694" y="4274374"/>
                  </a:moveTo>
                  <a:cubicBezTo>
                    <a:pt x="8579536" y="4274374"/>
                    <a:pt x="8593674" y="4262187"/>
                    <a:pt x="8597362" y="4247046"/>
                  </a:cubicBezTo>
                  <a:cubicBezTo>
                    <a:pt x="9143458" y="4247046"/>
                    <a:pt x="9143458" y="4247046"/>
                    <a:pt x="9143458" y="4247046"/>
                  </a:cubicBezTo>
                  <a:cubicBezTo>
                    <a:pt x="9143458" y="4229197"/>
                    <a:pt x="9143458" y="4229197"/>
                    <a:pt x="9143458" y="4229197"/>
                  </a:cubicBezTo>
                  <a:cubicBezTo>
                    <a:pt x="8596748" y="4229197"/>
                    <a:pt x="8596748" y="4229197"/>
                    <a:pt x="8596748" y="4229197"/>
                  </a:cubicBezTo>
                  <a:cubicBezTo>
                    <a:pt x="8592568" y="4214549"/>
                    <a:pt x="8578921" y="4203470"/>
                    <a:pt x="8562694" y="4203470"/>
                  </a:cubicBezTo>
                  <a:cubicBezTo>
                    <a:pt x="8543392" y="4203470"/>
                    <a:pt x="8527656" y="4219719"/>
                    <a:pt x="8527656" y="4239168"/>
                  </a:cubicBezTo>
                  <a:cubicBezTo>
                    <a:pt x="8527656" y="4258617"/>
                    <a:pt x="8543392" y="4274374"/>
                    <a:pt x="8562694" y="4274374"/>
                  </a:cubicBezTo>
                  <a:close/>
                  <a:moveTo>
                    <a:pt x="7684086" y="4326966"/>
                  </a:moveTo>
                  <a:cubicBezTo>
                    <a:pt x="8176299" y="3834629"/>
                    <a:pt x="8176299" y="3834629"/>
                    <a:pt x="8176299" y="3834629"/>
                  </a:cubicBezTo>
                  <a:cubicBezTo>
                    <a:pt x="8176299" y="3641163"/>
                    <a:pt x="8176299" y="3641163"/>
                    <a:pt x="8176299" y="3641163"/>
                  </a:cubicBezTo>
                  <a:cubicBezTo>
                    <a:pt x="9144000" y="3641163"/>
                    <a:pt x="9144000" y="3641163"/>
                    <a:pt x="9144000" y="3641163"/>
                  </a:cubicBezTo>
                  <a:cubicBezTo>
                    <a:pt x="9144000" y="3623329"/>
                    <a:pt x="9144000" y="3623329"/>
                    <a:pt x="9144000" y="3623329"/>
                  </a:cubicBezTo>
                  <a:cubicBezTo>
                    <a:pt x="8158469" y="3623329"/>
                    <a:pt x="8158469" y="3623329"/>
                    <a:pt x="8158469" y="3623329"/>
                  </a:cubicBezTo>
                  <a:cubicBezTo>
                    <a:pt x="8158469" y="3834629"/>
                    <a:pt x="8158469" y="3834629"/>
                    <a:pt x="8158469" y="3834629"/>
                  </a:cubicBezTo>
                  <a:cubicBezTo>
                    <a:pt x="7684086" y="4309624"/>
                    <a:pt x="7684086" y="4309624"/>
                    <a:pt x="7684086" y="4309624"/>
                  </a:cubicBezTo>
                  <a:cubicBezTo>
                    <a:pt x="7480217" y="4105703"/>
                    <a:pt x="7480217" y="4105703"/>
                    <a:pt x="7480217" y="4105703"/>
                  </a:cubicBezTo>
                  <a:cubicBezTo>
                    <a:pt x="7486488" y="4099430"/>
                    <a:pt x="7490177" y="4090452"/>
                    <a:pt x="7490177" y="4080982"/>
                  </a:cubicBezTo>
                  <a:cubicBezTo>
                    <a:pt x="7490177" y="4061672"/>
                    <a:pt x="7474438" y="4045437"/>
                    <a:pt x="7455010" y="4045437"/>
                  </a:cubicBezTo>
                  <a:cubicBezTo>
                    <a:pt x="7435582" y="4045437"/>
                    <a:pt x="7419966" y="4061672"/>
                    <a:pt x="7419966" y="4080982"/>
                  </a:cubicBezTo>
                  <a:cubicBezTo>
                    <a:pt x="7419966" y="4100414"/>
                    <a:pt x="7435582" y="4116158"/>
                    <a:pt x="7455010" y="4116158"/>
                  </a:cubicBezTo>
                  <a:cubicBezTo>
                    <a:pt x="7460297" y="4116158"/>
                    <a:pt x="7464970" y="4115174"/>
                    <a:pt x="7469765" y="4112960"/>
                  </a:cubicBezTo>
                  <a:close/>
                  <a:moveTo>
                    <a:pt x="8562694" y="4397450"/>
                  </a:moveTo>
                  <a:cubicBezTo>
                    <a:pt x="8579536" y="4397450"/>
                    <a:pt x="8593674" y="4385365"/>
                    <a:pt x="8597362" y="4369582"/>
                  </a:cubicBezTo>
                  <a:cubicBezTo>
                    <a:pt x="9143458" y="4369582"/>
                    <a:pt x="9143458" y="4369582"/>
                    <a:pt x="9143458" y="4369582"/>
                  </a:cubicBezTo>
                  <a:cubicBezTo>
                    <a:pt x="9143458" y="4352318"/>
                    <a:pt x="9143458" y="4352318"/>
                    <a:pt x="9143458" y="4352318"/>
                  </a:cubicBezTo>
                  <a:cubicBezTo>
                    <a:pt x="8596748" y="4352318"/>
                    <a:pt x="8596748" y="4352318"/>
                    <a:pt x="8596748" y="4352318"/>
                  </a:cubicBezTo>
                  <a:cubicBezTo>
                    <a:pt x="8592568" y="4337521"/>
                    <a:pt x="8578921" y="4326547"/>
                    <a:pt x="8562694" y="4326547"/>
                  </a:cubicBezTo>
                  <a:cubicBezTo>
                    <a:pt x="8543392" y="4326547"/>
                    <a:pt x="8527656" y="4342330"/>
                    <a:pt x="8527656" y="4362306"/>
                  </a:cubicBezTo>
                  <a:cubicBezTo>
                    <a:pt x="8527656" y="4381666"/>
                    <a:pt x="8543392" y="4397450"/>
                    <a:pt x="8562694" y="4397450"/>
                  </a:cubicBezTo>
                  <a:close/>
                  <a:moveTo>
                    <a:pt x="7630831" y="4467934"/>
                  </a:moveTo>
                  <a:cubicBezTo>
                    <a:pt x="8228849" y="3869795"/>
                    <a:pt x="8228849" y="3869795"/>
                    <a:pt x="8228849" y="3869795"/>
                  </a:cubicBezTo>
                  <a:cubicBezTo>
                    <a:pt x="8228849" y="3676399"/>
                    <a:pt x="8228849" y="3676399"/>
                    <a:pt x="8228849" y="3676399"/>
                  </a:cubicBezTo>
                  <a:cubicBezTo>
                    <a:pt x="9143458" y="3676399"/>
                    <a:pt x="9143458" y="3676399"/>
                    <a:pt x="9143458" y="3676399"/>
                  </a:cubicBezTo>
                  <a:cubicBezTo>
                    <a:pt x="9143458" y="3658571"/>
                    <a:pt x="9143458" y="3658571"/>
                    <a:pt x="9143458" y="3658571"/>
                  </a:cubicBezTo>
                  <a:cubicBezTo>
                    <a:pt x="8211021" y="3658571"/>
                    <a:pt x="8211021" y="3658571"/>
                    <a:pt x="8211021" y="3658571"/>
                  </a:cubicBezTo>
                  <a:cubicBezTo>
                    <a:pt x="8211021" y="3869795"/>
                    <a:pt x="8211021" y="3869795"/>
                    <a:pt x="8211021" y="3869795"/>
                  </a:cubicBezTo>
                  <a:cubicBezTo>
                    <a:pt x="7630831" y="4450107"/>
                    <a:pt x="7630831" y="4450107"/>
                    <a:pt x="7630831" y="4450107"/>
                  </a:cubicBezTo>
                  <a:cubicBezTo>
                    <a:pt x="7373993" y="4193762"/>
                    <a:pt x="7373993" y="4193762"/>
                    <a:pt x="7373993" y="4193762"/>
                  </a:cubicBezTo>
                  <a:cubicBezTo>
                    <a:pt x="7380755" y="4187491"/>
                    <a:pt x="7384443" y="4178516"/>
                    <a:pt x="7384443" y="4168557"/>
                  </a:cubicBezTo>
                  <a:cubicBezTo>
                    <a:pt x="7384443" y="4149255"/>
                    <a:pt x="7368706" y="4133517"/>
                    <a:pt x="7349280" y="4133517"/>
                  </a:cubicBezTo>
                  <a:cubicBezTo>
                    <a:pt x="7329977" y="4133517"/>
                    <a:pt x="7314240" y="4149255"/>
                    <a:pt x="7314240" y="4168557"/>
                  </a:cubicBezTo>
                  <a:cubicBezTo>
                    <a:pt x="7314240" y="4187983"/>
                    <a:pt x="7329977" y="4203720"/>
                    <a:pt x="7349280" y="4203720"/>
                  </a:cubicBezTo>
                  <a:cubicBezTo>
                    <a:pt x="7354567" y="4203720"/>
                    <a:pt x="7359239" y="4202737"/>
                    <a:pt x="7364034" y="4201139"/>
                  </a:cubicBezTo>
                  <a:close/>
                  <a:moveTo>
                    <a:pt x="8791634" y="4485284"/>
                  </a:moveTo>
                  <a:cubicBezTo>
                    <a:pt x="8808484" y="4485284"/>
                    <a:pt x="8822627" y="4473701"/>
                    <a:pt x="8826194" y="4458051"/>
                  </a:cubicBezTo>
                  <a:cubicBezTo>
                    <a:pt x="9116696" y="4458051"/>
                    <a:pt x="9116696" y="4458051"/>
                    <a:pt x="9116696" y="4458051"/>
                  </a:cubicBezTo>
                  <a:cubicBezTo>
                    <a:pt x="9119894" y="4471606"/>
                    <a:pt x="9130348" y="4482203"/>
                    <a:pt x="9144000" y="4484791"/>
                  </a:cubicBezTo>
                  <a:cubicBezTo>
                    <a:pt x="9144000" y="4455341"/>
                    <a:pt x="9144000" y="4455341"/>
                    <a:pt x="9144000" y="4455341"/>
                  </a:cubicBezTo>
                  <a:cubicBezTo>
                    <a:pt x="9142893" y="4453862"/>
                    <a:pt x="9142401" y="4452260"/>
                    <a:pt x="9142401" y="4450165"/>
                  </a:cubicBezTo>
                  <a:cubicBezTo>
                    <a:pt x="9142401" y="4448563"/>
                    <a:pt x="9142893" y="4446469"/>
                    <a:pt x="9144000" y="4444866"/>
                  </a:cubicBezTo>
                  <a:cubicBezTo>
                    <a:pt x="9144000" y="4416032"/>
                    <a:pt x="9144000" y="4416032"/>
                    <a:pt x="9144000" y="4416032"/>
                  </a:cubicBezTo>
                  <a:cubicBezTo>
                    <a:pt x="9130840" y="4418620"/>
                    <a:pt x="9120878" y="4428108"/>
                    <a:pt x="9117188" y="4440677"/>
                  </a:cubicBezTo>
                  <a:cubicBezTo>
                    <a:pt x="8825702" y="4440677"/>
                    <a:pt x="8825702" y="4440677"/>
                    <a:pt x="8825702" y="4440677"/>
                  </a:cubicBezTo>
                  <a:cubicBezTo>
                    <a:pt x="8821520" y="4425890"/>
                    <a:pt x="8807868" y="4414923"/>
                    <a:pt x="8791634" y="4414923"/>
                  </a:cubicBezTo>
                  <a:cubicBezTo>
                    <a:pt x="8772202" y="4414923"/>
                    <a:pt x="8756459" y="4430696"/>
                    <a:pt x="8756459" y="4450165"/>
                  </a:cubicBezTo>
                  <a:cubicBezTo>
                    <a:pt x="8756459" y="4469511"/>
                    <a:pt x="8772202" y="4485284"/>
                    <a:pt x="8791634" y="4485284"/>
                  </a:cubicBezTo>
                  <a:close/>
                  <a:moveTo>
                    <a:pt x="7578200" y="4591011"/>
                  </a:moveTo>
                  <a:cubicBezTo>
                    <a:pt x="8264329" y="3905020"/>
                    <a:pt x="8264329" y="3905020"/>
                    <a:pt x="8264329" y="3905020"/>
                  </a:cubicBezTo>
                  <a:cubicBezTo>
                    <a:pt x="8264329" y="3711640"/>
                    <a:pt x="8264329" y="3711640"/>
                    <a:pt x="8264329" y="3711640"/>
                  </a:cubicBezTo>
                  <a:cubicBezTo>
                    <a:pt x="9144000" y="3711640"/>
                    <a:pt x="9144000" y="3711640"/>
                    <a:pt x="9144000" y="3711640"/>
                  </a:cubicBezTo>
                  <a:cubicBezTo>
                    <a:pt x="9144000" y="3693813"/>
                    <a:pt x="9144000" y="3693813"/>
                    <a:pt x="9144000" y="3693813"/>
                  </a:cubicBezTo>
                  <a:cubicBezTo>
                    <a:pt x="8246499" y="3693813"/>
                    <a:pt x="8246499" y="3693813"/>
                    <a:pt x="8246499" y="3693813"/>
                  </a:cubicBezTo>
                  <a:cubicBezTo>
                    <a:pt x="8246499" y="3905020"/>
                    <a:pt x="8246499" y="3905020"/>
                    <a:pt x="8246499" y="3905020"/>
                  </a:cubicBezTo>
                  <a:cubicBezTo>
                    <a:pt x="7578200" y="4573185"/>
                    <a:pt x="7578200" y="4573185"/>
                    <a:pt x="7578200" y="4573185"/>
                  </a:cubicBezTo>
                  <a:cubicBezTo>
                    <a:pt x="7286780" y="4281824"/>
                    <a:pt x="7286780" y="4281824"/>
                    <a:pt x="7286780" y="4281824"/>
                  </a:cubicBezTo>
                  <a:cubicBezTo>
                    <a:pt x="7293051" y="4275062"/>
                    <a:pt x="7296740" y="4266702"/>
                    <a:pt x="7296740" y="4256744"/>
                  </a:cubicBezTo>
                  <a:cubicBezTo>
                    <a:pt x="7296740" y="4237320"/>
                    <a:pt x="7281001" y="4221584"/>
                    <a:pt x="7261573" y="4221584"/>
                  </a:cubicBezTo>
                  <a:cubicBezTo>
                    <a:pt x="7242145" y="4221584"/>
                    <a:pt x="7226406" y="4237320"/>
                    <a:pt x="7226406" y="4256744"/>
                  </a:cubicBezTo>
                  <a:cubicBezTo>
                    <a:pt x="7226406" y="4276045"/>
                    <a:pt x="7242145" y="4291781"/>
                    <a:pt x="7261573" y="4291781"/>
                  </a:cubicBezTo>
                  <a:cubicBezTo>
                    <a:pt x="7266860" y="4291781"/>
                    <a:pt x="7271533" y="4290798"/>
                    <a:pt x="7276328" y="4288708"/>
                  </a:cubicBezTo>
                  <a:close/>
                  <a:moveTo>
                    <a:pt x="7261325" y="4660953"/>
                  </a:moveTo>
                  <a:cubicBezTo>
                    <a:pt x="7648104" y="4660953"/>
                    <a:pt x="7648104" y="4660953"/>
                    <a:pt x="7648104" y="4660953"/>
                  </a:cubicBezTo>
                  <a:cubicBezTo>
                    <a:pt x="8404448" y="3904616"/>
                    <a:pt x="8404448" y="3904616"/>
                    <a:pt x="8404448" y="3904616"/>
                  </a:cubicBezTo>
                  <a:cubicBezTo>
                    <a:pt x="8404448" y="3746390"/>
                    <a:pt x="8404448" y="3746390"/>
                    <a:pt x="8404448" y="3746390"/>
                  </a:cubicBezTo>
                  <a:cubicBezTo>
                    <a:pt x="9143458" y="3746390"/>
                    <a:pt x="9143458" y="3746390"/>
                    <a:pt x="9143458" y="3746390"/>
                  </a:cubicBezTo>
                  <a:cubicBezTo>
                    <a:pt x="9143458" y="3729056"/>
                    <a:pt x="9143458" y="3729056"/>
                    <a:pt x="9143458" y="3729056"/>
                  </a:cubicBezTo>
                  <a:cubicBezTo>
                    <a:pt x="8387113" y="3729056"/>
                    <a:pt x="8387113" y="3729056"/>
                    <a:pt x="8387113" y="3729056"/>
                  </a:cubicBezTo>
                  <a:cubicBezTo>
                    <a:pt x="8387113" y="3904616"/>
                    <a:pt x="8387113" y="3904616"/>
                    <a:pt x="8387113" y="3904616"/>
                  </a:cubicBezTo>
                  <a:cubicBezTo>
                    <a:pt x="7648104" y="4643127"/>
                    <a:pt x="7648104" y="4643127"/>
                    <a:pt x="7648104" y="4643127"/>
                  </a:cubicBezTo>
                  <a:cubicBezTo>
                    <a:pt x="7261325" y="4643127"/>
                    <a:pt x="7261325" y="4643127"/>
                    <a:pt x="7261325" y="4643127"/>
                  </a:cubicBezTo>
                  <a:cubicBezTo>
                    <a:pt x="6944747" y="4326552"/>
                    <a:pt x="6944747" y="4326552"/>
                    <a:pt x="6944747" y="4326552"/>
                  </a:cubicBezTo>
                  <a:cubicBezTo>
                    <a:pt x="6786519" y="4326552"/>
                    <a:pt x="6786519" y="4326552"/>
                    <a:pt x="6786519" y="4326552"/>
                  </a:cubicBezTo>
                  <a:cubicBezTo>
                    <a:pt x="6653372" y="4193406"/>
                    <a:pt x="6653372" y="4193406"/>
                    <a:pt x="6653372" y="4193406"/>
                  </a:cubicBezTo>
                  <a:cubicBezTo>
                    <a:pt x="6659642" y="4187136"/>
                    <a:pt x="6663331" y="4178162"/>
                    <a:pt x="6663331" y="4168203"/>
                  </a:cubicBezTo>
                  <a:cubicBezTo>
                    <a:pt x="6663331" y="4148901"/>
                    <a:pt x="6647594" y="4133165"/>
                    <a:pt x="6628169" y="4133165"/>
                  </a:cubicBezTo>
                  <a:cubicBezTo>
                    <a:pt x="6608867" y="4133165"/>
                    <a:pt x="6593130" y="4148901"/>
                    <a:pt x="6593130" y="4168203"/>
                  </a:cubicBezTo>
                  <a:cubicBezTo>
                    <a:pt x="6593130" y="4187628"/>
                    <a:pt x="6608867" y="4203365"/>
                    <a:pt x="6628169" y="4203365"/>
                  </a:cubicBezTo>
                  <a:cubicBezTo>
                    <a:pt x="6633456" y="4203365"/>
                    <a:pt x="6638127" y="4202381"/>
                    <a:pt x="6642922" y="4200783"/>
                  </a:cubicBezTo>
                  <a:cubicBezTo>
                    <a:pt x="6786519" y="4344378"/>
                    <a:pt x="6786519" y="4344378"/>
                    <a:pt x="6786519" y="4344378"/>
                  </a:cubicBezTo>
                  <a:cubicBezTo>
                    <a:pt x="6944747" y="4344378"/>
                    <a:pt x="6944747" y="4344378"/>
                    <a:pt x="6944747" y="4344378"/>
                  </a:cubicBezTo>
                  <a:close/>
                  <a:moveTo>
                    <a:pt x="7244113" y="4756921"/>
                  </a:moveTo>
                  <a:cubicBezTo>
                    <a:pt x="7630892" y="4756921"/>
                    <a:pt x="7630892" y="4756921"/>
                    <a:pt x="7630892" y="4756921"/>
                  </a:cubicBezTo>
                  <a:cubicBezTo>
                    <a:pt x="8474648" y="3912443"/>
                    <a:pt x="8474648" y="3912443"/>
                    <a:pt x="8474648" y="3912443"/>
                  </a:cubicBezTo>
                  <a:cubicBezTo>
                    <a:pt x="8474648" y="3807067"/>
                    <a:pt x="8474648" y="3807067"/>
                    <a:pt x="8474648" y="3807067"/>
                  </a:cubicBezTo>
                  <a:cubicBezTo>
                    <a:pt x="9143458" y="3807067"/>
                    <a:pt x="9143458" y="3807067"/>
                    <a:pt x="9143458" y="3807067"/>
                  </a:cubicBezTo>
                  <a:cubicBezTo>
                    <a:pt x="9143458" y="3789238"/>
                    <a:pt x="9143458" y="3789238"/>
                    <a:pt x="9143458" y="3789238"/>
                  </a:cubicBezTo>
                  <a:cubicBezTo>
                    <a:pt x="8457313" y="3789238"/>
                    <a:pt x="8457313" y="3789238"/>
                    <a:pt x="8457313" y="3789238"/>
                  </a:cubicBezTo>
                  <a:cubicBezTo>
                    <a:pt x="8457313" y="3912443"/>
                    <a:pt x="8457313" y="3912443"/>
                    <a:pt x="8457313" y="3912443"/>
                  </a:cubicBezTo>
                  <a:cubicBezTo>
                    <a:pt x="7630892" y="4739092"/>
                    <a:pt x="7630892" y="4739092"/>
                    <a:pt x="7630892" y="4739092"/>
                  </a:cubicBezTo>
                  <a:cubicBezTo>
                    <a:pt x="7244113" y="4739092"/>
                    <a:pt x="7244113" y="4739092"/>
                    <a:pt x="7244113" y="4739092"/>
                  </a:cubicBezTo>
                  <a:cubicBezTo>
                    <a:pt x="6909708" y="4404645"/>
                    <a:pt x="6909708" y="4404645"/>
                    <a:pt x="6909708" y="4404645"/>
                  </a:cubicBezTo>
                  <a:cubicBezTo>
                    <a:pt x="6662224" y="4404645"/>
                    <a:pt x="6662224" y="4404645"/>
                    <a:pt x="6662224" y="4404645"/>
                  </a:cubicBezTo>
                  <a:cubicBezTo>
                    <a:pt x="6658044" y="4390505"/>
                    <a:pt x="6644521" y="4379438"/>
                    <a:pt x="6628169" y="4379438"/>
                  </a:cubicBezTo>
                  <a:cubicBezTo>
                    <a:pt x="6608867" y="4379438"/>
                    <a:pt x="6593130" y="4395177"/>
                    <a:pt x="6593130" y="4414605"/>
                  </a:cubicBezTo>
                  <a:cubicBezTo>
                    <a:pt x="6593130" y="4434032"/>
                    <a:pt x="6608867" y="4449771"/>
                    <a:pt x="6628169" y="4449771"/>
                  </a:cubicBezTo>
                  <a:cubicBezTo>
                    <a:pt x="6645012" y="4449771"/>
                    <a:pt x="6659151" y="4438213"/>
                    <a:pt x="6662839" y="4422474"/>
                  </a:cubicBezTo>
                  <a:cubicBezTo>
                    <a:pt x="6909708" y="4422474"/>
                    <a:pt x="6909708" y="4422474"/>
                    <a:pt x="6909708" y="4422474"/>
                  </a:cubicBezTo>
                  <a:close/>
                  <a:moveTo>
                    <a:pt x="8123101" y="4801380"/>
                  </a:moveTo>
                  <a:cubicBezTo>
                    <a:pt x="8142401" y="4801380"/>
                    <a:pt x="8158137" y="4785646"/>
                    <a:pt x="8158137" y="4766225"/>
                  </a:cubicBezTo>
                  <a:cubicBezTo>
                    <a:pt x="8158137" y="4756884"/>
                    <a:pt x="8154449" y="4747911"/>
                    <a:pt x="8148180" y="4741642"/>
                  </a:cubicBezTo>
                  <a:cubicBezTo>
                    <a:pt x="8228948" y="4661007"/>
                    <a:pt x="8228948" y="4661007"/>
                    <a:pt x="8228948" y="4661007"/>
                  </a:cubicBezTo>
                  <a:cubicBezTo>
                    <a:pt x="8492519" y="4661007"/>
                    <a:pt x="8492519" y="4661007"/>
                    <a:pt x="8492519" y="4661007"/>
                  </a:cubicBezTo>
                  <a:cubicBezTo>
                    <a:pt x="8580540" y="4749017"/>
                    <a:pt x="8580540" y="4749017"/>
                    <a:pt x="8580540" y="4749017"/>
                  </a:cubicBezTo>
                  <a:cubicBezTo>
                    <a:pt x="9143458" y="4749017"/>
                    <a:pt x="9143458" y="4749017"/>
                    <a:pt x="9143458" y="4749017"/>
                  </a:cubicBezTo>
                  <a:cubicBezTo>
                    <a:pt x="9143458" y="4731194"/>
                    <a:pt x="9143458" y="4731194"/>
                    <a:pt x="9143458" y="4731194"/>
                  </a:cubicBezTo>
                  <a:cubicBezTo>
                    <a:pt x="8580540" y="4731194"/>
                    <a:pt x="8580540" y="4731194"/>
                    <a:pt x="8580540" y="4731194"/>
                  </a:cubicBezTo>
                  <a:cubicBezTo>
                    <a:pt x="8492519" y="4643184"/>
                    <a:pt x="8492519" y="4643184"/>
                    <a:pt x="8492519" y="4643184"/>
                  </a:cubicBezTo>
                  <a:cubicBezTo>
                    <a:pt x="8228948" y="4643184"/>
                    <a:pt x="8228948" y="4643184"/>
                    <a:pt x="8228948" y="4643184"/>
                  </a:cubicBezTo>
                  <a:cubicBezTo>
                    <a:pt x="8137730" y="4734267"/>
                    <a:pt x="8137730" y="4734267"/>
                    <a:pt x="8137730" y="4734267"/>
                  </a:cubicBezTo>
                  <a:cubicBezTo>
                    <a:pt x="8133550" y="4732177"/>
                    <a:pt x="8128264" y="4731194"/>
                    <a:pt x="8123101" y="4731194"/>
                  </a:cubicBezTo>
                  <a:cubicBezTo>
                    <a:pt x="8103677" y="4731194"/>
                    <a:pt x="8087942" y="4746927"/>
                    <a:pt x="8087942" y="4766225"/>
                  </a:cubicBezTo>
                  <a:cubicBezTo>
                    <a:pt x="8087942" y="4785646"/>
                    <a:pt x="8103677" y="4801380"/>
                    <a:pt x="8123101" y="4801380"/>
                  </a:cubicBezTo>
                  <a:close/>
                  <a:moveTo>
                    <a:pt x="7877448" y="4801380"/>
                  </a:moveTo>
                  <a:cubicBezTo>
                    <a:pt x="7896877" y="4801380"/>
                    <a:pt x="7912617" y="4785650"/>
                    <a:pt x="7912617" y="4766234"/>
                  </a:cubicBezTo>
                  <a:cubicBezTo>
                    <a:pt x="7912617" y="4756894"/>
                    <a:pt x="7908436" y="4747923"/>
                    <a:pt x="7902165" y="4741656"/>
                  </a:cubicBezTo>
                  <a:cubicBezTo>
                    <a:pt x="8123381" y="4520085"/>
                    <a:pt x="8123381" y="4520085"/>
                    <a:pt x="8123381" y="4520085"/>
                  </a:cubicBezTo>
                  <a:cubicBezTo>
                    <a:pt x="8563108" y="4520085"/>
                    <a:pt x="8563108" y="4520085"/>
                    <a:pt x="8563108" y="4520085"/>
                  </a:cubicBezTo>
                  <a:cubicBezTo>
                    <a:pt x="8686320" y="4643221"/>
                    <a:pt x="8686320" y="4643221"/>
                    <a:pt x="8686320" y="4643221"/>
                  </a:cubicBezTo>
                  <a:cubicBezTo>
                    <a:pt x="9144000" y="4643221"/>
                    <a:pt x="9144000" y="4643221"/>
                    <a:pt x="9144000" y="4643221"/>
                  </a:cubicBezTo>
                  <a:cubicBezTo>
                    <a:pt x="9144000" y="4625893"/>
                    <a:pt x="9144000" y="4625893"/>
                    <a:pt x="9144000" y="4625893"/>
                  </a:cubicBezTo>
                  <a:cubicBezTo>
                    <a:pt x="8686320" y="4625893"/>
                    <a:pt x="8686320" y="4625893"/>
                    <a:pt x="8686320" y="4625893"/>
                  </a:cubicBezTo>
                  <a:cubicBezTo>
                    <a:pt x="8563108" y="4502757"/>
                    <a:pt x="8563108" y="4502757"/>
                    <a:pt x="8563108" y="4502757"/>
                  </a:cubicBezTo>
                  <a:cubicBezTo>
                    <a:pt x="8123381" y="4502757"/>
                    <a:pt x="8123381" y="4502757"/>
                    <a:pt x="8123381" y="4502757"/>
                  </a:cubicBezTo>
                  <a:cubicBezTo>
                    <a:pt x="7891590" y="4734282"/>
                    <a:pt x="7891590" y="4734282"/>
                    <a:pt x="7891590" y="4734282"/>
                  </a:cubicBezTo>
                  <a:cubicBezTo>
                    <a:pt x="7887409" y="4732193"/>
                    <a:pt x="7882244" y="4731210"/>
                    <a:pt x="7877448" y="4731210"/>
                  </a:cubicBezTo>
                  <a:cubicBezTo>
                    <a:pt x="7858020" y="4731210"/>
                    <a:pt x="7841788" y="4746940"/>
                    <a:pt x="7841788" y="4766234"/>
                  </a:cubicBezTo>
                  <a:cubicBezTo>
                    <a:pt x="7841788" y="4785650"/>
                    <a:pt x="7858020" y="4801380"/>
                    <a:pt x="7877448" y="4801380"/>
                  </a:cubicBezTo>
                  <a:close/>
                  <a:moveTo>
                    <a:pt x="8000038" y="4801922"/>
                  </a:moveTo>
                  <a:cubicBezTo>
                    <a:pt x="8019960" y="4801922"/>
                    <a:pt x="8035702" y="4786181"/>
                    <a:pt x="8035702" y="4766750"/>
                  </a:cubicBezTo>
                  <a:cubicBezTo>
                    <a:pt x="8035702" y="4757403"/>
                    <a:pt x="8031520" y="4748426"/>
                    <a:pt x="8025125" y="4742154"/>
                  </a:cubicBezTo>
                  <a:cubicBezTo>
                    <a:pt x="8158313" y="4608474"/>
                    <a:pt x="8158313" y="4608474"/>
                    <a:pt x="8158313" y="4608474"/>
                  </a:cubicBezTo>
                  <a:cubicBezTo>
                    <a:pt x="8563041" y="4608474"/>
                    <a:pt x="8563041" y="4608474"/>
                    <a:pt x="8563041" y="4608474"/>
                  </a:cubicBezTo>
                  <a:cubicBezTo>
                    <a:pt x="8651218" y="4696528"/>
                    <a:pt x="8651218" y="4696528"/>
                    <a:pt x="8651218" y="4696528"/>
                  </a:cubicBezTo>
                  <a:cubicBezTo>
                    <a:pt x="9144000" y="4696528"/>
                    <a:pt x="9144000" y="4696528"/>
                    <a:pt x="9144000" y="4696528"/>
                  </a:cubicBezTo>
                  <a:cubicBezTo>
                    <a:pt x="9144000" y="4679311"/>
                    <a:pt x="9144000" y="4679311"/>
                    <a:pt x="9144000" y="4679311"/>
                  </a:cubicBezTo>
                  <a:cubicBezTo>
                    <a:pt x="8651218" y="4679311"/>
                    <a:pt x="8651218" y="4679311"/>
                    <a:pt x="8651218" y="4679311"/>
                  </a:cubicBezTo>
                  <a:cubicBezTo>
                    <a:pt x="8563041" y="4591134"/>
                    <a:pt x="8563041" y="4591134"/>
                    <a:pt x="8563041" y="4591134"/>
                  </a:cubicBezTo>
                  <a:cubicBezTo>
                    <a:pt x="8158313" y="4591134"/>
                    <a:pt x="8158313" y="4591134"/>
                    <a:pt x="8158313" y="4591134"/>
                  </a:cubicBezTo>
                  <a:cubicBezTo>
                    <a:pt x="8014672" y="4734775"/>
                    <a:pt x="8014672" y="4734775"/>
                    <a:pt x="8014672" y="4734775"/>
                  </a:cubicBezTo>
                  <a:cubicBezTo>
                    <a:pt x="8010491" y="4732684"/>
                    <a:pt x="8005203" y="4731700"/>
                    <a:pt x="8000038" y="4731700"/>
                  </a:cubicBezTo>
                  <a:cubicBezTo>
                    <a:pt x="7980607" y="4731700"/>
                    <a:pt x="7964865" y="4747442"/>
                    <a:pt x="7964865" y="4766750"/>
                  </a:cubicBezTo>
                  <a:cubicBezTo>
                    <a:pt x="7964865" y="4786181"/>
                    <a:pt x="7980607" y="4801922"/>
                    <a:pt x="8000038" y="4801922"/>
                  </a:cubicBezTo>
                  <a:close/>
                  <a:moveTo>
                    <a:pt x="7753756" y="4801922"/>
                  </a:moveTo>
                  <a:cubicBezTo>
                    <a:pt x="7773183" y="4801922"/>
                    <a:pt x="7788922" y="4786179"/>
                    <a:pt x="7788922" y="4766746"/>
                  </a:cubicBezTo>
                  <a:cubicBezTo>
                    <a:pt x="7788922" y="4757398"/>
                    <a:pt x="7784742" y="4748419"/>
                    <a:pt x="7778471" y="4742146"/>
                  </a:cubicBezTo>
                  <a:cubicBezTo>
                    <a:pt x="8070379" y="4450157"/>
                    <a:pt x="8070379" y="4450157"/>
                    <a:pt x="8070379" y="4450157"/>
                  </a:cubicBezTo>
                  <a:cubicBezTo>
                    <a:pt x="8597758" y="4450157"/>
                    <a:pt x="8597758" y="4450157"/>
                    <a:pt x="8597758" y="4450157"/>
                  </a:cubicBezTo>
                  <a:cubicBezTo>
                    <a:pt x="8738794" y="4591109"/>
                    <a:pt x="8738794" y="4591109"/>
                    <a:pt x="8738794" y="4591109"/>
                  </a:cubicBezTo>
                  <a:cubicBezTo>
                    <a:pt x="9143458" y="4591109"/>
                    <a:pt x="9143458" y="4591109"/>
                    <a:pt x="9143458" y="4591109"/>
                  </a:cubicBezTo>
                  <a:cubicBezTo>
                    <a:pt x="9143458" y="4573275"/>
                    <a:pt x="9143458" y="4573275"/>
                    <a:pt x="9143458" y="4573275"/>
                  </a:cubicBezTo>
                  <a:cubicBezTo>
                    <a:pt x="8738794" y="4573275"/>
                    <a:pt x="8738794" y="4573275"/>
                    <a:pt x="8738794" y="4573275"/>
                  </a:cubicBezTo>
                  <a:cubicBezTo>
                    <a:pt x="8597758" y="4432815"/>
                    <a:pt x="8597758" y="4432815"/>
                    <a:pt x="8597758" y="4432815"/>
                  </a:cubicBezTo>
                  <a:cubicBezTo>
                    <a:pt x="8070379" y="4432815"/>
                    <a:pt x="8070379" y="4432815"/>
                    <a:pt x="8070379" y="4432815"/>
                  </a:cubicBezTo>
                  <a:cubicBezTo>
                    <a:pt x="7768019" y="4734767"/>
                    <a:pt x="7768019" y="4734767"/>
                    <a:pt x="7768019" y="4734767"/>
                  </a:cubicBezTo>
                  <a:cubicBezTo>
                    <a:pt x="7763715" y="4732676"/>
                    <a:pt x="7759043" y="4731692"/>
                    <a:pt x="7753756" y="4731692"/>
                  </a:cubicBezTo>
                  <a:cubicBezTo>
                    <a:pt x="7734451" y="4731692"/>
                    <a:pt x="7718712" y="4747435"/>
                    <a:pt x="7718712" y="4766746"/>
                  </a:cubicBezTo>
                  <a:cubicBezTo>
                    <a:pt x="7718712" y="4786179"/>
                    <a:pt x="7734451" y="4801922"/>
                    <a:pt x="7753756" y="4801922"/>
                  </a:cubicBezTo>
                  <a:close/>
                  <a:moveTo>
                    <a:pt x="8510274" y="4827405"/>
                  </a:moveTo>
                  <a:cubicBezTo>
                    <a:pt x="9143458" y="4827405"/>
                    <a:pt x="9143458" y="4827405"/>
                    <a:pt x="9143458" y="4827405"/>
                  </a:cubicBezTo>
                  <a:cubicBezTo>
                    <a:pt x="9143458" y="4809588"/>
                    <a:pt x="9143458" y="4809588"/>
                    <a:pt x="9143458" y="4809588"/>
                  </a:cubicBezTo>
                  <a:cubicBezTo>
                    <a:pt x="8510274" y="4809588"/>
                    <a:pt x="8510274" y="4809588"/>
                    <a:pt x="8510274" y="4809588"/>
                  </a:cubicBezTo>
                  <a:cubicBezTo>
                    <a:pt x="8439579" y="4757242"/>
                    <a:pt x="8439579" y="4757242"/>
                    <a:pt x="8439579" y="4757242"/>
                  </a:cubicBezTo>
                  <a:cubicBezTo>
                    <a:pt x="8280238" y="4757242"/>
                    <a:pt x="8280238" y="4757242"/>
                    <a:pt x="8280238" y="4757242"/>
                  </a:cubicBezTo>
                  <a:cubicBezTo>
                    <a:pt x="8275935" y="4742496"/>
                    <a:pt x="8262411" y="4731561"/>
                    <a:pt x="8246059" y="4731561"/>
                  </a:cubicBezTo>
                  <a:cubicBezTo>
                    <a:pt x="8226756" y="4731561"/>
                    <a:pt x="8211018" y="4747289"/>
                    <a:pt x="8211018" y="4766581"/>
                  </a:cubicBezTo>
                  <a:cubicBezTo>
                    <a:pt x="8211018" y="4785995"/>
                    <a:pt x="8226756" y="4801724"/>
                    <a:pt x="8246059" y="4801724"/>
                  </a:cubicBezTo>
                  <a:cubicBezTo>
                    <a:pt x="8262902" y="4801724"/>
                    <a:pt x="8277042" y="4790173"/>
                    <a:pt x="8280730" y="4774445"/>
                  </a:cubicBezTo>
                  <a:cubicBezTo>
                    <a:pt x="8439579" y="4774445"/>
                    <a:pt x="8439579" y="4774445"/>
                    <a:pt x="8439579" y="4774445"/>
                  </a:cubicBezTo>
                  <a:close/>
                  <a:moveTo>
                    <a:pt x="7279152" y="4879997"/>
                  </a:moveTo>
                  <a:cubicBezTo>
                    <a:pt x="9143458" y="4879997"/>
                    <a:pt x="9143458" y="4879997"/>
                    <a:pt x="9143458" y="4879997"/>
                  </a:cubicBezTo>
                  <a:cubicBezTo>
                    <a:pt x="9143458" y="4862181"/>
                    <a:pt x="9143458" y="4862181"/>
                    <a:pt x="9143458" y="4862181"/>
                  </a:cubicBezTo>
                  <a:cubicBezTo>
                    <a:pt x="7279152" y="4862181"/>
                    <a:pt x="7279152" y="4862181"/>
                    <a:pt x="7279152" y="4862181"/>
                  </a:cubicBezTo>
                  <a:cubicBezTo>
                    <a:pt x="6962574" y="4545787"/>
                    <a:pt x="6962574" y="4545787"/>
                    <a:pt x="6962574" y="4545787"/>
                  </a:cubicBezTo>
                  <a:cubicBezTo>
                    <a:pt x="6662224" y="4545787"/>
                    <a:pt x="6662224" y="4545787"/>
                    <a:pt x="6662224" y="4545787"/>
                  </a:cubicBezTo>
                  <a:cubicBezTo>
                    <a:pt x="6658044" y="4531043"/>
                    <a:pt x="6644521" y="4520107"/>
                    <a:pt x="6628170" y="4520107"/>
                  </a:cubicBezTo>
                  <a:cubicBezTo>
                    <a:pt x="6608867" y="4520107"/>
                    <a:pt x="6593130" y="4536326"/>
                    <a:pt x="6593130" y="4555740"/>
                  </a:cubicBezTo>
                  <a:cubicBezTo>
                    <a:pt x="6593130" y="4575154"/>
                    <a:pt x="6608867" y="4590758"/>
                    <a:pt x="6628170" y="4590758"/>
                  </a:cubicBezTo>
                  <a:cubicBezTo>
                    <a:pt x="6645013" y="4590758"/>
                    <a:pt x="6659151" y="4578717"/>
                    <a:pt x="6662840" y="4562990"/>
                  </a:cubicBezTo>
                  <a:cubicBezTo>
                    <a:pt x="6962574" y="4562990"/>
                    <a:pt x="6962574" y="4562990"/>
                    <a:pt x="6962574" y="4562990"/>
                  </a:cubicBezTo>
                  <a:close/>
                  <a:moveTo>
                    <a:pt x="7279152" y="4950481"/>
                  </a:moveTo>
                  <a:cubicBezTo>
                    <a:pt x="9143458" y="4950481"/>
                    <a:pt x="9143458" y="4950481"/>
                    <a:pt x="9143458" y="4950481"/>
                  </a:cubicBezTo>
                  <a:cubicBezTo>
                    <a:pt x="9143458" y="4932647"/>
                    <a:pt x="9143458" y="4932647"/>
                    <a:pt x="9143458" y="4932647"/>
                  </a:cubicBezTo>
                  <a:cubicBezTo>
                    <a:pt x="7279152" y="4932647"/>
                    <a:pt x="7279152" y="4932647"/>
                    <a:pt x="7279152" y="4932647"/>
                  </a:cubicBezTo>
                  <a:cubicBezTo>
                    <a:pt x="7032774" y="4686167"/>
                    <a:pt x="7032774" y="4686167"/>
                    <a:pt x="7032774" y="4686167"/>
                  </a:cubicBezTo>
                  <a:cubicBezTo>
                    <a:pt x="6662224" y="4686167"/>
                    <a:pt x="6662224" y="4686167"/>
                    <a:pt x="6662224" y="4686167"/>
                  </a:cubicBezTo>
                  <a:cubicBezTo>
                    <a:pt x="6658044" y="4671531"/>
                    <a:pt x="6644521" y="4661076"/>
                    <a:pt x="6628170" y="4661076"/>
                  </a:cubicBezTo>
                  <a:cubicBezTo>
                    <a:pt x="6608867" y="4661076"/>
                    <a:pt x="6593130" y="4676696"/>
                    <a:pt x="6593130" y="4696130"/>
                  </a:cubicBezTo>
                  <a:cubicBezTo>
                    <a:pt x="6593130" y="4715563"/>
                    <a:pt x="6608867" y="4731306"/>
                    <a:pt x="6628170" y="4731306"/>
                  </a:cubicBezTo>
                  <a:cubicBezTo>
                    <a:pt x="6645013" y="4731306"/>
                    <a:pt x="6659151" y="4719744"/>
                    <a:pt x="6662840" y="4704001"/>
                  </a:cubicBezTo>
                  <a:cubicBezTo>
                    <a:pt x="7032774" y="4704001"/>
                    <a:pt x="7032774" y="4704001"/>
                    <a:pt x="7032774" y="4704001"/>
                  </a:cubicBezTo>
                  <a:close/>
                  <a:moveTo>
                    <a:pt x="7261613" y="4996025"/>
                  </a:moveTo>
                  <a:cubicBezTo>
                    <a:pt x="9144000" y="4996025"/>
                    <a:pt x="9144000" y="4996025"/>
                    <a:pt x="9144000" y="4996025"/>
                  </a:cubicBezTo>
                  <a:cubicBezTo>
                    <a:pt x="9144000" y="4978309"/>
                    <a:pt x="9144000" y="4978309"/>
                    <a:pt x="9144000" y="4978309"/>
                  </a:cubicBezTo>
                  <a:cubicBezTo>
                    <a:pt x="7261613" y="4978309"/>
                    <a:pt x="7261613" y="4978309"/>
                    <a:pt x="7261613" y="4978309"/>
                  </a:cubicBezTo>
                  <a:cubicBezTo>
                    <a:pt x="7086027" y="4802008"/>
                    <a:pt x="7086027" y="4802008"/>
                    <a:pt x="7086027" y="4802008"/>
                  </a:cubicBezTo>
                  <a:cubicBezTo>
                    <a:pt x="6575499" y="4802008"/>
                    <a:pt x="6575499" y="4802008"/>
                    <a:pt x="6575499" y="4802008"/>
                  </a:cubicBezTo>
                  <a:cubicBezTo>
                    <a:pt x="6432005" y="4658311"/>
                    <a:pt x="6432005" y="4658311"/>
                    <a:pt x="6432005" y="4658311"/>
                  </a:cubicBezTo>
                  <a:cubicBezTo>
                    <a:pt x="6434095" y="4654128"/>
                    <a:pt x="6435079" y="4648838"/>
                    <a:pt x="6435079" y="4643670"/>
                  </a:cubicBezTo>
                  <a:cubicBezTo>
                    <a:pt x="6435079" y="4624232"/>
                    <a:pt x="6419341" y="4608484"/>
                    <a:pt x="6400036" y="4608484"/>
                  </a:cubicBezTo>
                  <a:cubicBezTo>
                    <a:pt x="6380608" y="4608484"/>
                    <a:pt x="6364869" y="4624232"/>
                    <a:pt x="6364869" y="4643670"/>
                  </a:cubicBezTo>
                  <a:cubicBezTo>
                    <a:pt x="6364869" y="4662986"/>
                    <a:pt x="6380608" y="4679349"/>
                    <a:pt x="6400036" y="4679349"/>
                  </a:cubicBezTo>
                  <a:cubicBezTo>
                    <a:pt x="6409381" y="4679349"/>
                    <a:pt x="6418357" y="4675043"/>
                    <a:pt x="6424627" y="4668768"/>
                  </a:cubicBezTo>
                  <a:cubicBezTo>
                    <a:pt x="6575499" y="4819848"/>
                    <a:pt x="6575499" y="4819848"/>
                    <a:pt x="6575499" y="4819848"/>
                  </a:cubicBezTo>
                  <a:cubicBezTo>
                    <a:pt x="7086027" y="4819848"/>
                    <a:pt x="7086027" y="4819848"/>
                    <a:pt x="7086027" y="4819848"/>
                  </a:cubicBezTo>
                  <a:close/>
                  <a:moveTo>
                    <a:pt x="8704174" y="5056208"/>
                  </a:moveTo>
                  <a:cubicBezTo>
                    <a:pt x="9144000" y="5056208"/>
                    <a:pt x="9144000" y="5056208"/>
                    <a:pt x="9144000" y="5056208"/>
                  </a:cubicBezTo>
                  <a:cubicBezTo>
                    <a:pt x="9144000" y="5038865"/>
                    <a:pt x="9144000" y="5038865"/>
                    <a:pt x="9144000" y="5038865"/>
                  </a:cubicBezTo>
                  <a:cubicBezTo>
                    <a:pt x="8704174" y="5038865"/>
                    <a:pt x="8704174" y="5038865"/>
                    <a:pt x="8704174" y="5038865"/>
                  </a:cubicBezTo>
                  <a:cubicBezTo>
                    <a:pt x="8669008" y="5021031"/>
                    <a:pt x="8669008" y="5021031"/>
                    <a:pt x="8669008" y="5021031"/>
                  </a:cubicBezTo>
                  <a:cubicBezTo>
                    <a:pt x="7226447" y="5021031"/>
                    <a:pt x="7226447" y="5021031"/>
                    <a:pt x="7226447" y="5021031"/>
                  </a:cubicBezTo>
                  <a:cubicBezTo>
                    <a:pt x="7068197" y="4862733"/>
                    <a:pt x="7068197" y="4862733"/>
                    <a:pt x="7068197" y="4862733"/>
                  </a:cubicBezTo>
                  <a:cubicBezTo>
                    <a:pt x="6540455" y="4862733"/>
                    <a:pt x="6540455" y="4862733"/>
                    <a:pt x="6540455" y="4862733"/>
                  </a:cubicBezTo>
                  <a:cubicBezTo>
                    <a:pt x="6452908" y="4774545"/>
                    <a:pt x="6452908" y="4774545"/>
                    <a:pt x="6452908" y="4774545"/>
                  </a:cubicBezTo>
                  <a:cubicBezTo>
                    <a:pt x="6433604" y="4774545"/>
                    <a:pt x="6433604" y="4774545"/>
                    <a:pt x="6433604" y="4774545"/>
                  </a:cubicBezTo>
                  <a:cubicBezTo>
                    <a:pt x="6429300" y="4759908"/>
                    <a:pt x="6416267" y="4749453"/>
                    <a:pt x="6400036" y="4749453"/>
                  </a:cubicBezTo>
                  <a:cubicBezTo>
                    <a:pt x="6380608" y="4749453"/>
                    <a:pt x="6364869" y="4765197"/>
                    <a:pt x="6364869" y="4784507"/>
                  </a:cubicBezTo>
                  <a:cubicBezTo>
                    <a:pt x="6364869" y="4803941"/>
                    <a:pt x="6380608" y="4819684"/>
                    <a:pt x="6400036" y="4819684"/>
                  </a:cubicBezTo>
                  <a:cubicBezTo>
                    <a:pt x="6416759" y="4819684"/>
                    <a:pt x="6430898" y="4808123"/>
                    <a:pt x="6434095" y="4792379"/>
                  </a:cubicBezTo>
                  <a:cubicBezTo>
                    <a:pt x="6452908" y="4792379"/>
                    <a:pt x="6452908" y="4792379"/>
                    <a:pt x="6452908" y="4792379"/>
                  </a:cubicBezTo>
                  <a:cubicBezTo>
                    <a:pt x="6540455" y="4880568"/>
                    <a:pt x="6540455" y="4880568"/>
                    <a:pt x="6540455" y="4880568"/>
                  </a:cubicBezTo>
                  <a:cubicBezTo>
                    <a:pt x="7068197" y="4880568"/>
                    <a:pt x="7068197" y="4880568"/>
                    <a:pt x="7068197" y="4880568"/>
                  </a:cubicBezTo>
                  <a:cubicBezTo>
                    <a:pt x="7226447" y="5038865"/>
                    <a:pt x="7226447" y="5038865"/>
                    <a:pt x="7226447" y="5038865"/>
                  </a:cubicBezTo>
                  <a:cubicBezTo>
                    <a:pt x="8669008" y="5038865"/>
                    <a:pt x="8669008" y="5038865"/>
                    <a:pt x="8669008" y="5038865"/>
                  </a:cubicBezTo>
                  <a:close/>
                  <a:moveTo>
                    <a:pt x="7208740" y="5090908"/>
                  </a:moveTo>
                  <a:cubicBezTo>
                    <a:pt x="9144000" y="5090908"/>
                    <a:pt x="9144000" y="5090908"/>
                    <a:pt x="9144000" y="5090908"/>
                  </a:cubicBezTo>
                  <a:cubicBezTo>
                    <a:pt x="9144000" y="5073716"/>
                    <a:pt x="9144000" y="5073716"/>
                    <a:pt x="9144000" y="5073716"/>
                  </a:cubicBezTo>
                  <a:cubicBezTo>
                    <a:pt x="7208740" y="5073716"/>
                    <a:pt x="7208740" y="5073716"/>
                    <a:pt x="7208740" y="5073716"/>
                  </a:cubicBezTo>
                  <a:cubicBezTo>
                    <a:pt x="7050369" y="4915545"/>
                    <a:pt x="7050369" y="4915545"/>
                    <a:pt x="7050369" y="4915545"/>
                  </a:cubicBezTo>
                  <a:cubicBezTo>
                    <a:pt x="6433604" y="4915545"/>
                    <a:pt x="6433604" y="4915545"/>
                    <a:pt x="6433604" y="4915545"/>
                  </a:cubicBezTo>
                  <a:cubicBezTo>
                    <a:pt x="6429300" y="4900932"/>
                    <a:pt x="6416267" y="4889879"/>
                    <a:pt x="6400036" y="4889879"/>
                  </a:cubicBezTo>
                  <a:cubicBezTo>
                    <a:pt x="6380608" y="4889879"/>
                    <a:pt x="6364869" y="4905598"/>
                    <a:pt x="6364869" y="4925001"/>
                  </a:cubicBezTo>
                  <a:cubicBezTo>
                    <a:pt x="6364869" y="4944404"/>
                    <a:pt x="6380608" y="4960123"/>
                    <a:pt x="6400036" y="4960123"/>
                  </a:cubicBezTo>
                  <a:cubicBezTo>
                    <a:pt x="6416759" y="4960123"/>
                    <a:pt x="6430898" y="4948579"/>
                    <a:pt x="6434095" y="4932860"/>
                  </a:cubicBezTo>
                  <a:cubicBezTo>
                    <a:pt x="7050369" y="4932860"/>
                    <a:pt x="7050369" y="4932860"/>
                    <a:pt x="7050369" y="4932860"/>
                  </a:cubicBezTo>
                  <a:close/>
                  <a:moveTo>
                    <a:pt x="7173574" y="5143500"/>
                  </a:moveTo>
                  <a:cubicBezTo>
                    <a:pt x="9144000" y="5143500"/>
                    <a:pt x="9144000" y="5143500"/>
                    <a:pt x="9144000" y="5143500"/>
                  </a:cubicBezTo>
                  <a:cubicBezTo>
                    <a:pt x="9144000" y="5125691"/>
                    <a:pt x="9144000" y="5125691"/>
                    <a:pt x="9144000" y="5125691"/>
                  </a:cubicBezTo>
                  <a:cubicBezTo>
                    <a:pt x="7173574" y="5125691"/>
                    <a:pt x="7173574" y="5125691"/>
                    <a:pt x="7173574" y="5125691"/>
                  </a:cubicBezTo>
                  <a:cubicBezTo>
                    <a:pt x="7033031" y="4985304"/>
                    <a:pt x="7033031" y="4985304"/>
                    <a:pt x="7033031" y="4985304"/>
                  </a:cubicBezTo>
                  <a:cubicBezTo>
                    <a:pt x="6733748" y="4985304"/>
                    <a:pt x="6733748" y="4985304"/>
                    <a:pt x="6733748" y="4985304"/>
                  </a:cubicBezTo>
                  <a:cubicBezTo>
                    <a:pt x="6663538" y="5055559"/>
                    <a:pt x="6663538" y="5055559"/>
                    <a:pt x="6663538" y="5055559"/>
                  </a:cubicBezTo>
                  <a:cubicBezTo>
                    <a:pt x="6433604" y="5055559"/>
                    <a:pt x="6433604" y="5055559"/>
                    <a:pt x="6433604" y="5055559"/>
                  </a:cubicBezTo>
                  <a:cubicBezTo>
                    <a:pt x="6429300" y="5040820"/>
                    <a:pt x="6416267" y="5030380"/>
                    <a:pt x="6400036" y="5030380"/>
                  </a:cubicBezTo>
                  <a:cubicBezTo>
                    <a:pt x="6380608" y="5030380"/>
                    <a:pt x="6364869" y="5046102"/>
                    <a:pt x="6364869" y="5065508"/>
                  </a:cubicBezTo>
                  <a:cubicBezTo>
                    <a:pt x="6364869" y="5084791"/>
                    <a:pt x="6380608" y="5100512"/>
                    <a:pt x="6400036" y="5100512"/>
                  </a:cubicBezTo>
                  <a:cubicBezTo>
                    <a:pt x="6416759" y="5100512"/>
                    <a:pt x="6430898" y="5089089"/>
                    <a:pt x="6434095" y="5073369"/>
                  </a:cubicBezTo>
                  <a:cubicBezTo>
                    <a:pt x="6663538" y="5073369"/>
                    <a:pt x="6663538" y="5073369"/>
                    <a:pt x="6663538" y="5073369"/>
                  </a:cubicBezTo>
                  <a:cubicBezTo>
                    <a:pt x="6733748" y="5002622"/>
                    <a:pt x="6733748" y="5002622"/>
                    <a:pt x="6733748" y="5002622"/>
                  </a:cubicBezTo>
                  <a:cubicBezTo>
                    <a:pt x="7033031" y="5002622"/>
                    <a:pt x="7033031" y="5002622"/>
                    <a:pt x="7033031" y="5002622"/>
                  </a:cubicBezTo>
                  <a:close/>
                </a:path>
              </a:pathLst>
            </a:custGeom>
            <a:gradFill flip="none" rotWithShape="1">
              <a:gsLst>
                <a:gs pos="43000">
                  <a:schemeClr val="bg1"/>
                </a:gs>
                <a:gs pos="100000">
                  <a:schemeClr val="bg1"/>
                </a:gs>
              </a:gsLst>
              <a:path path="shape">
                <a:fillToRect l="50000" t="50000" r="50000" b="50000"/>
              </a:path>
              <a:tileRect/>
            </a:gradFill>
            <a:ln>
              <a:noFill/>
            </a:ln>
            <a:effectLst/>
          </p:spPr>
          <p:txBody>
            <a:bodyPr wrap="square" anchor="ctr">
              <a:noAutofit/>
            </a:bodyPr>
            <a:lstStyle/>
            <a:p>
              <a:pPr fontAlgn="base">
                <a:spcBef>
                  <a:spcPct val="0"/>
                </a:spcBef>
                <a:spcAft>
                  <a:spcPct val="0"/>
                </a:spcAft>
              </a:pPr>
              <a:endParaRPr lang="en-US" dirty="0">
                <a:solidFill>
                  <a:srgbClr val="58585B"/>
                </a:solidFill>
                <a:latin typeface="Arial" charset="0"/>
                <a:ea typeface="ＭＳ Ｐゴシック" pitchFamily="34" charset="-128"/>
              </a:endParaRPr>
            </a:p>
          </p:txBody>
        </p:sp>
      </p:grpSp>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470711306"/>
      </p:ext>
    </p:extLst>
  </p:cSld>
  <p:clrMapOvr>
    <a:masterClrMapping/>
  </p:clrMapOvr>
  <p:transition spd="slow">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Segu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p:nvSpPr>
        <p:spPr bwMode="ltGray">
          <a:xfrm>
            <a:off x="11351429" y="6323883"/>
            <a:ext cx="294071" cy="206023"/>
          </a:xfrm>
          <a:prstGeom prst="rect">
            <a:avLst/>
          </a:prstGeom>
          <a:noFill/>
          <a:ln w="9525" algn="ctr">
            <a:noFill/>
            <a:miter lim="800000"/>
            <a:headEnd/>
            <a:tailEnd/>
          </a:ln>
          <a:effectLst/>
        </p:spPr>
        <p:txBody>
          <a:bodyPr wrap="none" lIns="82107" tIns="41054" rIns="82107" bIns="41054" anchor="b">
            <a:spAutoFit/>
          </a:bodyPr>
          <a:lstStyle/>
          <a:p>
            <a:pPr algn="r" defTabSz="814225" fontAlgn="auto">
              <a:spcBef>
                <a:spcPts val="0"/>
              </a:spcBef>
              <a:spcAft>
                <a:spcPts val="0"/>
              </a:spcAft>
              <a:defRPr/>
            </a:pPr>
            <a:fld id="{4ABDCABE-3F10-B64C-92F1-862014417034}" type="slidenum">
              <a:rPr lang="en-US" sz="800">
                <a:solidFill>
                  <a:schemeClr val="bg1">
                    <a:alpha val="60000"/>
                  </a:schemeClr>
                </a:solidFill>
                <a:latin typeface="+mn-lt"/>
                <a:ea typeface="+mn-ea"/>
                <a:cs typeface="CiscoSans Thin"/>
              </a:rPr>
              <a:pPr algn="r" defTabSz="814225" fontAlgn="auto">
                <a:spcBef>
                  <a:spcPts val="0"/>
                </a:spcBef>
                <a:spcAft>
                  <a:spcPts val="0"/>
                </a:spcAft>
                <a:defRPr/>
              </a:pPr>
              <a:t>‹#›</a:t>
            </a:fld>
            <a:endParaRPr lang="en-US" sz="800" dirty="0">
              <a:solidFill>
                <a:schemeClr val="bg1">
                  <a:alpha val="60000"/>
                </a:schemeClr>
              </a:solidFill>
              <a:latin typeface="+mn-lt"/>
              <a:ea typeface="+mn-ea"/>
              <a:cs typeface="CiscoSans Thin"/>
            </a:endParaRPr>
          </a:p>
        </p:txBody>
      </p:sp>
      <p:sp>
        <p:nvSpPr>
          <p:cNvPr id="8" name="Rectangle 4"/>
          <p:cNvSpPr>
            <a:spLocks noChangeArrowheads="1"/>
          </p:cNvSpPr>
          <p:nvPr/>
        </p:nvSpPr>
        <p:spPr bwMode="ltGray">
          <a:xfrm>
            <a:off x="7823344" y="6322210"/>
            <a:ext cx="3544024" cy="206025"/>
          </a:xfrm>
          <a:prstGeom prst="rect">
            <a:avLst/>
          </a:prstGeom>
          <a:noFill/>
          <a:ln w="9525">
            <a:noFill/>
            <a:miter lim="800000"/>
            <a:headEnd/>
            <a:tailEnd/>
          </a:ln>
          <a:effectLst/>
        </p:spPr>
        <p:txBody>
          <a:bodyPr lIns="82107" tIns="41054" rIns="82107" bIns="41054" anchor="b">
            <a:spAutoFit/>
          </a:bodyPr>
          <a:lstStyle/>
          <a:p>
            <a:pPr defTabSz="814225" fontAlgn="auto">
              <a:spcBef>
                <a:spcPts val="0"/>
              </a:spcBef>
              <a:spcAft>
                <a:spcPts val="0"/>
              </a:spcAft>
              <a:defRPr/>
            </a:pPr>
            <a:r>
              <a:rPr lang="en-US" sz="800" dirty="0">
                <a:solidFill>
                  <a:schemeClr val="bg1">
                    <a:alpha val="60000"/>
                  </a:schemeClr>
                </a:solidFill>
                <a:latin typeface="+mn-lt"/>
                <a:ea typeface="+mn-ea"/>
                <a:cs typeface="CiscoSans Thin"/>
              </a:rPr>
              <a:t>© 2015  Cisco and/or its affiliates. All rights reserved.   Cisco Confidential</a:t>
            </a:r>
          </a:p>
        </p:txBody>
      </p:sp>
      <p:pic>
        <p:nvPicPr>
          <p:cNvPr id="10" name="Picture 2" descr="C:\Users\spius\Pictures\cisco logo blue gradient.png"/>
          <p:cNvPicPr>
            <a:picLocks noChangeAspect="1" noChangeArrowheads="1"/>
          </p:cNvPicPr>
          <p:nvPr/>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632233" y="6167697"/>
            <a:ext cx="575083" cy="35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9788064"/>
      </p:ext>
    </p:extLst>
  </p:cSld>
  <p:clrMapOvr>
    <a:masterClrMapping/>
  </p:clrMapOvr>
  <p:transition spd="slow">
    <p:wip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_Title Slide-animated gradient">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7216" y="432000"/>
            <a:ext cx="1254896" cy="780288"/>
          </a:xfrm>
          <a:prstGeom prst="rect">
            <a:avLst/>
          </a:prstGeom>
        </p:spPr>
      </p:pic>
      <p:sp>
        <p:nvSpPr>
          <p:cNvPr id="16" name="Subtitle 2"/>
          <p:cNvSpPr>
            <a:spLocks noGrp="1"/>
          </p:cNvSpPr>
          <p:nvPr>
            <p:ph type="subTitle" idx="1" hasCustomPrompt="1"/>
          </p:nvPr>
        </p:nvSpPr>
        <p:spPr>
          <a:xfrm>
            <a:off x="626001" y="5057603"/>
            <a:ext cx="11061895" cy="384175"/>
          </a:xfrm>
          <a:prstGeom prst="rect">
            <a:avLst/>
          </a:prstGeom>
        </p:spPr>
        <p:txBody>
          <a:bodyPr lIns="91412" tIns="45710" rIns="91412" bIns="45710" anchor="b" anchorCtr="0">
            <a:noAutofit/>
          </a:bodyPr>
          <a:lstStyle>
            <a:lvl1pPr marL="0" indent="0" algn="l">
              <a:buNone/>
              <a:defRPr sz="1900" b="0" i="0">
                <a:solidFill>
                  <a:srgbClr val="FFFFFE"/>
                </a:solidFill>
                <a:latin typeface="+mn-lt"/>
                <a:cs typeface="CiscoSans"/>
              </a:defRPr>
            </a:lvl1pPr>
            <a:lvl2pPr marL="457083" indent="0" algn="ctr">
              <a:buNone/>
              <a:defRPr>
                <a:solidFill>
                  <a:schemeClr val="tx1">
                    <a:tint val="75000"/>
                  </a:schemeClr>
                </a:solidFill>
              </a:defRPr>
            </a:lvl2pPr>
            <a:lvl3pPr marL="914180" indent="0" algn="ctr">
              <a:buNone/>
              <a:defRPr>
                <a:solidFill>
                  <a:schemeClr val="tx1">
                    <a:tint val="75000"/>
                  </a:schemeClr>
                </a:solidFill>
              </a:defRPr>
            </a:lvl3pPr>
            <a:lvl4pPr marL="1371268" indent="0" algn="ctr">
              <a:buNone/>
              <a:defRPr>
                <a:solidFill>
                  <a:schemeClr val="tx1">
                    <a:tint val="75000"/>
                  </a:schemeClr>
                </a:solidFill>
              </a:defRPr>
            </a:lvl4pPr>
            <a:lvl5pPr marL="1828361" indent="0" algn="ctr">
              <a:buNone/>
              <a:defRPr>
                <a:solidFill>
                  <a:schemeClr val="tx1">
                    <a:tint val="75000"/>
                  </a:schemeClr>
                </a:solidFill>
              </a:defRPr>
            </a:lvl5pPr>
            <a:lvl6pPr marL="2285446" indent="0" algn="ctr">
              <a:buNone/>
              <a:defRPr>
                <a:solidFill>
                  <a:schemeClr val="tx1">
                    <a:tint val="75000"/>
                  </a:schemeClr>
                </a:solidFill>
              </a:defRPr>
            </a:lvl6pPr>
            <a:lvl7pPr marL="2742541" indent="0" algn="ctr">
              <a:buNone/>
              <a:defRPr>
                <a:solidFill>
                  <a:schemeClr val="tx1">
                    <a:tint val="75000"/>
                  </a:schemeClr>
                </a:solidFill>
              </a:defRPr>
            </a:lvl7pPr>
            <a:lvl8pPr marL="3199627" indent="0" algn="ctr">
              <a:buNone/>
              <a:defRPr>
                <a:solidFill>
                  <a:schemeClr val="tx1">
                    <a:tint val="75000"/>
                  </a:schemeClr>
                </a:solidFill>
              </a:defRPr>
            </a:lvl8pPr>
            <a:lvl9pPr marL="3656719"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6001" y="5377599"/>
            <a:ext cx="11061895" cy="384175"/>
          </a:xfrm>
          <a:prstGeom prst="rect">
            <a:avLst/>
          </a:prstGeom>
        </p:spPr>
        <p:txBody>
          <a:bodyPr lIns="91412" tIns="45710" rIns="91412" bIns="45710"/>
          <a:lstStyle>
            <a:lvl1pPr marL="0" indent="0" algn="l">
              <a:buFontTx/>
              <a:buNone/>
              <a:defRPr lang="en-US" sz="1900"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6001" y="5697595"/>
            <a:ext cx="11061895" cy="384175"/>
          </a:xfrm>
          <a:prstGeom prst="rect">
            <a:avLst/>
          </a:prstGeom>
        </p:spPr>
        <p:txBody>
          <a:bodyPr lIns="91412" tIns="45710" rIns="91412" bIns="45710"/>
          <a:lstStyle>
            <a:lvl1pPr marL="0" indent="0" algn="l">
              <a:buFontTx/>
              <a:buNone/>
              <a:defRPr lang="en-US" sz="1900"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9" y="4281951"/>
            <a:ext cx="11070167" cy="398668"/>
          </a:xfrm>
          <a:prstGeom prst="rect">
            <a:avLst/>
          </a:prstGeom>
        </p:spPr>
        <p:txBody>
          <a:bodyPr lIns="91412" tIns="45710" rIns="91412" bIns="45710"/>
          <a:lstStyle>
            <a:lvl1pPr marL="0" indent="0">
              <a:buFont typeface="Arial" panose="020B0604020202020204" pitchFamily="34" charset="0"/>
              <a:buNone/>
              <a:defRPr sz="2900" baseline="0">
                <a:solidFill>
                  <a:srgbClr val="FFFFFE"/>
                </a:solidFill>
                <a:latin typeface="+mj-lt"/>
              </a:defRPr>
            </a:lvl1pPr>
            <a:lvl2pPr marL="406325" indent="0">
              <a:buNone/>
              <a:defRPr/>
            </a:lvl2pPr>
            <a:lvl3pPr marL="569798" indent="0">
              <a:buNone/>
              <a:defRPr/>
            </a:lvl3pPr>
            <a:lvl4pPr marL="688839" indent="0">
              <a:buNone/>
              <a:defRPr/>
            </a:lvl4pPr>
            <a:lvl5pPr marL="801528" indent="0">
              <a:buNone/>
              <a:defRPr/>
            </a:lvl5pPr>
          </a:lstStyle>
          <a:p>
            <a:pPr lvl="0"/>
            <a:r>
              <a:rPr lang="en-GB" dirty="0"/>
              <a:t>Subtitle Goes Here</a:t>
            </a:r>
          </a:p>
        </p:txBody>
      </p:sp>
      <p:sp>
        <p:nvSpPr>
          <p:cNvPr id="20" name="Title 1"/>
          <p:cNvSpPr>
            <a:spLocks noGrp="1"/>
          </p:cNvSpPr>
          <p:nvPr>
            <p:ph type="ctrTitle" hasCustomPrompt="1"/>
          </p:nvPr>
        </p:nvSpPr>
        <p:spPr>
          <a:xfrm>
            <a:off x="567689" y="3519969"/>
            <a:ext cx="11120203" cy="859640"/>
          </a:xfrm>
          <a:prstGeom prst="rect">
            <a:avLst/>
          </a:prstGeom>
        </p:spPr>
        <p:txBody>
          <a:bodyPr anchor="b"/>
          <a:lstStyle>
            <a:lvl1pPr marL="0" indent="0" algn="l">
              <a:lnSpc>
                <a:spcPct val="90000"/>
              </a:lnSpc>
              <a:buFont typeface="Arial" panose="020B0604020202020204" pitchFamily="34" charset="0"/>
              <a:buNone/>
              <a:defRPr sz="69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536526236"/>
      </p:ext>
    </p:extLst>
  </p:cSld>
  <p:clrMapOvr>
    <a:masterClrMapping/>
  </p:clrMapOvr>
  <p:transition spd="slow">
    <p:wip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Title_Photo">
    <p:spTree>
      <p:nvGrpSpPr>
        <p:cNvPr id="1" name=""/>
        <p:cNvGrpSpPr/>
        <p:nvPr/>
      </p:nvGrpSpPr>
      <p:grpSpPr>
        <a:xfrm>
          <a:off x="0" y="0"/>
          <a:ext cx="0" cy="0"/>
          <a:chOff x="0" y="0"/>
          <a:chExt cx="0" cy="0"/>
        </a:xfrm>
      </p:grpSpPr>
      <p:pic>
        <p:nvPicPr>
          <p:cNvPr id="2" name="Picture 1" descr="ducks.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096" y="-7996"/>
            <a:ext cx="12204192" cy="6873999"/>
          </a:xfrm>
          <a:prstGeom prst="rect">
            <a:avLst/>
          </a:prstGeom>
        </p:spPr>
      </p:pic>
      <p:pic>
        <p:nvPicPr>
          <p:cNvPr id="15"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568069" y="427569"/>
            <a:ext cx="1264175" cy="781051"/>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ubtitle 2"/>
          <p:cNvSpPr>
            <a:spLocks noGrp="1"/>
          </p:cNvSpPr>
          <p:nvPr>
            <p:ph type="subTitle" idx="1" hasCustomPrompt="1"/>
          </p:nvPr>
        </p:nvSpPr>
        <p:spPr>
          <a:xfrm>
            <a:off x="626001" y="5057603"/>
            <a:ext cx="11061895" cy="384175"/>
          </a:xfrm>
          <a:prstGeom prst="rect">
            <a:avLst/>
          </a:prstGeom>
        </p:spPr>
        <p:txBody>
          <a:bodyPr lIns="91412" tIns="45710" rIns="91412" bIns="45710" anchor="b" anchorCtr="0">
            <a:noAutofit/>
          </a:bodyPr>
          <a:lstStyle>
            <a:lvl1pPr marL="0" indent="0" algn="l">
              <a:buNone/>
              <a:defRPr sz="1900" b="0" i="0">
                <a:solidFill>
                  <a:srgbClr val="4D4D4D"/>
                </a:solidFill>
                <a:latin typeface="+mn-lt"/>
                <a:cs typeface="CiscoSans"/>
              </a:defRPr>
            </a:lvl1pPr>
            <a:lvl2pPr marL="457083" indent="0" algn="ctr">
              <a:buNone/>
              <a:defRPr>
                <a:solidFill>
                  <a:schemeClr val="tx1">
                    <a:tint val="75000"/>
                  </a:schemeClr>
                </a:solidFill>
              </a:defRPr>
            </a:lvl2pPr>
            <a:lvl3pPr marL="914180" indent="0" algn="ctr">
              <a:buNone/>
              <a:defRPr>
                <a:solidFill>
                  <a:schemeClr val="tx1">
                    <a:tint val="75000"/>
                  </a:schemeClr>
                </a:solidFill>
              </a:defRPr>
            </a:lvl3pPr>
            <a:lvl4pPr marL="1371268" indent="0" algn="ctr">
              <a:buNone/>
              <a:defRPr>
                <a:solidFill>
                  <a:schemeClr val="tx1">
                    <a:tint val="75000"/>
                  </a:schemeClr>
                </a:solidFill>
              </a:defRPr>
            </a:lvl4pPr>
            <a:lvl5pPr marL="1828361" indent="0" algn="ctr">
              <a:buNone/>
              <a:defRPr>
                <a:solidFill>
                  <a:schemeClr val="tx1">
                    <a:tint val="75000"/>
                  </a:schemeClr>
                </a:solidFill>
              </a:defRPr>
            </a:lvl5pPr>
            <a:lvl6pPr marL="2285446" indent="0" algn="ctr">
              <a:buNone/>
              <a:defRPr>
                <a:solidFill>
                  <a:schemeClr val="tx1">
                    <a:tint val="75000"/>
                  </a:schemeClr>
                </a:solidFill>
              </a:defRPr>
            </a:lvl6pPr>
            <a:lvl7pPr marL="2742541" indent="0" algn="ctr">
              <a:buNone/>
              <a:defRPr>
                <a:solidFill>
                  <a:schemeClr val="tx1">
                    <a:tint val="75000"/>
                  </a:schemeClr>
                </a:solidFill>
              </a:defRPr>
            </a:lvl7pPr>
            <a:lvl8pPr marL="3199627" indent="0" algn="ctr">
              <a:buNone/>
              <a:defRPr>
                <a:solidFill>
                  <a:schemeClr val="tx1">
                    <a:tint val="75000"/>
                  </a:schemeClr>
                </a:solidFill>
              </a:defRPr>
            </a:lvl8pPr>
            <a:lvl9pPr marL="3656719" indent="0" algn="ctr">
              <a:buNone/>
              <a:defRPr>
                <a:solidFill>
                  <a:schemeClr val="tx1">
                    <a:tint val="75000"/>
                  </a:schemeClr>
                </a:solidFill>
              </a:defRPr>
            </a:lvl9pPr>
          </a:lstStyle>
          <a:p>
            <a:r>
              <a:rPr lang="en-GB" dirty="0"/>
              <a:t>Speaker Name</a:t>
            </a:r>
            <a:endParaRPr lang="en-US" dirty="0"/>
          </a:p>
        </p:txBody>
      </p:sp>
      <p:sp>
        <p:nvSpPr>
          <p:cNvPr id="12" name="Text Placeholder 38"/>
          <p:cNvSpPr>
            <a:spLocks noGrp="1"/>
          </p:cNvSpPr>
          <p:nvPr>
            <p:ph type="body" sz="quarter" idx="11" hasCustomPrompt="1"/>
          </p:nvPr>
        </p:nvSpPr>
        <p:spPr>
          <a:xfrm>
            <a:off x="626001" y="5438074"/>
            <a:ext cx="11061895" cy="384175"/>
          </a:xfrm>
          <a:prstGeom prst="rect">
            <a:avLst/>
          </a:prstGeom>
        </p:spPr>
        <p:txBody>
          <a:bodyPr lIns="91412" tIns="45710" rIns="91412" bIns="45710"/>
          <a:lstStyle>
            <a:lvl1pPr marL="0" indent="0" algn="l">
              <a:buFontTx/>
              <a:buNone/>
              <a:defRPr lang="en-US" sz="1900"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3" name="Text Placeholder 40"/>
          <p:cNvSpPr>
            <a:spLocks noGrp="1"/>
          </p:cNvSpPr>
          <p:nvPr>
            <p:ph type="body" sz="quarter" idx="12" hasCustomPrompt="1"/>
          </p:nvPr>
        </p:nvSpPr>
        <p:spPr>
          <a:xfrm>
            <a:off x="626001" y="5818545"/>
            <a:ext cx="11061895" cy="384175"/>
          </a:xfrm>
          <a:prstGeom prst="rect">
            <a:avLst/>
          </a:prstGeom>
        </p:spPr>
        <p:txBody>
          <a:bodyPr lIns="91412" tIns="45710" rIns="91412" bIns="45710"/>
          <a:lstStyle>
            <a:lvl1pPr marL="0" indent="0" algn="l">
              <a:buFontTx/>
              <a:buNone/>
              <a:defRPr lang="en-US" sz="1900"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4" name="Text Placeholder 2"/>
          <p:cNvSpPr>
            <a:spLocks noGrp="1"/>
          </p:cNvSpPr>
          <p:nvPr>
            <p:ph type="body" sz="quarter" idx="13" hasCustomPrompt="1"/>
          </p:nvPr>
        </p:nvSpPr>
        <p:spPr>
          <a:xfrm>
            <a:off x="617729" y="4281951"/>
            <a:ext cx="11070167" cy="398668"/>
          </a:xfrm>
          <a:prstGeom prst="rect">
            <a:avLst/>
          </a:prstGeom>
        </p:spPr>
        <p:txBody>
          <a:bodyPr lIns="91412" tIns="45710" rIns="91412" bIns="45710"/>
          <a:lstStyle>
            <a:lvl1pPr marL="0" indent="0">
              <a:buFont typeface="Arial" panose="020B0604020202020204" pitchFamily="34" charset="0"/>
              <a:buNone/>
              <a:defRPr sz="2900" baseline="0">
                <a:solidFill>
                  <a:srgbClr val="4D4D4D"/>
                </a:solidFill>
                <a:latin typeface="+mj-lt"/>
              </a:defRPr>
            </a:lvl1pPr>
            <a:lvl2pPr marL="406325" indent="0">
              <a:buNone/>
              <a:defRPr/>
            </a:lvl2pPr>
            <a:lvl3pPr marL="569798" indent="0">
              <a:buNone/>
              <a:defRPr/>
            </a:lvl3pPr>
            <a:lvl4pPr marL="688839" indent="0">
              <a:buNone/>
              <a:defRPr/>
            </a:lvl4pPr>
            <a:lvl5pPr marL="801528" indent="0">
              <a:buNone/>
              <a:defRPr/>
            </a:lvl5pPr>
          </a:lstStyle>
          <a:p>
            <a:pPr lvl="0"/>
            <a:r>
              <a:rPr lang="en-GB" dirty="0"/>
              <a:t>Subtitle Goes Here</a:t>
            </a:r>
          </a:p>
        </p:txBody>
      </p:sp>
      <p:sp>
        <p:nvSpPr>
          <p:cNvPr id="10" name="Title 1"/>
          <p:cNvSpPr>
            <a:spLocks noGrp="1"/>
          </p:cNvSpPr>
          <p:nvPr>
            <p:ph type="ctrTitle" hasCustomPrompt="1"/>
          </p:nvPr>
        </p:nvSpPr>
        <p:spPr>
          <a:xfrm>
            <a:off x="567689" y="3519969"/>
            <a:ext cx="11120203" cy="859640"/>
          </a:xfrm>
          <a:prstGeom prst="rect">
            <a:avLst/>
          </a:prstGeom>
        </p:spPr>
        <p:txBody>
          <a:bodyPr anchor="b"/>
          <a:lstStyle>
            <a:lvl1pPr marL="0" indent="0" algn="l">
              <a:lnSpc>
                <a:spcPct val="90000"/>
              </a:lnSpc>
              <a:buFont typeface="Arial" panose="020B0604020202020204" pitchFamily="34" charset="0"/>
              <a:buNone/>
              <a:defRPr sz="6900" b="0" i="0" spc="0" baseline="0">
                <a:solidFill>
                  <a:srgbClr val="4D4D4D"/>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1344626090"/>
      </p:ext>
    </p:extLst>
  </p:cSld>
  <p:clrMapOvr>
    <a:masterClrMapping/>
  </p:clrMapOvr>
  <p:transition spd="slow">
    <p:wip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24" tIns="45714" rIns="91424" bIns="45714" anchor="ctr"/>
          <a:lstStyle/>
          <a:p>
            <a:endParaRPr lang="en-US" sz="2400">
              <a:solidFill>
                <a:srgbClr val="676767"/>
              </a:solidFill>
              <a:latin typeface="Arial"/>
            </a:endParaRPr>
          </a:p>
        </p:txBody>
      </p:sp>
      <p:sp>
        <p:nvSpPr>
          <p:cNvPr id="6" name="Rectangle 3"/>
          <p:cNvSpPr>
            <a:spLocks noChangeArrowheads="1"/>
          </p:cNvSpPr>
          <p:nvPr/>
        </p:nvSpPr>
        <p:spPr bwMode="hidden">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24" tIns="45714" rIns="91424" bIns="45714" anchor="ctr"/>
          <a:lstStyle/>
          <a:p>
            <a:endParaRPr lang="en-US" sz="2400">
              <a:solidFill>
                <a:srgbClr val="676767"/>
              </a:solidFill>
              <a:latin typeface="Arial"/>
            </a:endParaRPr>
          </a:p>
        </p:txBody>
      </p:sp>
      <p:sp>
        <p:nvSpPr>
          <p:cNvPr id="3" name="Subtitle 2"/>
          <p:cNvSpPr>
            <a:spLocks noGrp="1"/>
          </p:cNvSpPr>
          <p:nvPr>
            <p:ph type="subTitle" idx="1" hasCustomPrompt="1"/>
          </p:nvPr>
        </p:nvSpPr>
        <p:spPr>
          <a:xfrm>
            <a:off x="666560" y="4279406"/>
            <a:ext cx="6246489" cy="384175"/>
          </a:xfrm>
          <a:prstGeom prst="rect">
            <a:avLst/>
          </a:prstGeom>
        </p:spPr>
        <p:txBody>
          <a:bodyPr vert="horz" lIns="68569" tIns="34286" rIns="68569" bIns="34286" rtlCol="0">
            <a:noAutofit/>
          </a:bodyPr>
          <a:lstStyle>
            <a:lvl1pPr marL="0" indent="0" algn="l" defTabSz="914217" rtl="0" eaLnBrk="1" latinLnBrk="0" hangingPunct="1">
              <a:lnSpc>
                <a:spcPct val="95000"/>
              </a:lnSpc>
              <a:spcBef>
                <a:spcPts val="1440"/>
              </a:spcBef>
              <a:buClr>
                <a:srgbClr val="92D050"/>
              </a:buClr>
              <a:buSzPct val="90000"/>
              <a:buFont typeface="Arial" pitchFamily="34" charset="0"/>
              <a:buNone/>
              <a:tabLst/>
              <a:defRPr lang="en-US" sz="2400" kern="1200" baseline="0" dirty="0">
                <a:solidFill>
                  <a:schemeClr val="accent3"/>
                </a:solidFill>
                <a:latin typeface="+mj-lt"/>
                <a:ea typeface="+mn-ea"/>
                <a:cs typeface="+mn-cs"/>
              </a:defRPr>
            </a:lvl1pPr>
            <a:lvl2pPr marL="457103"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7" indent="0" algn="ctr">
              <a:buNone/>
              <a:defRPr>
                <a:solidFill>
                  <a:schemeClr val="tx1">
                    <a:tint val="75000"/>
                  </a:schemeClr>
                </a:solidFill>
              </a:defRPr>
            </a:lvl5pPr>
            <a:lvl6pPr marL="2285542" indent="0" algn="ctr">
              <a:buNone/>
              <a:defRPr>
                <a:solidFill>
                  <a:schemeClr val="tx1">
                    <a:tint val="75000"/>
                  </a:schemeClr>
                </a:solidFill>
              </a:defRPr>
            </a:lvl6pPr>
            <a:lvl7pPr marL="2742654" indent="0" algn="ctr">
              <a:buNone/>
              <a:defRPr>
                <a:solidFill>
                  <a:schemeClr val="tx1">
                    <a:tint val="75000"/>
                  </a:schemeClr>
                </a:solidFill>
              </a:defRPr>
            </a:lvl7pPr>
            <a:lvl8pPr marL="3199760" indent="0" algn="ctr">
              <a:buNone/>
              <a:defRPr>
                <a:solidFill>
                  <a:schemeClr val="tx1">
                    <a:tint val="75000"/>
                  </a:schemeClr>
                </a:solidFill>
              </a:defRPr>
            </a:lvl8pPr>
            <a:lvl9pPr marL="3656871" indent="0" algn="ctr">
              <a:buNone/>
              <a:defRPr>
                <a:solidFill>
                  <a:schemeClr val="tx1">
                    <a:tint val="75000"/>
                  </a:schemeClr>
                </a:solidFill>
              </a:defRPr>
            </a:lvl9pPr>
          </a:lstStyle>
          <a:p>
            <a:pPr lvl="0"/>
            <a:r>
              <a:rPr lang="en-GB" dirty="0"/>
              <a:t>Presenter Name and Title Go Here</a:t>
            </a:r>
            <a:endParaRPr lang="en-US" dirty="0"/>
          </a:p>
        </p:txBody>
      </p:sp>
      <p:sp>
        <p:nvSpPr>
          <p:cNvPr id="2" name="Title 1"/>
          <p:cNvSpPr>
            <a:spLocks noGrp="1"/>
          </p:cNvSpPr>
          <p:nvPr>
            <p:ph type="ctrTitle" hasCustomPrompt="1"/>
          </p:nvPr>
        </p:nvSpPr>
        <p:spPr>
          <a:xfrm>
            <a:off x="612706" y="3282704"/>
            <a:ext cx="6283409" cy="1022351"/>
          </a:xfrm>
        </p:spPr>
        <p:txBody>
          <a:bodyPr lIns="61709" tIns="34286" rIns="61709" bIns="34286" rtlCol="0" anchor="b">
            <a:noAutofit/>
          </a:bodyPr>
          <a:lstStyle>
            <a:lvl1pPr marL="0" indent="0" algn="l" defTabSz="914217" rtl="0" eaLnBrk="1" latinLnBrk="0" hangingPunct="1">
              <a:lnSpc>
                <a:spcPct val="80000"/>
              </a:lnSpc>
              <a:spcBef>
                <a:spcPct val="0"/>
              </a:spcBef>
              <a:buClr>
                <a:schemeClr val="tx1"/>
              </a:buClr>
              <a:buFont typeface="Ciscolight" pitchFamily="2" charset="0"/>
              <a:buNone/>
              <a:defRPr lang="en-US" sz="6900" b="0" kern="1200" spc="0" baseline="0" dirty="0">
                <a:solidFill>
                  <a:srgbClr val="3E6BB4"/>
                </a:solidFill>
                <a:latin typeface="+mj-lt"/>
                <a:ea typeface="+mj-ea"/>
                <a:cs typeface="+mj-cs"/>
              </a:defRPr>
            </a:lvl1pPr>
          </a:lstStyle>
          <a:p>
            <a:r>
              <a:rPr lang="en-GB" dirty="0"/>
              <a:t>Demo Title</a:t>
            </a:r>
            <a:endParaRPr lang="en-US" dirty="0"/>
          </a:p>
        </p:txBody>
      </p:sp>
      <p:sp>
        <p:nvSpPr>
          <p:cNvPr id="31" name="Picture Placeholder 30"/>
          <p:cNvSpPr>
            <a:spLocks noGrp="1"/>
          </p:cNvSpPr>
          <p:nvPr>
            <p:ph type="pic" sz="quarter" idx="10"/>
          </p:nvPr>
        </p:nvSpPr>
        <p:spPr>
          <a:xfrm>
            <a:off x="7387175" y="1917701"/>
            <a:ext cx="3568700" cy="2889251"/>
          </a:xfrm>
          <a:prstGeom prst="rect">
            <a:avLst/>
          </a:prstGeom>
        </p:spPr>
        <p:txBody>
          <a:bodyPr lIns="91412" tIns="45710" rIns="91412" bIns="45710" anchor="ctr" anchorCtr="1"/>
          <a:lstStyle>
            <a:lvl1pPr marL="0" indent="0" algn="ctr">
              <a:buNone/>
              <a:defRPr>
                <a:solidFill>
                  <a:schemeClr val="accent3"/>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586189613"/>
      </p:ext>
    </p:extLst>
  </p:cSld>
  <p:clrMapOvr>
    <a:masterClrMapping/>
  </p:clrMapOvr>
  <p:transition spd="slow">
    <p:wip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_Segu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p:nvSpPr>
        <p:spPr bwMode="ltGray">
          <a:xfrm>
            <a:off x="11351429" y="6323883"/>
            <a:ext cx="294071" cy="206023"/>
          </a:xfrm>
          <a:prstGeom prst="rect">
            <a:avLst/>
          </a:prstGeom>
          <a:noFill/>
          <a:ln w="9525" algn="ctr">
            <a:noFill/>
            <a:miter lim="800000"/>
            <a:headEnd/>
            <a:tailEnd/>
          </a:ln>
          <a:effectLst/>
        </p:spPr>
        <p:txBody>
          <a:bodyPr wrap="none" lIns="82107" tIns="41054" rIns="82107" bIns="41054" anchor="b">
            <a:spAutoFit/>
          </a:bodyPr>
          <a:lstStyle/>
          <a:p>
            <a:pPr algn="r" defTabSz="814225">
              <a:defRPr/>
            </a:pPr>
            <a:fld id="{4ABDCABE-3F10-B64C-92F1-862014417034}" type="slidenum">
              <a:rPr lang="en-US" sz="800">
                <a:solidFill>
                  <a:srgbClr val="FFFFFF">
                    <a:alpha val="60000"/>
                  </a:srgbClr>
                </a:solidFill>
                <a:latin typeface="Arial"/>
                <a:cs typeface="CiscoSans Thin"/>
              </a:rPr>
              <a:pPr algn="r" defTabSz="814225">
                <a:defRPr/>
              </a:pPr>
              <a:t>‹#›</a:t>
            </a:fld>
            <a:endParaRPr lang="en-US" sz="800" dirty="0">
              <a:solidFill>
                <a:srgbClr val="FFFFFF">
                  <a:alpha val="60000"/>
                </a:srgbClr>
              </a:solidFill>
              <a:latin typeface="Arial"/>
              <a:cs typeface="CiscoSans Thin"/>
            </a:endParaRPr>
          </a:p>
        </p:txBody>
      </p:sp>
      <p:sp>
        <p:nvSpPr>
          <p:cNvPr id="8" name="Rectangle 4"/>
          <p:cNvSpPr>
            <a:spLocks noChangeArrowheads="1"/>
          </p:cNvSpPr>
          <p:nvPr/>
        </p:nvSpPr>
        <p:spPr bwMode="ltGray">
          <a:xfrm>
            <a:off x="7823344" y="6322210"/>
            <a:ext cx="3544024" cy="206025"/>
          </a:xfrm>
          <a:prstGeom prst="rect">
            <a:avLst/>
          </a:prstGeom>
          <a:noFill/>
          <a:ln w="9525">
            <a:noFill/>
            <a:miter lim="800000"/>
            <a:headEnd/>
            <a:tailEnd/>
          </a:ln>
          <a:effectLst/>
        </p:spPr>
        <p:txBody>
          <a:bodyPr lIns="82107" tIns="41054" rIns="82107" bIns="41054" anchor="b">
            <a:spAutoFit/>
          </a:bodyPr>
          <a:lstStyle/>
          <a:p>
            <a:pPr defTabSz="814225">
              <a:defRPr/>
            </a:pPr>
            <a:r>
              <a:rPr lang="en-US" sz="800" dirty="0">
                <a:solidFill>
                  <a:srgbClr val="FFFFFF">
                    <a:alpha val="60000"/>
                  </a:srgbClr>
                </a:solidFill>
                <a:latin typeface="Arial"/>
                <a:cs typeface="CiscoSans Thin"/>
              </a:rPr>
              <a:t>© 2015  Cisco and/or its affiliates. All rights reserved.   Cisco Confidential</a:t>
            </a:r>
          </a:p>
        </p:txBody>
      </p:sp>
      <p:pic>
        <p:nvPicPr>
          <p:cNvPr id="10" name="Picture 2" descr="C:\Users\spius\Pictures\cisco logo blue gradient.png"/>
          <p:cNvPicPr>
            <a:picLocks noChangeAspect="1" noChangeArrowheads="1"/>
          </p:cNvPicPr>
          <p:nvPr/>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632233" y="6167697"/>
            <a:ext cx="575083" cy="35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6911062"/>
      </p:ext>
    </p:extLst>
  </p:cSld>
  <p:clrMapOvr>
    <a:masterClrMapping/>
  </p:clrMapOvr>
  <p:transition spd="slow">
    <p:wip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20" tIns="45714" rIns="91420" bIns="45714" anchor="ctr"/>
          <a:lstStyle/>
          <a:p>
            <a:endParaRPr lang="en-US" sz="2400">
              <a:solidFill>
                <a:srgbClr val="676767"/>
              </a:solidFill>
              <a:latin typeface="Arial"/>
            </a:endParaRPr>
          </a:p>
        </p:txBody>
      </p:sp>
      <p:sp>
        <p:nvSpPr>
          <p:cNvPr id="4" name="Rectangle 6"/>
          <p:cNvSpPr>
            <a:spLocks noChangeArrowheads="1"/>
          </p:cNvSpPr>
          <p:nvPr/>
        </p:nvSpPr>
        <p:spPr bwMode="hidden">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20" tIns="45714" rIns="91420" bIns="45714" anchor="ctr"/>
          <a:lstStyle/>
          <a:p>
            <a:endParaRPr lang="en-US" sz="2400">
              <a:solidFill>
                <a:srgbClr val="676767"/>
              </a:solidFill>
              <a:latin typeface="Arial"/>
            </a:endParaRPr>
          </a:p>
        </p:txBody>
      </p:sp>
      <p:sp>
        <p:nvSpPr>
          <p:cNvPr id="7" name="Title 1"/>
          <p:cNvSpPr>
            <a:spLocks noGrp="1"/>
          </p:cNvSpPr>
          <p:nvPr>
            <p:ph type="ctrTitle" hasCustomPrompt="1"/>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00" b="0" i="0" spc="0" baseline="0">
                <a:solidFill>
                  <a:srgbClr val="3E6BB4"/>
                </a:solidFill>
                <a:latin typeface="+mj-lt"/>
                <a:cs typeface="CiscoSans Thin"/>
              </a:defRPr>
            </a:lvl1pPr>
          </a:lstStyle>
          <a:p>
            <a:r>
              <a:rPr lang="en-GB" dirty="0"/>
              <a:t>Section Title Goes Here</a:t>
            </a:r>
            <a:endParaRPr lang="en-US" dirty="0"/>
          </a:p>
        </p:txBody>
      </p:sp>
    </p:spTree>
    <p:extLst>
      <p:ext uri="{BB962C8B-B14F-4D97-AF65-F5344CB8AC3E}">
        <p14:creationId xmlns:p14="http://schemas.microsoft.com/office/powerpoint/2010/main" val="2660007468"/>
      </p:ext>
    </p:extLst>
  </p:cSld>
  <p:clrMapOvr>
    <a:masterClrMapping/>
  </p:clrMapOvr>
  <p:transition spd="slow">
    <p:wip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632883" y="1797053"/>
            <a:ext cx="11040076" cy="4098595"/>
          </a:xfrm>
          <a:prstGeom prst="rect">
            <a:avLst/>
          </a:prstGeom>
        </p:spPr>
        <p:txBody>
          <a:bodyPr lIns="91412" tIns="45710" rIns="91412" bIns="45710">
            <a:noAutofit/>
          </a:bodyPr>
          <a:lstStyle>
            <a:lvl1pPr marL="380873" marR="0" indent="-380873" algn="ctr" defTabSz="609395" rtl="0" eaLnBrk="1" fontAlgn="auto" latinLnBrk="0" hangingPunct="1">
              <a:lnSpc>
                <a:spcPct val="100000"/>
              </a:lnSpc>
              <a:spcBef>
                <a:spcPct val="20000"/>
              </a:spcBef>
              <a:spcAft>
                <a:spcPts val="0"/>
              </a:spcAft>
              <a:buClrTx/>
              <a:buSzTx/>
              <a:buFont typeface="Arial"/>
              <a:buNone/>
              <a:tabLst/>
              <a:defRPr sz="2700"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38962623"/>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91412" tIns="45710" rIns="91412" bIns="45710">
            <a:noAutofit/>
          </a:bodyPr>
          <a:lstStyle>
            <a:lvl1pPr marL="374524" indent="-298351">
              <a:lnSpc>
                <a:spcPct val="95000"/>
              </a:lnSpc>
              <a:spcBef>
                <a:spcPts val="1480"/>
              </a:spcBef>
              <a:buClr>
                <a:schemeClr val="tx1"/>
              </a:buClr>
              <a:buSzPct val="80000"/>
              <a:buFont typeface="Arial"/>
              <a:buChar char="•"/>
              <a:defRPr sz="4900" b="0" i="0">
                <a:solidFill>
                  <a:srgbClr val="676767"/>
                </a:solidFill>
                <a:latin typeface="+mn-lt"/>
                <a:cs typeface="CiscoSans ExtraLight"/>
              </a:defRPr>
            </a:lvl1pPr>
            <a:lvl2pPr marL="677110" indent="-287767">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622" indent="-228526">
              <a:buClr>
                <a:schemeClr val="tx1"/>
              </a:buClr>
              <a:buSzPct val="80000"/>
              <a:buFont typeface="Arial"/>
              <a:buChar char="•"/>
              <a:defRPr sz="2100" b="0" i="0">
                <a:solidFill>
                  <a:srgbClr val="676767"/>
                </a:solidFill>
                <a:latin typeface="+mn-lt"/>
                <a:cs typeface="CiscoSans ExtraLight"/>
              </a:defRPr>
            </a:lvl3pPr>
            <a:lvl4pPr marL="1214562" indent="-228526">
              <a:buClr>
                <a:schemeClr val="tx1"/>
              </a:buClr>
              <a:buSzPct val="80000"/>
              <a:buFont typeface="Arial"/>
              <a:buChar char="•"/>
              <a:defRPr sz="1900" b="0" i="0">
                <a:solidFill>
                  <a:srgbClr val="676767"/>
                </a:solidFill>
                <a:latin typeface="+mn-lt"/>
                <a:cs typeface="CiscoSans ExtraLight"/>
              </a:defRPr>
            </a:lvl4pPr>
            <a:lvl5pPr marL="1443087" indent="-224293">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4202481715"/>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91412" tIns="45710" rIns="91412" bIns="45710">
            <a:noAutofit/>
          </a:bodyPr>
          <a:lstStyle>
            <a:lvl1pPr marL="76171" indent="0">
              <a:lnSpc>
                <a:spcPct val="95000"/>
              </a:lnSpc>
              <a:spcBef>
                <a:spcPts val="1480"/>
              </a:spcBef>
              <a:buClr>
                <a:schemeClr val="tx1"/>
              </a:buClr>
              <a:buSzPct val="80000"/>
              <a:buFont typeface="Arial"/>
              <a:buNone/>
              <a:defRPr sz="4900" b="0" i="0">
                <a:solidFill>
                  <a:srgbClr val="676767"/>
                </a:solidFill>
                <a:latin typeface="+mn-lt"/>
                <a:cs typeface="CiscoSans ExtraLight"/>
              </a:defRPr>
            </a:lvl1pPr>
            <a:lvl2pPr marL="389340"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091" indent="0">
              <a:buClr>
                <a:schemeClr val="tx1"/>
              </a:buClr>
              <a:buSzPct val="80000"/>
              <a:buFont typeface="Arial"/>
              <a:buNone/>
              <a:defRPr sz="2100" b="0" i="0">
                <a:solidFill>
                  <a:srgbClr val="676767"/>
                </a:solidFill>
                <a:latin typeface="+mn-lt"/>
                <a:cs typeface="CiscoSans ExtraLight"/>
              </a:defRPr>
            </a:lvl3pPr>
            <a:lvl4pPr marL="986038" indent="0">
              <a:buClr>
                <a:schemeClr val="tx1"/>
              </a:buClr>
              <a:buSzPct val="80000"/>
              <a:buFont typeface="Arial"/>
              <a:buNone/>
              <a:defRPr sz="1900" b="0" i="0">
                <a:solidFill>
                  <a:srgbClr val="676767"/>
                </a:solidFill>
                <a:latin typeface="+mn-lt"/>
                <a:cs typeface="CiscoSans ExtraLight"/>
              </a:defRPr>
            </a:lvl4pPr>
            <a:lvl5pPr marL="1218796"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480644746"/>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19552" y="1194135"/>
            <a:ext cx="11198319" cy="4224280"/>
          </a:xfrm>
          <a:prstGeom prst="rect">
            <a:avLst/>
          </a:prstGeom>
        </p:spPr>
        <p:txBody>
          <a:bodyPr lIns="91412" tIns="45710" rIns="91412" bIns="45710">
            <a:noAutofit/>
          </a:bodyPr>
          <a:lstStyle>
            <a:lvl1pPr marL="76171" indent="0">
              <a:lnSpc>
                <a:spcPct val="95000"/>
              </a:lnSpc>
              <a:spcBef>
                <a:spcPts val="1480"/>
              </a:spcBef>
              <a:buClr>
                <a:schemeClr val="tx1"/>
              </a:buClr>
              <a:buSzPct val="80000"/>
              <a:buFont typeface="Arial"/>
              <a:buNone/>
              <a:defRPr sz="4900" b="0" i="0">
                <a:solidFill>
                  <a:srgbClr val="676767"/>
                </a:solidFill>
                <a:latin typeface="+mn-lt"/>
                <a:cs typeface="CiscoSans ExtraLight"/>
              </a:defRPr>
            </a:lvl1pPr>
            <a:lvl2pPr marL="389340"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091" indent="0">
              <a:buClr>
                <a:schemeClr val="tx1"/>
              </a:buClr>
              <a:buSzPct val="80000"/>
              <a:buFont typeface="Arial"/>
              <a:buNone/>
              <a:defRPr sz="2100" b="0" i="0">
                <a:solidFill>
                  <a:srgbClr val="676767"/>
                </a:solidFill>
                <a:latin typeface="+mn-lt"/>
                <a:cs typeface="CiscoSans ExtraLight"/>
              </a:defRPr>
            </a:lvl3pPr>
            <a:lvl4pPr marL="986038" indent="0">
              <a:buClr>
                <a:schemeClr val="tx1"/>
              </a:buClr>
              <a:buSzPct val="80000"/>
              <a:buFont typeface="Arial"/>
              <a:buNone/>
              <a:defRPr sz="1900" b="0" i="0">
                <a:solidFill>
                  <a:srgbClr val="676767"/>
                </a:solidFill>
                <a:latin typeface="+mn-lt"/>
                <a:cs typeface="CiscoSans ExtraLight"/>
              </a:defRPr>
            </a:lvl4pPr>
            <a:lvl5pPr marL="1218796"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3589966325"/>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04852" y="1168479"/>
            <a:ext cx="11013016" cy="4224280"/>
          </a:xfrm>
          <a:prstGeom prst="rect">
            <a:avLst/>
          </a:prstGeom>
        </p:spPr>
        <p:txBody>
          <a:bodyPr lIns="91412" tIns="45710" rIns="91412" bIns="45710">
            <a:noAutofit/>
          </a:bodyPr>
          <a:lstStyle>
            <a:lvl1pPr marL="283166" indent="-523138">
              <a:lnSpc>
                <a:spcPts val="5920"/>
              </a:lnSpc>
              <a:spcBef>
                <a:spcPts val="0"/>
              </a:spcBef>
              <a:buClr>
                <a:schemeClr val="tx1"/>
              </a:buClr>
              <a:buSzPct val="80000"/>
              <a:buFont typeface="Arial"/>
              <a:buChar char="•"/>
              <a:defRPr sz="4900" b="0" i="0">
                <a:solidFill>
                  <a:srgbClr val="676767"/>
                </a:solidFill>
                <a:latin typeface="+mn-lt"/>
                <a:cs typeface="CiscoSans ExtraLight"/>
              </a:defRPr>
            </a:lvl1pPr>
            <a:lvl2pPr marL="677110" indent="-287767">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622" indent="-228526">
              <a:buClr>
                <a:schemeClr val="tx1"/>
              </a:buClr>
              <a:buSzPct val="80000"/>
              <a:buFont typeface="Arial"/>
              <a:buChar char="•"/>
              <a:defRPr sz="2100" b="0" i="0">
                <a:solidFill>
                  <a:srgbClr val="676767"/>
                </a:solidFill>
                <a:latin typeface="+mn-lt"/>
                <a:cs typeface="CiscoSans ExtraLight"/>
              </a:defRPr>
            </a:lvl3pPr>
            <a:lvl4pPr marL="1214562" indent="-228526">
              <a:buClr>
                <a:schemeClr val="tx1"/>
              </a:buClr>
              <a:buSzPct val="80000"/>
              <a:buFont typeface="Arial"/>
              <a:buChar char="•"/>
              <a:defRPr sz="1900" b="0" i="0">
                <a:solidFill>
                  <a:srgbClr val="676767"/>
                </a:solidFill>
                <a:latin typeface="+mn-lt"/>
                <a:cs typeface="CiscoSans ExtraLight"/>
              </a:defRPr>
            </a:lvl4pPr>
            <a:lvl5pPr marL="1443087" indent="-224293">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1711819171"/>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20" tIns="45714" rIns="91420" bIns="45714" anchor="ctr"/>
          <a:lstStyle/>
          <a:p>
            <a:endParaRPr lang="en-US" sz="2400"/>
          </a:p>
        </p:txBody>
      </p:sp>
      <p:sp>
        <p:nvSpPr>
          <p:cNvPr id="4" name="Rectangle 6"/>
          <p:cNvSpPr>
            <a:spLocks noChangeArrowheads="1"/>
          </p:cNvSpPr>
          <p:nvPr/>
        </p:nvSpPr>
        <p:spPr bwMode="hidden">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20" tIns="45714" rIns="91420" bIns="45714" anchor="ctr"/>
          <a:lstStyle/>
          <a:p>
            <a:endParaRPr lang="en-US" sz="2400"/>
          </a:p>
        </p:txBody>
      </p:sp>
      <p:sp>
        <p:nvSpPr>
          <p:cNvPr id="7" name="Title 1"/>
          <p:cNvSpPr>
            <a:spLocks noGrp="1"/>
          </p:cNvSpPr>
          <p:nvPr>
            <p:ph type="ctrTitle" hasCustomPrompt="1"/>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00" b="0" i="0" spc="0" baseline="0">
                <a:solidFill>
                  <a:srgbClr val="3E6BB4"/>
                </a:solidFill>
                <a:latin typeface="+mj-lt"/>
                <a:cs typeface="CiscoSans Thin"/>
              </a:defRPr>
            </a:lvl1pPr>
          </a:lstStyle>
          <a:p>
            <a:r>
              <a:rPr lang="en-GB" dirty="0"/>
              <a:t>Section Title Goes Here</a:t>
            </a:r>
            <a:endParaRPr lang="en-US" dirty="0"/>
          </a:p>
        </p:txBody>
      </p:sp>
    </p:spTree>
    <p:extLst>
      <p:ext uri="{BB962C8B-B14F-4D97-AF65-F5344CB8AC3E}">
        <p14:creationId xmlns:p14="http://schemas.microsoft.com/office/powerpoint/2010/main" val="2595713544"/>
      </p:ext>
    </p:extLst>
  </p:cSld>
  <p:clrMapOvr>
    <a:masterClrMapping/>
  </p:clrMapOvr>
  <p:transition spd="slow">
    <p:wip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797051"/>
            <a:ext cx="11036459" cy="4224280"/>
          </a:xfrm>
          <a:prstGeom prst="rect">
            <a:avLst/>
          </a:prstGeom>
        </p:spPr>
        <p:txBody>
          <a:bodyPr lIns="91412" tIns="45710" rIns="91412" bIns="45710">
            <a:noAutofit/>
          </a:bodyPr>
          <a:lstStyle>
            <a:lvl1pPr marL="374524" indent="-298351">
              <a:lnSpc>
                <a:spcPct val="95000"/>
              </a:lnSpc>
              <a:spcBef>
                <a:spcPts val="1480"/>
              </a:spcBef>
              <a:buClr>
                <a:schemeClr val="tx1"/>
              </a:buClr>
              <a:buSzPct val="80000"/>
              <a:buFont typeface="Arial"/>
              <a:buChar char="•"/>
              <a:defRPr sz="2700" b="0" i="0">
                <a:solidFill>
                  <a:srgbClr val="676767"/>
                </a:solidFill>
                <a:latin typeface="+mn-lt"/>
                <a:cs typeface="CiscoSans ExtraLight"/>
              </a:defRPr>
            </a:lvl1pPr>
            <a:lvl2pPr marL="677110" indent="-287767">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622" indent="-228526">
              <a:buClr>
                <a:schemeClr val="tx1"/>
              </a:buClr>
              <a:buSzPct val="80000"/>
              <a:buFont typeface="Arial"/>
              <a:buChar char="•"/>
              <a:defRPr sz="2100" b="0" i="0">
                <a:solidFill>
                  <a:srgbClr val="676767"/>
                </a:solidFill>
                <a:latin typeface="+mn-lt"/>
                <a:cs typeface="CiscoSans ExtraLight"/>
              </a:defRPr>
            </a:lvl3pPr>
            <a:lvl4pPr marL="1214562" indent="-228526">
              <a:buClr>
                <a:schemeClr val="tx1"/>
              </a:buClr>
              <a:buSzPct val="80000"/>
              <a:buFont typeface="Arial"/>
              <a:buChar char="•"/>
              <a:defRPr sz="1900" b="0" i="0">
                <a:solidFill>
                  <a:srgbClr val="676767"/>
                </a:solidFill>
                <a:latin typeface="+mn-lt"/>
                <a:cs typeface="CiscoSans ExtraLight"/>
              </a:defRPr>
            </a:lvl4pPr>
            <a:lvl5pPr marL="1443087" indent="-224293">
              <a:buClr>
                <a:schemeClr val="tx1"/>
              </a:buClr>
              <a:buSzPct val="80000"/>
              <a:buFont typeface="Arial"/>
              <a:buChar char="•"/>
              <a:defRPr sz="16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17075240"/>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583694" y="1797051"/>
            <a:ext cx="5201497" cy="4110792"/>
          </a:xfrm>
          <a:prstGeom prst="rect">
            <a:avLst/>
          </a:prstGeom>
        </p:spPr>
        <p:txBody>
          <a:bodyPr lIns="91412" tIns="45710" rIns="91412" bIns="45710">
            <a:noAutofit/>
          </a:bodyPr>
          <a:lstStyle>
            <a:lvl1pPr marL="304700" indent="-228526">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95" indent="-287767">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26" indent="-228526">
              <a:buClr>
                <a:schemeClr val="tx1"/>
              </a:buClr>
              <a:buSzPct val="80000"/>
              <a:buFont typeface="Arial"/>
              <a:buChar char="•"/>
              <a:defRPr sz="2100" b="0" i="0">
                <a:solidFill>
                  <a:schemeClr val="tx1"/>
                </a:solidFill>
                <a:latin typeface="+mn-lt"/>
                <a:cs typeface="CiscoSans ExtraLight"/>
              </a:defRPr>
            </a:lvl3pPr>
            <a:lvl4pPr marL="1066445" indent="-228526">
              <a:buClr>
                <a:schemeClr val="tx1"/>
              </a:buClr>
              <a:buSzPct val="80000"/>
              <a:buFont typeface="Arial"/>
              <a:buChar char="•"/>
              <a:defRPr sz="1900" b="0" i="0">
                <a:solidFill>
                  <a:schemeClr val="tx1"/>
                </a:solidFill>
                <a:latin typeface="+mn-lt"/>
                <a:cs typeface="CiscoSans ExtraLight"/>
              </a:defRPr>
            </a:lvl4pPr>
            <a:lvl5pPr marL="1294969" indent="-228526">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6086392" y="1797051"/>
            <a:ext cx="5624613" cy="4110792"/>
          </a:xfrm>
          <a:prstGeom prst="rect">
            <a:avLst/>
          </a:prstGeom>
        </p:spPr>
        <p:txBody>
          <a:bodyPr lIns="91412" tIns="45710" rIns="91412" bIns="45710">
            <a:noAutofit/>
          </a:bodyPr>
          <a:lstStyle>
            <a:lvl1pPr marL="304700" indent="-228526">
              <a:lnSpc>
                <a:spcPct val="95000"/>
              </a:lnSpc>
              <a:spcBef>
                <a:spcPts val="1480"/>
              </a:spcBef>
              <a:buClr>
                <a:schemeClr val="tx1"/>
              </a:buClr>
              <a:buSzPct val="80000"/>
              <a:buFont typeface="Arial"/>
              <a:buChar char="•"/>
              <a:defRPr sz="2700" b="0" i="0" baseline="0">
                <a:solidFill>
                  <a:schemeClr val="tx1"/>
                </a:solidFill>
                <a:latin typeface="+mn-lt"/>
                <a:cs typeface="CiscoSans ExtraLight"/>
              </a:defRPr>
            </a:lvl1pPr>
            <a:lvl2pPr marL="609395" indent="-287767">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26" indent="-228526">
              <a:buClr>
                <a:schemeClr val="tx1"/>
              </a:buClr>
              <a:buSzPct val="80000"/>
              <a:buFont typeface="Arial"/>
              <a:buChar char="•"/>
              <a:defRPr sz="2100" b="0" i="0">
                <a:solidFill>
                  <a:schemeClr val="tx1"/>
                </a:solidFill>
                <a:latin typeface="+mn-lt"/>
                <a:cs typeface="CiscoSans ExtraLight"/>
              </a:defRPr>
            </a:lvl3pPr>
            <a:lvl4pPr marL="1066445" indent="-228526">
              <a:buClr>
                <a:schemeClr val="tx1"/>
              </a:buClr>
              <a:buSzPct val="80000"/>
              <a:buFont typeface="Arial"/>
              <a:buChar char="•"/>
              <a:defRPr sz="1900" b="0" i="0">
                <a:solidFill>
                  <a:schemeClr val="tx1"/>
                </a:solidFill>
                <a:latin typeface="+mn-lt"/>
                <a:cs typeface="CiscoSans ExtraLight"/>
              </a:defRPr>
            </a:lvl4pPr>
            <a:lvl5pPr marL="1294969" indent="-228526">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303442857"/>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6087960" y="812806"/>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907" y="403346"/>
            <a:ext cx="4954660" cy="1101929"/>
          </a:xfrm>
          <a:prstGeom prst="rect">
            <a:avLst/>
          </a:prstGeom>
        </p:spPr>
        <p:txBody>
          <a:bodyPr lIns="61706" tIns="34286" rIns="61706" bIns="34286" rtlCol="0">
            <a:noAutofit/>
          </a:bodyPr>
          <a:lstStyle>
            <a:lvl1pPr algn="l" defTabSz="914180" rtl="0" eaLnBrk="1" latinLnBrk="0" hangingPunct="1">
              <a:lnSpc>
                <a:spcPct val="80000"/>
              </a:lnSpc>
              <a:spcBef>
                <a:spcPct val="0"/>
              </a:spcBef>
              <a:buNone/>
              <a:defRPr lang="en-US" sz="4300" b="0" i="0" kern="1200" spc="-100"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6541287" y="403341"/>
            <a:ext cx="4954660" cy="1101928"/>
          </a:xfrm>
          <a:prstGeom prst="rect">
            <a:avLst/>
          </a:prstGeom>
        </p:spPr>
        <p:txBody>
          <a:bodyPr lIns="91412" tIns="45710" rIns="91412" bIns="45710" anchor="ctr" anchorCtr="0">
            <a:noAutofit/>
          </a:bodyPr>
          <a:lstStyle>
            <a:lvl1pPr marL="0" marR="0" indent="0" algn="l" defTabSz="914180" rtl="0" eaLnBrk="1" fontAlgn="auto" latinLnBrk="0" hangingPunct="1">
              <a:lnSpc>
                <a:spcPct val="80000"/>
              </a:lnSpc>
              <a:spcBef>
                <a:spcPct val="0"/>
              </a:spcBef>
              <a:spcAft>
                <a:spcPts val="0"/>
              </a:spcAft>
              <a:buClrTx/>
              <a:buSzTx/>
              <a:buFontTx/>
              <a:buNone/>
              <a:tabLst/>
              <a:defRPr lang="en-US" sz="4300" b="0" i="0" kern="1200" spc="-100"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623907" y="1797051"/>
            <a:ext cx="4954660" cy="4110792"/>
          </a:xfrm>
          <a:prstGeom prst="rect">
            <a:avLst/>
          </a:prstGeom>
        </p:spPr>
        <p:txBody>
          <a:bodyPr lIns="91412" tIns="45710" rIns="91412" bIns="45710">
            <a:noAutofit/>
          </a:bodyPr>
          <a:lstStyle>
            <a:lvl1pPr marL="304700" indent="-228526">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95" indent="-287767">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26" indent="-228526">
              <a:buClr>
                <a:schemeClr val="tx1"/>
              </a:buClr>
              <a:buSzPct val="80000"/>
              <a:buFont typeface="Arial"/>
              <a:buChar char="•"/>
              <a:defRPr sz="2100" b="0" i="0">
                <a:solidFill>
                  <a:schemeClr val="tx1"/>
                </a:solidFill>
                <a:latin typeface="+mn-lt"/>
                <a:cs typeface="CiscoSans ExtraLight"/>
              </a:defRPr>
            </a:lvl3pPr>
            <a:lvl4pPr marL="1066445" indent="-228526">
              <a:buClr>
                <a:schemeClr val="tx1"/>
              </a:buClr>
              <a:buSzPct val="80000"/>
              <a:buFont typeface="Arial"/>
              <a:buChar char="•"/>
              <a:defRPr sz="1900" b="0" i="0">
                <a:solidFill>
                  <a:schemeClr val="tx1"/>
                </a:solidFill>
                <a:latin typeface="+mn-lt"/>
                <a:cs typeface="CiscoSans ExtraLight"/>
              </a:defRPr>
            </a:lvl4pPr>
            <a:lvl5pPr marL="1294969" indent="-228526">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6541287" y="1797051"/>
            <a:ext cx="4954660" cy="4110792"/>
          </a:xfrm>
          <a:prstGeom prst="rect">
            <a:avLst/>
          </a:prstGeom>
        </p:spPr>
        <p:txBody>
          <a:bodyPr lIns="91412" tIns="45710" rIns="91412" bIns="45710">
            <a:noAutofit/>
          </a:bodyPr>
          <a:lstStyle>
            <a:lvl1pPr marL="304700" indent="-228526">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95" indent="-287767">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26" indent="-228526">
              <a:buClr>
                <a:schemeClr val="tx1"/>
              </a:buClr>
              <a:buSzPct val="80000"/>
              <a:buFont typeface="Arial"/>
              <a:buChar char="•"/>
              <a:defRPr sz="2100" b="0" i="0">
                <a:solidFill>
                  <a:schemeClr val="tx1"/>
                </a:solidFill>
                <a:latin typeface="+mn-lt"/>
                <a:cs typeface="CiscoSans ExtraLight"/>
              </a:defRPr>
            </a:lvl3pPr>
            <a:lvl4pPr marL="1066445" indent="-228526">
              <a:buClr>
                <a:schemeClr val="tx1"/>
              </a:buClr>
              <a:buSzPct val="80000"/>
              <a:buFont typeface="Arial"/>
              <a:buChar char="•"/>
              <a:defRPr sz="1900" b="0" i="0">
                <a:solidFill>
                  <a:schemeClr val="tx1"/>
                </a:solidFill>
                <a:latin typeface="+mn-lt"/>
                <a:cs typeface="CiscoSans ExtraLight"/>
              </a:defRPr>
            </a:lvl4pPr>
            <a:lvl5pPr marL="1294969" indent="-228526">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939836904"/>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4093633" y="812806"/>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49684" y="812806"/>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615957" y="304430"/>
            <a:ext cx="3116145" cy="1027281"/>
          </a:xfrm>
          <a:prstGeom prst="rect">
            <a:avLst/>
          </a:prstGeom>
        </p:spPr>
        <p:txBody>
          <a:bodyPr lIns="91412" tIns="45710" rIns="91412" bIns="45710" anchor="b" anchorCtr="0">
            <a:noAutofit/>
          </a:bodyPr>
          <a:lstStyle>
            <a:lvl1pPr marL="0" marR="0" indent="0" algn="l" defTabSz="914180"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4503644" y="303790"/>
            <a:ext cx="3116145" cy="1027281"/>
          </a:xfrm>
          <a:prstGeom prst="rect">
            <a:avLst/>
          </a:prstGeom>
        </p:spPr>
        <p:txBody>
          <a:bodyPr lIns="91412" tIns="45710" rIns="91412" bIns="45710" anchor="b" anchorCtr="0">
            <a:noAutofit/>
          </a:bodyPr>
          <a:lstStyle>
            <a:lvl1pPr marL="0" marR="0" indent="0" algn="l" defTabSz="914180"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8473090" y="293977"/>
            <a:ext cx="3116145" cy="1027281"/>
          </a:xfrm>
          <a:prstGeom prst="rect">
            <a:avLst/>
          </a:prstGeom>
        </p:spPr>
        <p:txBody>
          <a:bodyPr lIns="91412" tIns="45710" rIns="91412" bIns="45710" anchor="b" anchorCtr="0">
            <a:noAutofit/>
          </a:bodyPr>
          <a:lstStyle>
            <a:lvl1pPr marL="0" marR="0" indent="0" algn="l" defTabSz="914180"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615953" y="1601459"/>
            <a:ext cx="3116147" cy="4419872"/>
          </a:xfrm>
          <a:prstGeom prst="rect">
            <a:avLst/>
          </a:prstGeom>
        </p:spPr>
        <p:txBody>
          <a:bodyPr lIns="91412" tIns="45710" rIns="91412" bIns="45710">
            <a:noAutofit/>
          </a:bodyPr>
          <a:lstStyle>
            <a:lvl1pPr marL="311048" indent="-228526">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810" indent="-228526">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4503637" y="1600428"/>
            <a:ext cx="3116147" cy="4419872"/>
          </a:xfrm>
          <a:prstGeom prst="rect">
            <a:avLst/>
          </a:prstGeom>
        </p:spPr>
        <p:txBody>
          <a:bodyPr lIns="91412" tIns="45710" rIns="91412" bIns="45710">
            <a:noAutofit/>
          </a:bodyPr>
          <a:lstStyle>
            <a:lvl1pPr marL="311048" indent="-228526">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810" indent="-228526">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8473085" y="1600428"/>
            <a:ext cx="3116147" cy="4419872"/>
          </a:xfrm>
          <a:prstGeom prst="rect">
            <a:avLst/>
          </a:prstGeom>
        </p:spPr>
        <p:txBody>
          <a:bodyPr lIns="91412" tIns="45710" rIns="91412" bIns="45710">
            <a:noAutofit/>
          </a:bodyPr>
          <a:lstStyle>
            <a:lvl1pPr marL="311048" indent="-228526">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810" indent="-228526">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024328800"/>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6760635" y="1773768"/>
            <a:ext cx="4950372" cy="413596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82" tIns="60941" rIns="121882" bIns="60941" anchor="ctr"/>
          <a:lstStyle/>
          <a:p>
            <a:pPr algn="ctr">
              <a:defRPr/>
            </a:pPr>
            <a:endParaRPr lang="en-US" sz="2400">
              <a:solidFill>
                <a:srgbClr val="FFFFFF"/>
              </a:solidFill>
              <a:latin typeface="Arial"/>
            </a:endParaRPr>
          </a:p>
        </p:txBody>
      </p:sp>
      <p:sp>
        <p:nvSpPr>
          <p:cNvPr id="12" name="Text Placeholder 11"/>
          <p:cNvSpPr>
            <a:spLocks noGrp="1"/>
          </p:cNvSpPr>
          <p:nvPr>
            <p:ph type="body" sz="quarter" idx="11" hasCustomPrompt="1"/>
          </p:nvPr>
        </p:nvSpPr>
        <p:spPr>
          <a:xfrm>
            <a:off x="6864941" y="1975668"/>
            <a:ext cx="4501216" cy="2212024"/>
          </a:xfrm>
          <a:prstGeom prst="rect">
            <a:avLst/>
          </a:prstGeom>
        </p:spPr>
        <p:txBody>
          <a:bodyPr lIns="91412" tIns="45710" rIns="91412" bIns="45710">
            <a:noAutofit/>
          </a:bodyPr>
          <a:lstStyle>
            <a:lvl1pPr marL="114277" indent="-114277" algn="l" defTabSz="914180" rtl="0" eaLnBrk="1" latinLnBrk="0" hangingPunct="1">
              <a:lnSpc>
                <a:spcPct val="90000"/>
              </a:lnSpc>
              <a:spcBef>
                <a:spcPts val="0"/>
              </a:spcBef>
              <a:buNone/>
              <a:defRPr lang="en-US" sz="2000" kern="1200" baseline="0" dirty="0" smtClean="0">
                <a:solidFill>
                  <a:schemeClr val="tx2"/>
                </a:solidFill>
                <a:latin typeface="+mn-lt"/>
                <a:ea typeface="+mn-ea"/>
                <a:cs typeface="CiscoSans ExtraLight"/>
              </a:defRPr>
            </a:lvl1pPr>
            <a:lvl2pPr marL="114277" indent="-114277" algn="l" defTabSz="914180" rtl="0" eaLnBrk="1" latinLnBrk="0" hangingPunct="1">
              <a:defRPr lang="en-US" sz="2000" kern="1200" dirty="0" smtClean="0">
                <a:solidFill>
                  <a:schemeClr val="accent2"/>
                </a:solidFill>
                <a:latin typeface="Ciscolight" pitchFamily="2" charset="0"/>
                <a:ea typeface="+mn-ea"/>
                <a:cs typeface="+mn-cs"/>
              </a:defRPr>
            </a:lvl2pPr>
            <a:lvl3pPr marL="114277" indent="-114277" algn="l" defTabSz="914180" rtl="0" eaLnBrk="1" latinLnBrk="0" hangingPunct="1">
              <a:defRPr lang="en-US" sz="2000" kern="1200" dirty="0" smtClean="0">
                <a:solidFill>
                  <a:schemeClr val="accent2"/>
                </a:solidFill>
                <a:latin typeface="Ciscolight" pitchFamily="2" charset="0"/>
                <a:ea typeface="+mn-ea"/>
                <a:cs typeface="+mn-cs"/>
              </a:defRPr>
            </a:lvl3pPr>
            <a:lvl4pPr marL="114277" indent="-114277" algn="l" defTabSz="914180" rtl="0" eaLnBrk="1" latinLnBrk="0" hangingPunct="1">
              <a:defRPr lang="en-US" sz="2000" kern="1200" dirty="0" smtClean="0">
                <a:solidFill>
                  <a:schemeClr val="accent2"/>
                </a:solidFill>
                <a:latin typeface="Ciscolight" pitchFamily="2" charset="0"/>
                <a:ea typeface="+mn-ea"/>
                <a:cs typeface="+mn-cs"/>
              </a:defRPr>
            </a:lvl4pPr>
            <a:lvl5pPr marL="114277" indent="-114277" algn="l" defTabSz="914180" rtl="0" eaLnBrk="1" latinLnBrk="0" hangingPunct="1">
              <a:defRPr lang="en-US" sz="20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6864948" y="4736592"/>
            <a:ext cx="4674993" cy="338328"/>
          </a:xfrm>
          <a:prstGeom prst="rect">
            <a:avLst/>
          </a:prstGeom>
        </p:spPr>
        <p:txBody>
          <a:bodyPr lIns="91412" tIns="45710" rIns="91412" bIns="45710">
            <a:noAutofit/>
          </a:bodyPr>
          <a:lstStyle>
            <a:lvl1pPr marL="0" indent="0">
              <a:buClr>
                <a:schemeClr val="tx2"/>
              </a:buClr>
              <a:buFontTx/>
              <a:buNone/>
              <a:defRPr sz="16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583694" y="1797051"/>
            <a:ext cx="5201497" cy="4110792"/>
          </a:xfrm>
          <a:prstGeom prst="rect">
            <a:avLst/>
          </a:prstGeom>
        </p:spPr>
        <p:txBody>
          <a:bodyPr lIns="91412" tIns="45710" rIns="91412" bIns="45710">
            <a:noAutofit/>
          </a:bodyPr>
          <a:lstStyle>
            <a:lvl1pPr marL="304700" indent="-228526">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95" indent="-287767">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926" indent="-228526">
              <a:buClr>
                <a:schemeClr val="tx1"/>
              </a:buClr>
              <a:buSzPct val="80000"/>
              <a:buFont typeface="Arial"/>
              <a:buChar char="•"/>
              <a:defRPr sz="2100" b="0" i="0">
                <a:solidFill>
                  <a:schemeClr val="tx1"/>
                </a:solidFill>
                <a:latin typeface="+mn-lt"/>
                <a:cs typeface="CiscoSans ExtraLight"/>
              </a:defRPr>
            </a:lvl3pPr>
            <a:lvl4pPr marL="1066445" indent="-228526">
              <a:buClr>
                <a:schemeClr val="tx1"/>
              </a:buClr>
              <a:buSzPct val="80000"/>
              <a:buFont typeface="Arial"/>
              <a:buChar char="•"/>
              <a:defRPr sz="1900" b="0" i="0">
                <a:solidFill>
                  <a:schemeClr val="tx1"/>
                </a:solidFill>
                <a:latin typeface="+mn-lt"/>
                <a:cs typeface="CiscoSans ExtraLight"/>
              </a:defRPr>
            </a:lvl4pPr>
            <a:lvl5pPr marL="1294969" indent="-228526">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326730079"/>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4120927648"/>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624417" y="5221411"/>
            <a:ext cx="10389144" cy="465808"/>
          </a:xfrm>
          <a:prstGeom prst="rect">
            <a:avLst/>
          </a:prstGeom>
        </p:spPr>
        <p:txBody>
          <a:bodyPr wrap="square" lIns="91412" tIns="45710" rIns="91412" bIns="45710" anchor="b" anchorCtr="0">
            <a:noAutofit/>
          </a:bodyPr>
          <a:lstStyle>
            <a:lvl1pPr marL="0" indent="0" algn="l" defTabSz="804667">
              <a:lnSpc>
                <a:spcPct val="100000"/>
              </a:lnSpc>
              <a:spcBef>
                <a:spcPct val="50000"/>
              </a:spcBef>
              <a:buNone/>
              <a:defRPr sz="29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Click to edit text </a:t>
            </a:r>
          </a:p>
        </p:txBody>
      </p:sp>
      <p:sp>
        <p:nvSpPr>
          <p:cNvPr id="4" name="Title 1"/>
          <p:cNvSpPr>
            <a:spLocks noGrp="1"/>
          </p:cNvSpPr>
          <p:nvPr>
            <p:ph type="ctrTitle" hasCustomPrompt="1"/>
          </p:nvPr>
        </p:nvSpPr>
        <p:spPr>
          <a:xfrm>
            <a:off x="383897" y="2054074"/>
            <a:ext cx="10629664" cy="3038449"/>
          </a:xfrm>
          <a:prstGeom prst="rect">
            <a:avLst/>
          </a:prstGeom>
        </p:spPr>
        <p:txBody>
          <a:bodyPr anchor="ctr">
            <a:noAutofit/>
          </a:bodyPr>
          <a:lstStyle>
            <a:lvl1pPr marL="244771" indent="-533224" algn="l">
              <a:lnSpc>
                <a:spcPct val="90000"/>
              </a:lnSpc>
              <a:defRPr sz="6100"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3993567450"/>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6146928" y="812806"/>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618352" y="1918753"/>
            <a:ext cx="5093797" cy="3020519"/>
          </a:xfrm>
        </p:spPr>
        <p:txBody>
          <a:bodyPr lIns="61709" tIns="34286" rIns="61709" bIns="34286" rtlCol="0" anchor="ctr">
            <a:noAutofit/>
          </a:bodyPr>
          <a:lstStyle>
            <a:lvl1pPr marL="0" indent="0" algn="l" defTabSz="914217" rtl="0" eaLnBrk="1" latinLnBrk="0" hangingPunct="1">
              <a:lnSpc>
                <a:spcPct val="80000"/>
              </a:lnSpc>
              <a:spcBef>
                <a:spcPct val="0"/>
              </a:spcBef>
              <a:buClr>
                <a:schemeClr val="tx1"/>
              </a:buClr>
              <a:buFont typeface="Ciscolight" pitchFamily="2" charset="0"/>
              <a:buNone/>
              <a:defRPr lang="en-US" sz="6000"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6563361" y="872691"/>
            <a:ext cx="5154507" cy="5120640"/>
          </a:xfrm>
          <a:prstGeom prst="rect">
            <a:avLst/>
          </a:prstGeom>
        </p:spPr>
        <p:txBody>
          <a:bodyPr lIns="91412" tIns="45710" rIns="91412" bIns="45710" anchor="ctr" anchorCtr="0">
            <a:noAutofit/>
          </a:bodyPr>
          <a:lstStyle>
            <a:lvl1pPr marL="0" indent="0">
              <a:buFontTx/>
              <a:buNone/>
              <a:defRPr sz="2100" baseline="0">
                <a:solidFill>
                  <a:schemeClr val="tx1"/>
                </a:solidFill>
                <a:latin typeface="+mn-lt"/>
              </a:defRPr>
            </a:lvl1pPr>
            <a:lvl2pPr>
              <a:defRPr sz="2000"/>
            </a:lvl2pPr>
            <a:lvl3pPr>
              <a:defRPr sz="2000"/>
            </a:lvl3pPr>
            <a:lvl4pPr>
              <a:defRPr sz="2000"/>
            </a:lvl4pPr>
            <a:lvl5pPr>
              <a:defRPr sz="2000"/>
            </a:lvl5pPr>
          </a:lstStyle>
          <a:p>
            <a:pPr lvl="0"/>
            <a:r>
              <a:rPr lang="en-GB" dirty="0"/>
              <a:t>Click to edit text</a:t>
            </a:r>
          </a:p>
        </p:txBody>
      </p:sp>
    </p:spTree>
    <p:extLst>
      <p:ext uri="{BB962C8B-B14F-4D97-AF65-F5344CB8AC3E}">
        <p14:creationId xmlns:p14="http://schemas.microsoft.com/office/powerpoint/2010/main" val="3453894873"/>
      </p:ext>
    </p:extLst>
  </p:cSld>
  <p:clrMapOvr>
    <a:masterClrMapping/>
  </p:clrMapOvr>
  <p:transition spd="slow">
    <p:wip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83688" y="1797053"/>
            <a:ext cx="11127317" cy="3544971"/>
          </a:xfrm>
          <a:prstGeom prst="rect">
            <a:avLst/>
          </a:prstGeom>
        </p:spPr>
        <p:txBody>
          <a:bodyPr lIns="91412" tIns="45710" rIns="91412" bIns="45710">
            <a:noAutofit/>
          </a:bodyPr>
          <a:lstStyle>
            <a:lvl1pPr marL="0" indent="0" algn="ctr">
              <a:buNone/>
              <a:defRPr sz="27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hasCustomPrompt="1"/>
          </p:nvPr>
        </p:nvSpPr>
        <p:spPr>
          <a:xfrm>
            <a:off x="583692" y="5530966"/>
            <a:ext cx="9573749" cy="434977"/>
          </a:xfrm>
          <a:prstGeom prst="rect">
            <a:avLst/>
          </a:prstGeom>
        </p:spPr>
        <p:txBody>
          <a:bodyPr wrap="square" lIns="91412" tIns="45710" rIns="91412" bIns="45710" anchor="b" anchorCtr="0">
            <a:noAutofit/>
          </a:bodyPr>
          <a:lstStyle>
            <a:lvl1pPr algn="l" defTabSz="804667">
              <a:lnSpc>
                <a:spcPct val="100000"/>
              </a:lnSpc>
              <a:spcBef>
                <a:spcPct val="50000"/>
              </a:spcBef>
              <a:buNone/>
              <a:defRPr sz="21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Source</a:t>
            </a:r>
          </a:p>
        </p:txBody>
      </p:sp>
      <p:sp>
        <p:nvSpPr>
          <p:cNvPr id="5" name="Title Placeholder 5"/>
          <p:cNvSpPr>
            <a:spLocks noGrp="1"/>
          </p:cNvSpPr>
          <p:nvPr>
            <p:ph type="title" hasCustomPrompt="1"/>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2599600586"/>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83688" y="1799168"/>
            <a:ext cx="11127317" cy="3547533"/>
          </a:xfrm>
          <a:prstGeom prst="rect">
            <a:avLst/>
          </a:prstGeom>
        </p:spPr>
        <p:txBody>
          <a:bodyPr vert="horz" lIns="91412" tIns="45710" rIns="91412" bIns="45710">
            <a:noAutofit/>
          </a:bodyPr>
          <a:lstStyle>
            <a:lvl1pPr marL="0" indent="0" algn="ctr">
              <a:buNone/>
              <a:defRPr sz="27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hasCustomPrompt="1"/>
          </p:nvPr>
        </p:nvSpPr>
        <p:spPr>
          <a:xfrm>
            <a:off x="583692" y="5530966"/>
            <a:ext cx="9573749" cy="434977"/>
          </a:xfrm>
          <a:prstGeom prst="rect">
            <a:avLst/>
          </a:prstGeom>
        </p:spPr>
        <p:txBody>
          <a:bodyPr wrap="square" lIns="91412" tIns="45710" rIns="91412" bIns="45710" anchor="b" anchorCtr="0">
            <a:noAutofit/>
          </a:bodyPr>
          <a:lstStyle>
            <a:lvl1pPr algn="l" defTabSz="804667">
              <a:lnSpc>
                <a:spcPct val="100000"/>
              </a:lnSpc>
              <a:spcBef>
                <a:spcPct val="50000"/>
              </a:spcBef>
              <a:buNone/>
              <a:defRPr sz="21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Source</a:t>
            </a:r>
          </a:p>
        </p:txBody>
      </p:sp>
      <p:sp>
        <p:nvSpPr>
          <p:cNvPr id="5"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461664536"/>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632883" y="1797053"/>
            <a:ext cx="11040076" cy="4098595"/>
          </a:xfrm>
          <a:prstGeom prst="rect">
            <a:avLst/>
          </a:prstGeom>
        </p:spPr>
        <p:txBody>
          <a:bodyPr lIns="91412" tIns="45710" rIns="91412" bIns="45710">
            <a:noAutofit/>
          </a:bodyPr>
          <a:lstStyle>
            <a:lvl1pPr marL="380873" marR="0" indent="-380873" algn="ctr" defTabSz="609395" rtl="0" eaLnBrk="1" fontAlgn="auto" latinLnBrk="0" hangingPunct="1">
              <a:lnSpc>
                <a:spcPct val="100000"/>
              </a:lnSpc>
              <a:spcBef>
                <a:spcPct val="20000"/>
              </a:spcBef>
              <a:spcAft>
                <a:spcPts val="0"/>
              </a:spcAft>
              <a:buClrTx/>
              <a:buSzTx/>
              <a:buFont typeface="Arial"/>
              <a:buNone/>
              <a:tabLst/>
              <a:defRPr sz="2700"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490236704"/>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691" y="1799275"/>
            <a:ext cx="5342668" cy="4054364"/>
          </a:xfrm>
          <a:prstGeom prst="rect">
            <a:avLst/>
          </a:prstGeom>
        </p:spPr>
        <p:txBody>
          <a:bodyPr lIns="91412" tIns="45710" rIns="91412" bIns="45710" anchor="ctr" anchorCtr="0">
            <a:noAutofit/>
          </a:bodyPr>
          <a:lstStyle>
            <a:lvl1pPr marL="0" indent="0">
              <a:buNone/>
              <a:defRPr sz="32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3" name="Chart Placeholder 2"/>
          <p:cNvSpPr>
            <a:spLocks noGrp="1"/>
          </p:cNvSpPr>
          <p:nvPr>
            <p:ph type="chart" sz="quarter" idx="12"/>
          </p:nvPr>
        </p:nvSpPr>
        <p:spPr>
          <a:xfrm>
            <a:off x="6279877" y="1799172"/>
            <a:ext cx="5431128" cy="4052529"/>
          </a:xfrm>
          <a:prstGeom prst="rect">
            <a:avLst/>
          </a:prstGeom>
        </p:spPr>
        <p:txBody>
          <a:bodyPr vert="horz" lIns="91412" tIns="45710" rIns="91412" bIns="45710">
            <a:noAutofit/>
          </a:bodyPr>
          <a:lstStyle>
            <a:lvl1pPr marL="0" indent="0" algn="ctr">
              <a:buNone/>
              <a:defRPr sz="2700">
                <a:solidFill>
                  <a:schemeClr val="tx1"/>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786250091"/>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583691" y="1799139"/>
            <a:ext cx="5338660" cy="4054500"/>
          </a:xfrm>
          <a:prstGeom prst="rect">
            <a:avLst/>
          </a:prstGeom>
        </p:spPr>
        <p:txBody>
          <a:bodyPr lIns="91412" tIns="45710" rIns="91412" bIns="45710" anchor="ctr" anchorCtr="0">
            <a:noAutofit/>
          </a:bodyPr>
          <a:lstStyle>
            <a:lvl1pPr marL="0" indent="0">
              <a:buNone/>
              <a:defRPr sz="32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Picture Placeholder 2"/>
          <p:cNvSpPr>
            <a:spLocks noGrp="1"/>
          </p:cNvSpPr>
          <p:nvPr>
            <p:ph type="pic" sz="quarter" idx="10"/>
          </p:nvPr>
        </p:nvSpPr>
        <p:spPr>
          <a:xfrm>
            <a:off x="6277480" y="1799167"/>
            <a:ext cx="5433525" cy="4054944"/>
          </a:xfrm>
          <a:prstGeom prst="rect">
            <a:avLst/>
          </a:prstGeom>
        </p:spPr>
        <p:txBody>
          <a:bodyPr vert="horz" lIns="91412" tIns="45710" rIns="91412" bIns="45710">
            <a:noAutofit/>
          </a:bodyPr>
          <a:lstStyle>
            <a:lvl1pPr marL="0" indent="0" algn="ctr">
              <a:buNone/>
              <a:defRPr sz="2700" b="0" i="0">
                <a:solidFill>
                  <a:schemeClr val="tx1"/>
                </a:solidFill>
                <a:latin typeface="+mn-lt"/>
                <a:cs typeface="CiscoSans ExtraLight"/>
              </a:defRPr>
            </a:lvl1pPr>
          </a:lstStyle>
          <a:p>
            <a:pPr lvl="0"/>
            <a:r>
              <a:rPr lang="en-US" noProof="0"/>
              <a:t>Click icon to add picture</a:t>
            </a:r>
            <a:endParaRPr lang="en-US" noProof="0" dirty="0"/>
          </a:p>
        </p:txBody>
      </p:sp>
      <p:sp>
        <p:nvSpPr>
          <p:cNvPr id="5"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527199812"/>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p:cNvSpPr/>
          <p:nvPr/>
        </p:nvSpPr>
        <p:spPr>
          <a:xfrm>
            <a:off x="8113489" y="2163193"/>
            <a:ext cx="3091419" cy="3091419"/>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rtlCol="0" anchor="ctr"/>
          <a:lstStyle/>
          <a:p>
            <a:pPr algn="ctr"/>
            <a:endParaRPr lang="en-US" sz="2400" dirty="0">
              <a:solidFill>
                <a:srgbClr val="FFFFFF"/>
              </a:solidFill>
              <a:latin typeface="Arial"/>
              <a:cs typeface="Arial"/>
            </a:endParaRPr>
          </a:p>
        </p:txBody>
      </p:sp>
      <p:sp>
        <p:nvSpPr>
          <p:cNvPr id="4" name="Oval 3"/>
          <p:cNvSpPr/>
          <p:nvPr/>
        </p:nvSpPr>
        <p:spPr>
          <a:xfrm>
            <a:off x="4564309" y="2163193"/>
            <a:ext cx="3091419" cy="3091419"/>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rtlCol="0" anchor="ctr"/>
          <a:lstStyle/>
          <a:p>
            <a:pPr algn="ctr"/>
            <a:endParaRPr lang="en-US" sz="2400" dirty="0">
              <a:solidFill>
                <a:srgbClr val="FFFFFF"/>
              </a:solidFill>
              <a:latin typeface="Arial"/>
              <a:cs typeface="Arial"/>
            </a:endParaRPr>
          </a:p>
        </p:txBody>
      </p:sp>
      <p:sp>
        <p:nvSpPr>
          <p:cNvPr id="7" name="Oval 6"/>
          <p:cNvSpPr/>
          <p:nvPr/>
        </p:nvSpPr>
        <p:spPr>
          <a:xfrm>
            <a:off x="1019029" y="2163193"/>
            <a:ext cx="3091419" cy="3091419"/>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rtlCol="0" anchor="ctr"/>
          <a:lstStyle/>
          <a:p>
            <a:pPr algn="ctr"/>
            <a:endParaRPr lang="en-US" sz="2400" dirty="0">
              <a:solidFill>
                <a:srgbClr val="FFFFFF"/>
              </a:solidFill>
              <a:latin typeface="Arial"/>
              <a:cs typeface="Arial"/>
            </a:endParaRPr>
          </a:p>
        </p:txBody>
      </p:sp>
      <p:sp>
        <p:nvSpPr>
          <p:cNvPr id="17" name="Text Placeholder 17"/>
          <p:cNvSpPr>
            <a:spLocks noGrp="1"/>
          </p:cNvSpPr>
          <p:nvPr>
            <p:ph type="body" sz="quarter" idx="11" hasCustomPrompt="1"/>
          </p:nvPr>
        </p:nvSpPr>
        <p:spPr>
          <a:xfrm>
            <a:off x="1036648" y="3733529"/>
            <a:ext cx="3056181" cy="804881"/>
          </a:xfrm>
          <a:prstGeom prst="rect">
            <a:avLst/>
          </a:prstGeom>
        </p:spPr>
        <p:txBody>
          <a:bodyPr lIns="91412" tIns="45710" rIns="91412" bIns="45710"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8" name="Text Placeholder 17"/>
          <p:cNvSpPr>
            <a:spLocks noGrp="1"/>
          </p:cNvSpPr>
          <p:nvPr>
            <p:ph type="body" sz="quarter" idx="12" hasCustomPrompt="1"/>
          </p:nvPr>
        </p:nvSpPr>
        <p:spPr>
          <a:xfrm>
            <a:off x="4581928" y="3730933"/>
            <a:ext cx="3056181" cy="804881"/>
          </a:xfrm>
          <a:prstGeom prst="rect">
            <a:avLst/>
          </a:prstGeom>
        </p:spPr>
        <p:txBody>
          <a:bodyPr lIns="91412" tIns="45710" rIns="91412" bIns="45710"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9" name="Text Placeholder 17"/>
          <p:cNvSpPr>
            <a:spLocks noGrp="1"/>
          </p:cNvSpPr>
          <p:nvPr>
            <p:ph type="body" sz="quarter" idx="13" hasCustomPrompt="1"/>
          </p:nvPr>
        </p:nvSpPr>
        <p:spPr>
          <a:xfrm>
            <a:off x="8131108" y="3730933"/>
            <a:ext cx="3056181" cy="804881"/>
          </a:xfrm>
          <a:prstGeom prst="rect">
            <a:avLst/>
          </a:prstGeom>
        </p:spPr>
        <p:txBody>
          <a:bodyPr lIns="91412" tIns="45710" rIns="91412" bIns="45710" anchor="ctr" anchorCtr="0">
            <a:noAutofit/>
          </a:bodyPr>
          <a:lstStyle>
            <a:lvl1pPr marL="0" indent="0" algn="ctr">
              <a:buNone/>
              <a:defRPr sz="27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4" name="Picture Placeholder 5"/>
          <p:cNvSpPr>
            <a:spLocks noGrp="1"/>
          </p:cNvSpPr>
          <p:nvPr>
            <p:ph type="pic" sz="quarter" idx="14" hasCustomPrompt="1"/>
          </p:nvPr>
        </p:nvSpPr>
        <p:spPr>
          <a:xfrm>
            <a:off x="2027767" y="2857372"/>
            <a:ext cx="1051984" cy="1051984"/>
          </a:xfrm>
          <a:prstGeom prst="rect">
            <a:avLst/>
          </a:prstGeom>
        </p:spPr>
        <p:txBody>
          <a:bodyPr vert="horz" lIns="91432" tIns="45718" rIns="91432" bIns="45718"/>
          <a:lstStyle>
            <a:lvl1pPr marL="0" indent="0" algn="ctr">
              <a:buNone/>
              <a:defRPr sz="1600">
                <a:solidFill>
                  <a:schemeClr val="bg1"/>
                </a:solidFill>
              </a:defRPr>
            </a:lvl1pPr>
          </a:lstStyle>
          <a:p>
            <a:r>
              <a:rPr lang="en-US" dirty="0"/>
              <a:t>Icon</a:t>
            </a:r>
          </a:p>
        </p:txBody>
      </p:sp>
      <p:sp>
        <p:nvSpPr>
          <p:cNvPr id="16" name="Picture Placeholder 5"/>
          <p:cNvSpPr>
            <a:spLocks noGrp="1"/>
          </p:cNvSpPr>
          <p:nvPr>
            <p:ph type="pic" sz="quarter" idx="15" hasCustomPrompt="1"/>
          </p:nvPr>
        </p:nvSpPr>
        <p:spPr>
          <a:xfrm>
            <a:off x="5603827" y="2870412"/>
            <a:ext cx="1051984" cy="1051984"/>
          </a:xfrm>
          <a:prstGeom prst="rect">
            <a:avLst/>
          </a:prstGeom>
        </p:spPr>
        <p:txBody>
          <a:bodyPr vert="horz" lIns="91432" tIns="45718" rIns="91432" bIns="45718"/>
          <a:lstStyle>
            <a:lvl1pPr marL="0" indent="0" algn="ctr">
              <a:buNone/>
              <a:defRPr sz="1600">
                <a:solidFill>
                  <a:schemeClr val="bg1"/>
                </a:solidFill>
              </a:defRPr>
            </a:lvl1pPr>
          </a:lstStyle>
          <a:p>
            <a:r>
              <a:rPr lang="en-US" dirty="0"/>
              <a:t>Icon</a:t>
            </a:r>
          </a:p>
        </p:txBody>
      </p:sp>
      <p:sp>
        <p:nvSpPr>
          <p:cNvPr id="21" name="Picture Placeholder 5"/>
          <p:cNvSpPr>
            <a:spLocks noGrp="1"/>
          </p:cNvSpPr>
          <p:nvPr>
            <p:ph type="pic" sz="quarter" idx="16" hasCustomPrompt="1"/>
          </p:nvPr>
        </p:nvSpPr>
        <p:spPr>
          <a:xfrm>
            <a:off x="9122480" y="2857372"/>
            <a:ext cx="1051984" cy="1051984"/>
          </a:xfrm>
          <a:prstGeom prst="rect">
            <a:avLst/>
          </a:prstGeom>
        </p:spPr>
        <p:txBody>
          <a:bodyPr vert="horz" lIns="91432" tIns="45718" rIns="91432" bIns="45718"/>
          <a:lstStyle>
            <a:lvl1pPr marL="0" indent="0" algn="ctr">
              <a:buNone/>
              <a:defRPr sz="1600">
                <a:solidFill>
                  <a:schemeClr val="bg1"/>
                </a:solidFill>
              </a:defRPr>
            </a:lvl1pPr>
          </a:lstStyle>
          <a:p>
            <a:r>
              <a:rPr lang="en-US" dirty="0"/>
              <a:t>Icon</a:t>
            </a:r>
          </a:p>
        </p:txBody>
      </p:sp>
    </p:spTree>
    <p:extLst>
      <p:ext uri="{BB962C8B-B14F-4D97-AF65-F5344CB8AC3E}">
        <p14:creationId xmlns:p14="http://schemas.microsoft.com/office/powerpoint/2010/main" val="1703726607"/>
      </p:ext>
    </p:extLst>
  </p:cSld>
  <p:clrMapOvr>
    <a:masterClrMapping/>
  </p:clrMapOvr>
  <p:transition spd="slow">
    <p:wip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43" name="Oval 42"/>
          <p:cNvSpPr/>
          <p:nvPr/>
        </p:nvSpPr>
        <p:spPr>
          <a:xfrm>
            <a:off x="1033101" y="2163193"/>
            <a:ext cx="3075001" cy="3074624"/>
          </a:xfrm>
          <a:prstGeom prst="ellipse">
            <a:avLst/>
          </a:prstGeom>
          <a:solidFill>
            <a:sysClr val="windowText" lastClr="000000">
              <a:alpha val="30000"/>
            </a:sysClr>
          </a:solidFill>
          <a:ln w="25400" cap="flat" cmpd="sng" algn="ctr">
            <a:noFill/>
            <a:prstDash val="solid"/>
          </a:ln>
          <a:effectLst/>
        </p:spPr>
        <p:txBody>
          <a:bodyPr lIns="91428" tIns="45718" rIns="91428" bIns="45718" anchor="ctr"/>
          <a:lstStyle/>
          <a:p>
            <a:pPr algn="ctr" defTabSz="1219050">
              <a:defRPr/>
            </a:pPr>
            <a:endParaRPr lang="en-US" sz="2400" kern="0">
              <a:solidFill>
                <a:prstClr val="white"/>
              </a:solidFill>
              <a:latin typeface="Arial"/>
            </a:endParaRPr>
          </a:p>
        </p:txBody>
      </p:sp>
      <p:sp>
        <p:nvSpPr>
          <p:cNvPr id="44" name="Oval 43"/>
          <p:cNvSpPr/>
          <p:nvPr/>
        </p:nvSpPr>
        <p:spPr>
          <a:xfrm>
            <a:off x="4563796" y="2163193"/>
            <a:ext cx="3075001" cy="3074624"/>
          </a:xfrm>
          <a:prstGeom prst="ellipse">
            <a:avLst/>
          </a:prstGeom>
          <a:solidFill>
            <a:sysClr val="windowText" lastClr="000000">
              <a:alpha val="30000"/>
            </a:sysClr>
          </a:solidFill>
          <a:ln w="25400" cap="flat" cmpd="sng" algn="ctr">
            <a:noFill/>
            <a:prstDash val="solid"/>
          </a:ln>
          <a:effectLst/>
        </p:spPr>
        <p:txBody>
          <a:bodyPr lIns="91428" tIns="45718" rIns="91428" bIns="45718" anchor="ctr"/>
          <a:lstStyle/>
          <a:p>
            <a:pPr algn="ctr" defTabSz="1219050">
              <a:defRPr/>
            </a:pPr>
            <a:endParaRPr lang="en-US" sz="2400" kern="0">
              <a:solidFill>
                <a:prstClr val="white"/>
              </a:solidFill>
              <a:latin typeface="Arial"/>
            </a:endParaRPr>
          </a:p>
        </p:txBody>
      </p:sp>
      <p:sp>
        <p:nvSpPr>
          <p:cNvPr id="45" name="Oval 44"/>
          <p:cNvSpPr/>
          <p:nvPr/>
        </p:nvSpPr>
        <p:spPr>
          <a:xfrm>
            <a:off x="8116485" y="2163193"/>
            <a:ext cx="3075001" cy="3074624"/>
          </a:xfrm>
          <a:prstGeom prst="ellipse">
            <a:avLst/>
          </a:prstGeom>
          <a:solidFill>
            <a:sysClr val="windowText" lastClr="000000">
              <a:alpha val="30000"/>
            </a:sysClr>
          </a:solidFill>
          <a:ln w="25400" cap="flat" cmpd="sng" algn="ctr">
            <a:noFill/>
            <a:prstDash val="solid"/>
          </a:ln>
          <a:effectLst/>
        </p:spPr>
        <p:txBody>
          <a:bodyPr lIns="91428" tIns="45718" rIns="91428" bIns="45718" anchor="ctr"/>
          <a:lstStyle/>
          <a:p>
            <a:pPr algn="ctr" defTabSz="1219050">
              <a:defRPr/>
            </a:pPr>
            <a:endParaRPr lang="en-US" sz="2400" kern="0">
              <a:solidFill>
                <a:prstClr val="white"/>
              </a:solidFill>
              <a:latin typeface="Arial"/>
            </a:endParaRPr>
          </a:p>
        </p:txBody>
      </p:sp>
      <p:sp>
        <p:nvSpPr>
          <p:cNvPr id="3"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
        <p:nvSpPr>
          <p:cNvPr id="35" name="Picture Placeholder 25"/>
          <p:cNvSpPr>
            <a:spLocks noGrp="1"/>
          </p:cNvSpPr>
          <p:nvPr>
            <p:ph type="pic" sz="quarter" idx="10" hasCustomPrompt="1"/>
          </p:nvPr>
        </p:nvSpPr>
        <p:spPr>
          <a:xfrm>
            <a:off x="1033287" y="2163193"/>
            <a:ext cx="3074624" cy="3074624"/>
          </a:xfrm>
          <a:prstGeom prst="ellipse">
            <a:avLst/>
          </a:prstGeom>
          <a:solidFill>
            <a:schemeClr val="bg1">
              <a:alpha val="30000"/>
            </a:schemeClr>
          </a:solidFill>
          <a:ln>
            <a:noFill/>
          </a:ln>
          <a:effectLst/>
        </p:spPr>
        <p:txBody>
          <a:bodyPr lIns="91416" tIns="45710" rIns="91416" bIns="45710" anchor="ctr" anchorCtr="0"/>
          <a:lstStyle>
            <a:lvl1pPr algn="l">
              <a:buFontTx/>
              <a:buNone/>
              <a:defRPr sz="1700" baseline="0">
                <a:solidFill>
                  <a:schemeClr val="tx1"/>
                </a:solidFill>
                <a:latin typeface="+mj-lt"/>
              </a:defRPr>
            </a:lvl1pPr>
          </a:lstStyle>
          <a:p>
            <a:pPr lvl="0"/>
            <a:r>
              <a:rPr lang="en-US" noProof="0" dirty="0"/>
              <a:t>	</a:t>
            </a:r>
          </a:p>
          <a:p>
            <a:pPr lvl="0"/>
            <a:endParaRPr lang="en-US" noProof="0" dirty="0"/>
          </a:p>
          <a:p>
            <a:pPr lvl="0"/>
            <a:endParaRPr lang="en-US" noProof="0" dirty="0"/>
          </a:p>
          <a:p>
            <a:pPr lvl="0"/>
            <a:r>
              <a:rPr lang="en-US" noProof="0" dirty="0"/>
              <a:t>	</a:t>
            </a:r>
          </a:p>
          <a:p>
            <a:pPr lvl="0"/>
            <a:r>
              <a:rPr lang="en-US" noProof="0" dirty="0"/>
              <a:t>	Drag picture to placeholder or click icon to add</a:t>
            </a:r>
          </a:p>
        </p:txBody>
      </p:sp>
      <p:sp>
        <p:nvSpPr>
          <p:cNvPr id="37" name="Picture Placeholder 25"/>
          <p:cNvSpPr>
            <a:spLocks noGrp="1"/>
          </p:cNvSpPr>
          <p:nvPr>
            <p:ph type="pic" sz="quarter" idx="11" hasCustomPrompt="1"/>
          </p:nvPr>
        </p:nvSpPr>
        <p:spPr>
          <a:xfrm>
            <a:off x="4563981" y="2163193"/>
            <a:ext cx="3074624" cy="3074624"/>
          </a:xfrm>
          <a:prstGeom prst="ellipse">
            <a:avLst/>
          </a:prstGeom>
          <a:solidFill>
            <a:schemeClr val="bg1">
              <a:alpha val="30000"/>
            </a:schemeClr>
          </a:solidFill>
          <a:ln>
            <a:noFill/>
          </a:ln>
          <a:effectLst/>
        </p:spPr>
        <p:txBody>
          <a:bodyPr lIns="91416" tIns="45710" rIns="91416" bIns="45710" anchor="ctr" anchorCtr="0"/>
          <a:lstStyle>
            <a:lvl1pPr algn="l">
              <a:buFontTx/>
              <a:buNone/>
              <a:defRPr sz="17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39" name="Picture Placeholder 25"/>
          <p:cNvSpPr>
            <a:spLocks noGrp="1"/>
          </p:cNvSpPr>
          <p:nvPr>
            <p:ph type="pic" sz="quarter" idx="12" hasCustomPrompt="1"/>
          </p:nvPr>
        </p:nvSpPr>
        <p:spPr>
          <a:xfrm>
            <a:off x="8116671" y="2163193"/>
            <a:ext cx="3074624" cy="3074624"/>
          </a:xfrm>
          <a:prstGeom prst="ellipse">
            <a:avLst/>
          </a:prstGeom>
          <a:solidFill>
            <a:schemeClr val="bg1">
              <a:alpha val="30000"/>
            </a:schemeClr>
          </a:solidFill>
          <a:ln>
            <a:noFill/>
          </a:ln>
          <a:effectLst/>
        </p:spPr>
        <p:txBody>
          <a:bodyPr lIns="91416" tIns="45710" rIns="91416" bIns="45710" anchor="ctr" anchorCtr="0"/>
          <a:lstStyle>
            <a:lvl1pPr algn="l">
              <a:buFontTx/>
              <a:buNone/>
              <a:defRPr sz="1700">
                <a:solidFill>
                  <a:schemeClr val="tx1"/>
                </a:solidFill>
                <a:latin typeface="+mj-lt"/>
              </a:defRPr>
            </a:lvl1pPr>
          </a:lstStyle>
          <a:p>
            <a:pPr lvl="0"/>
            <a:r>
              <a:rPr lang="en-US" noProof="0" dirty="0"/>
              <a:t>	</a:t>
            </a:r>
          </a:p>
          <a:p>
            <a:pPr lvl="0"/>
            <a:endParaRPr lang="en-US" noProof="0" dirty="0"/>
          </a:p>
          <a:p>
            <a:pPr lvl="0"/>
            <a:endParaRPr lang="en-US" noProof="0" dirty="0"/>
          </a:p>
          <a:p>
            <a:pPr lvl="0"/>
            <a:endParaRPr lang="en-US" noProof="0" dirty="0"/>
          </a:p>
          <a:p>
            <a:pPr lvl="0"/>
            <a:r>
              <a:rPr lang="en-US" noProof="0" dirty="0"/>
              <a:t>	Drag picture to placeholder or click icon to add</a:t>
            </a:r>
          </a:p>
        </p:txBody>
      </p:sp>
      <p:sp>
        <p:nvSpPr>
          <p:cNvPr id="9" name="Text Placeholder 17"/>
          <p:cNvSpPr>
            <a:spLocks noGrp="1"/>
          </p:cNvSpPr>
          <p:nvPr>
            <p:ph type="body" sz="quarter" idx="13" hasCustomPrompt="1"/>
          </p:nvPr>
        </p:nvSpPr>
        <p:spPr>
          <a:xfrm>
            <a:off x="1051732" y="5164190"/>
            <a:ext cx="3056181" cy="804881"/>
          </a:xfrm>
          <a:prstGeom prst="rect">
            <a:avLst/>
          </a:prstGeom>
        </p:spPr>
        <p:txBody>
          <a:bodyPr lIns="91412" tIns="45710" rIns="91412" bIns="45710"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0" name="Text Placeholder 17"/>
          <p:cNvSpPr>
            <a:spLocks noGrp="1"/>
          </p:cNvSpPr>
          <p:nvPr>
            <p:ph type="body" sz="quarter" idx="14" hasCustomPrompt="1"/>
          </p:nvPr>
        </p:nvSpPr>
        <p:spPr>
          <a:xfrm>
            <a:off x="4582424" y="5161594"/>
            <a:ext cx="3056181" cy="804881"/>
          </a:xfrm>
          <a:prstGeom prst="rect">
            <a:avLst/>
          </a:prstGeom>
        </p:spPr>
        <p:txBody>
          <a:bodyPr lIns="91412" tIns="45710" rIns="91412" bIns="45710"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
        <p:nvSpPr>
          <p:cNvPr id="11" name="Text Placeholder 17"/>
          <p:cNvSpPr>
            <a:spLocks noGrp="1"/>
          </p:cNvSpPr>
          <p:nvPr>
            <p:ph type="body" sz="quarter" idx="15" hasCustomPrompt="1"/>
          </p:nvPr>
        </p:nvSpPr>
        <p:spPr>
          <a:xfrm>
            <a:off x="8135116" y="5161594"/>
            <a:ext cx="3056181" cy="804881"/>
          </a:xfrm>
          <a:prstGeom prst="rect">
            <a:avLst/>
          </a:prstGeom>
        </p:spPr>
        <p:txBody>
          <a:bodyPr lIns="91412" tIns="45710" rIns="91412" bIns="45710" anchor="ctr" anchorCtr="0">
            <a:noAutofit/>
          </a:bodyPr>
          <a:lstStyle>
            <a:lvl1pPr marL="0" indent="0" algn="ctr">
              <a:buNone/>
              <a:defRPr sz="27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a:t>Text Goes Here</a:t>
            </a:r>
          </a:p>
        </p:txBody>
      </p:sp>
    </p:spTree>
    <p:extLst>
      <p:ext uri="{BB962C8B-B14F-4D97-AF65-F5344CB8AC3E}">
        <p14:creationId xmlns:p14="http://schemas.microsoft.com/office/powerpoint/2010/main" val="4042331294"/>
      </p:ext>
    </p:extLst>
  </p:cSld>
  <p:clrMapOvr>
    <a:masterClrMapping/>
  </p:clrMapOvr>
  <p:transition spd="slow">
    <p:wip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87" y="6172206"/>
            <a:ext cx="977900"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2000" cy="6858000"/>
          </a:xfrm>
          <a:prstGeom prst="rect">
            <a:avLst/>
          </a:prstGeom>
        </p:spPr>
        <p:txBody>
          <a:bodyPr vert="horz" lIns="91412" tIns="45710" rIns="91412" bIns="45710"/>
          <a:lstStyle>
            <a:lvl1pPr marL="0" indent="0" algn="ctr">
              <a:buNone/>
              <a:defRPr sz="2900" baseline="0">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hasCustomPrompt="1"/>
          </p:nvPr>
        </p:nvSpPr>
        <p:spPr bwMode="auto">
          <a:xfrm>
            <a:off x="666752" y="4645361"/>
            <a:ext cx="10852149" cy="674544"/>
          </a:xfrm>
          <a:prstGeom prst="rect">
            <a:avLst/>
          </a:prstGeom>
          <a:solidFill>
            <a:schemeClr val="bg1">
              <a:alpha val="70000"/>
            </a:schemeClr>
          </a:solidFill>
        </p:spPr>
        <p:txBody>
          <a:bodyPr wrap="square" lIns="107989" tIns="0" rIns="91432" bIns="45718" numCol="1" anchor="ctr" anchorCtr="0" compatLnSpc="1">
            <a:prstTxWarp prst="textNoShape">
              <a:avLst/>
            </a:prstTxWarp>
            <a:spAutoFit/>
          </a:bodyPr>
          <a:lstStyle>
            <a:lvl1pPr marL="230373" indent="0">
              <a:lnSpc>
                <a:spcPts val="4907"/>
              </a:lnSpc>
              <a:spcBef>
                <a:spcPts val="0"/>
              </a:spcBef>
              <a:buNone/>
              <a:defRPr sz="3200" i="1"/>
            </a:lvl1pPr>
          </a:lstStyle>
          <a:p>
            <a:pPr lvl="0"/>
            <a:r>
              <a:rPr lang="en-GB" dirty="0"/>
              <a:t>Text Goes Here</a:t>
            </a:r>
          </a:p>
        </p:txBody>
      </p:sp>
    </p:spTree>
    <p:extLst>
      <p:ext uri="{BB962C8B-B14F-4D97-AF65-F5344CB8AC3E}">
        <p14:creationId xmlns:p14="http://schemas.microsoft.com/office/powerpoint/2010/main" val="256533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5" y="401389"/>
            <a:ext cx="11417563" cy="3389567"/>
          </a:xfrm>
          <a:prstGeom prst="rect">
            <a:avLst/>
          </a:prstGeom>
        </p:spPr>
        <p:txBody>
          <a:bodyPr vert="horz" lIns="91412" tIns="45710" rIns="91412" bIns="45710"/>
          <a:lstStyle>
            <a:lvl1pPr marL="0" indent="0" algn="ctr">
              <a:buNone/>
              <a:defRPr sz="2900" baseline="0">
                <a:solidFill>
                  <a:srgbClr val="676767"/>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hasCustomPrompt="1"/>
          </p:nvPr>
        </p:nvSpPr>
        <p:spPr>
          <a:xfrm>
            <a:off x="598381" y="4072695"/>
            <a:ext cx="11152315" cy="726479"/>
          </a:xfrm>
          <a:prstGeom prst="rect">
            <a:avLst/>
          </a:prstGeom>
        </p:spPr>
        <p:txBody>
          <a:bodyPr vert="horz" wrap="square" lIns="91432" tIns="45718" rIns="91432" bIns="45718">
            <a:spAutoFit/>
          </a:bodyPr>
          <a:lstStyle>
            <a:lvl1pPr marL="0" indent="0">
              <a:buNone/>
              <a:defRPr sz="4300" baseline="0">
                <a:solidFill>
                  <a:srgbClr val="676767"/>
                </a:solidFill>
              </a:defRPr>
            </a:lvl1pPr>
          </a:lstStyle>
          <a:p>
            <a:pPr lvl="0"/>
            <a:r>
              <a:rPr lang="en-GB" dirty="0"/>
              <a:t>Text Goes Here</a:t>
            </a:r>
          </a:p>
        </p:txBody>
      </p:sp>
    </p:spTree>
    <p:extLst>
      <p:ext uri="{BB962C8B-B14F-4D97-AF65-F5344CB8AC3E}">
        <p14:creationId xmlns:p14="http://schemas.microsoft.com/office/powerpoint/2010/main" val="1064482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9_Full bleed photo">
    <p:spTree>
      <p:nvGrpSpPr>
        <p:cNvPr id="1" name=""/>
        <p:cNvGrpSpPr/>
        <p:nvPr/>
      </p:nvGrpSpPr>
      <p:grpSpPr>
        <a:xfrm>
          <a:off x="0" y="0"/>
          <a:ext cx="0" cy="0"/>
          <a:chOff x="0" y="0"/>
          <a:chExt cx="0" cy="0"/>
        </a:xfrm>
      </p:grpSpPr>
      <p:pic>
        <p:nvPicPr>
          <p:cNvPr id="12" name="Picture Placeholder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96464" cy="6858000"/>
          </a:xfrm>
          <a:prstGeom prst="rect">
            <a:avLst/>
          </a:prstGeom>
        </p:spPr>
      </p:pic>
      <p:sp>
        <p:nvSpPr>
          <p:cNvPr id="14" name="Text Placeholder 2"/>
          <p:cNvSpPr>
            <a:spLocks noGrp="1"/>
          </p:cNvSpPr>
          <p:nvPr>
            <p:ph type="body" sz="quarter" idx="12" hasCustomPrompt="1"/>
          </p:nvPr>
        </p:nvSpPr>
        <p:spPr bwMode="auto">
          <a:xfrm>
            <a:off x="666752" y="4634961"/>
            <a:ext cx="10852149" cy="695347"/>
          </a:xfrm>
          <a:prstGeom prst="rect">
            <a:avLst/>
          </a:prstGeom>
          <a:solidFill>
            <a:schemeClr val="bg1">
              <a:alpha val="70000"/>
            </a:schemeClr>
          </a:solidFill>
        </p:spPr>
        <p:txBody>
          <a:bodyPr wrap="square" lIns="107989" tIns="0" rIns="91432" bIns="45718" numCol="1" anchor="b" anchorCtr="0" compatLnSpc="1">
            <a:prstTxWarp prst="textNoShape">
              <a:avLst/>
            </a:prstTxWarp>
            <a:spAutoFit/>
          </a:bodyPr>
          <a:lstStyle>
            <a:lvl1pPr marL="230373" indent="-239971">
              <a:lnSpc>
                <a:spcPts val="4907"/>
              </a:lnSpc>
              <a:spcBef>
                <a:spcPts val="0"/>
              </a:spcBef>
              <a:buNone/>
              <a:defRPr sz="4300" i="1"/>
            </a:lvl1pPr>
          </a:lstStyle>
          <a:p>
            <a:pPr lvl="0"/>
            <a:r>
              <a:rPr lang="en-GB" dirty="0"/>
              <a:t>Text Goes Here</a:t>
            </a:r>
          </a:p>
        </p:txBody>
      </p:sp>
      <p:pic>
        <p:nvPicPr>
          <p:cNvPr id="11" name="Picture 2" descr="C:\Users\spius\Pictures\cisco logo blue gradient.png"/>
          <p:cNvPicPr>
            <a:picLocks noChangeAspect="1" noChangeArrowheads="1"/>
          </p:cNvPicPr>
          <p:nvPr/>
        </p:nvPicPr>
        <p:blipFill>
          <a:blip r:embed="rId3" cstate="print">
            <a:biLevel thresh="25000"/>
            <a:extLst>
              <a:ext uri="{28A0092B-C50C-407E-A947-70E740481C1C}">
                <a14:useLocalDpi xmlns:a14="http://schemas.microsoft.com/office/drawing/2010/main"/>
              </a:ext>
            </a:extLst>
          </a:blip>
          <a:srcRect/>
          <a:stretch>
            <a:fillRect/>
          </a:stretch>
        </p:blipFill>
        <p:spPr bwMode="auto">
          <a:xfrm>
            <a:off x="632233" y="6167697"/>
            <a:ext cx="575083" cy="35356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a:spLocks noChangeArrowheads="1"/>
          </p:cNvSpPr>
          <p:nvPr/>
        </p:nvSpPr>
        <p:spPr bwMode="ltGray">
          <a:xfrm>
            <a:off x="11351429" y="6323883"/>
            <a:ext cx="294071" cy="206023"/>
          </a:xfrm>
          <a:prstGeom prst="rect">
            <a:avLst/>
          </a:prstGeom>
          <a:noFill/>
          <a:ln w="9525" algn="ctr">
            <a:noFill/>
            <a:miter lim="800000"/>
            <a:headEnd/>
            <a:tailEnd/>
          </a:ln>
          <a:effectLst/>
        </p:spPr>
        <p:txBody>
          <a:bodyPr wrap="none" lIns="82107" tIns="41054" rIns="82107" bIns="41054" anchor="b">
            <a:spAutoFit/>
          </a:bodyPr>
          <a:lstStyle/>
          <a:p>
            <a:pPr algn="r" defTabSz="814225">
              <a:defRPr/>
            </a:pPr>
            <a:fld id="{4ABDCABE-3F10-B64C-92F1-862014417034}" type="slidenum">
              <a:rPr lang="en-US" sz="800">
                <a:solidFill>
                  <a:srgbClr val="FFFFFF">
                    <a:alpha val="60000"/>
                  </a:srgbClr>
                </a:solidFill>
                <a:latin typeface="Arial"/>
                <a:cs typeface="CiscoSans Thin"/>
              </a:rPr>
              <a:pPr algn="r" defTabSz="814225">
                <a:defRPr/>
              </a:pPr>
              <a:t>‹#›</a:t>
            </a:fld>
            <a:endParaRPr lang="en-US" sz="800" dirty="0">
              <a:solidFill>
                <a:srgbClr val="FFFFFF">
                  <a:alpha val="60000"/>
                </a:srgbClr>
              </a:solidFill>
              <a:latin typeface="Arial"/>
              <a:cs typeface="CiscoSans Thin"/>
            </a:endParaRPr>
          </a:p>
        </p:txBody>
      </p:sp>
      <p:sp>
        <p:nvSpPr>
          <p:cNvPr id="10" name="Rectangle 4"/>
          <p:cNvSpPr>
            <a:spLocks noChangeArrowheads="1"/>
          </p:cNvSpPr>
          <p:nvPr/>
        </p:nvSpPr>
        <p:spPr bwMode="ltGray">
          <a:xfrm>
            <a:off x="7823344" y="6322210"/>
            <a:ext cx="3544024" cy="206025"/>
          </a:xfrm>
          <a:prstGeom prst="rect">
            <a:avLst/>
          </a:prstGeom>
          <a:noFill/>
          <a:ln w="9525">
            <a:noFill/>
            <a:miter lim="800000"/>
            <a:headEnd/>
            <a:tailEnd/>
          </a:ln>
          <a:effectLst/>
        </p:spPr>
        <p:txBody>
          <a:bodyPr lIns="82107" tIns="41054" rIns="82107" bIns="41054" anchor="b">
            <a:spAutoFit/>
          </a:bodyPr>
          <a:lstStyle/>
          <a:p>
            <a:pPr defTabSz="814225">
              <a:defRPr/>
            </a:pPr>
            <a:r>
              <a:rPr lang="en-US" sz="800" dirty="0">
                <a:solidFill>
                  <a:srgbClr val="FFFFFF">
                    <a:alpha val="60000"/>
                  </a:srgbClr>
                </a:solidFill>
                <a:latin typeface="Arial"/>
                <a:cs typeface="CiscoSans Thin"/>
              </a:rPr>
              <a:t>© 2015  Cisco and/or its affiliates. All rights reserved.   Cisco Confidential</a:t>
            </a:r>
          </a:p>
        </p:txBody>
      </p:sp>
    </p:spTree>
    <p:extLst>
      <p:ext uri="{BB962C8B-B14F-4D97-AF65-F5344CB8AC3E}">
        <p14:creationId xmlns:p14="http://schemas.microsoft.com/office/powerpoint/2010/main" val="392226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87" y="6172206"/>
            <a:ext cx="977900"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6464" cy="6858000"/>
          </a:xfrm>
          <a:prstGeom prst="rect">
            <a:avLst/>
          </a:prstGeom>
        </p:spPr>
        <p:txBody>
          <a:bodyPr vert="horz" lIns="91412" tIns="45710" rIns="91412" bIns="45710"/>
          <a:lstStyle>
            <a:lvl1pPr marL="0" indent="0" algn="ctr">
              <a:buNone/>
              <a:defRPr sz="29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441051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3" y="320844"/>
            <a:ext cx="11307184" cy="5688861"/>
          </a:xfrm>
          <a:prstGeom prst="rect">
            <a:avLst/>
          </a:prstGeom>
        </p:spPr>
        <p:txBody>
          <a:bodyPr vert="horz" lIns="91416" tIns="45710" rIns="91416" bIns="45710"/>
          <a:lstStyle>
            <a:lvl1pPr marL="0" indent="0" algn="ctr">
              <a:buNone/>
              <a:defRPr sz="20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16511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4" name="Rectangle 3"/>
          <p:cNvSpPr/>
          <p:nvPr/>
        </p:nvSpPr>
        <p:spPr>
          <a:xfrm>
            <a:off x="2523069" y="795868"/>
            <a:ext cx="7131051" cy="40047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anchor="ctr"/>
          <a:lstStyle/>
          <a:p>
            <a:pPr algn="ctr">
              <a:defRPr/>
            </a:pPr>
            <a:endParaRPr lang="en-US" sz="2400">
              <a:solidFill>
                <a:srgbClr val="FFFFFF"/>
              </a:solidFill>
              <a:latin typeface="Arial"/>
            </a:endParaRPr>
          </a:p>
        </p:txBody>
      </p:sp>
      <p:sp>
        <p:nvSpPr>
          <p:cNvPr id="5" name="Rectangle 4"/>
          <p:cNvSpPr/>
          <p:nvPr/>
        </p:nvSpPr>
        <p:spPr>
          <a:xfrm>
            <a:off x="2523068" y="4794252"/>
            <a:ext cx="7128933" cy="99694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anchor="ctr"/>
          <a:lstStyle/>
          <a:p>
            <a:pPr algn="ctr">
              <a:defRPr/>
            </a:pPr>
            <a:endParaRPr lang="en-US" sz="2400">
              <a:solidFill>
                <a:srgbClr val="FFFFFF"/>
              </a:solidFill>
              <a:latin typeface="Arial"/>
            </a:endParaRPr>
          </a:p>
        </p:txBody>
      </p:sp>
      <p:sp>
        <p:nvSpPr>
          <p:cNvPr id="26" name="Picture Placeholder 25"/>
          <p:cNvSpPr>
            <a:spLocks noGrp="1"/>
          </p:cNvSpPr>
          <p:nvPr>
            <p:ph type="pic" sz="quarter" idx="10"/>
          </p:nvPr>
        </p:nvSpPr>
        <p:spPr>
          <a:xfrm>
            <a:off x="2533653" y="795528"/>
            <a:ext cx="7105651" cy="4005072"/>
          </a:xfrm>
          <a:prstGeom prst="rect">
            <a:avLst/>
          </a:prstGeom>
          <a:solidFill>
            <a:schemeClr val="bg1">
              <a:alpha val="30000"/>
            </a:schemeClr>
          </a:solidFill>
          <a:ln>
            <a:solidFill>
              <a:srgbClr val="676767"/>
            </a:solidFill>
          </a:ln>
          <a:effectLst/>
        </p:spPr>
        <p:txBody>
          <a:bodyPr lIns="91416" tIns="45710" rIns="91416" bIns="45710"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hasCustomPrompt="1"/>
          </p:nvPr>
        </p:nvSpPr>
        <p:spPr>
          <a:xfrm>
            <a:off x="2754497" y="4873439"/>
            <a:ext cx="6765427" cy="838200"/>
          </a:xfrm>
        </p:spPr>
        <p:txBody>
          <a:bodyPr anchor="ctr"/>
          <a:lstStyle>
            <a:lvl1pPr>
              <a:defRPr sz="27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95880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91412" tIns="45710" rIns="91412" bIns="45710">
            <a:noAutofit/>
          </a:bodyPr>
          <a:lstStyle>
            <a:lvl1pPr marL="374524" indent="-298351">
              <a:lnSpc>
                <a:spcPct val="95000"/>
              </a:lnSpc>
              <a:spcBef>
                <a:spcPts val="1480"/>
              </a:spcBef>
              <a:buClr>
                <a:schemeClr val="tx1"/>
              </a:buClr>
              <a:buSzPct val="80000"/>
              <a:buFont typeface="Arial"/>
              <a:buChar char="•"/>
              <a:defRPr sz="4900" b="0" i="0">
                <a:solidFill>
                  <a:srgbClr val="676767"/>
                </a:solidFill>
                <a:latin typeface="+mn-lt"/>
                <a:cs typeface="CiscoSans ExtraLight"/>
              </a:defRPr>
            </a:lvl1pPr>
            <a:lvl2pPr marL="677110" indent="-287767">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622" indent="-228526">
              <a:buClr>
                <a:schemeClr val="tx1"/>
              </a:buClr>
              <a:buSzPct val="80000"/>
              <a:buFont typeface="Arial"/>
              <a:buChar char="•"/>
              <a:defRPr sz="2100" b="0" i="0">
                <a:solidFill>
                  <a:srgbClr val="676767"/>
                </a:solidFill>
                <a:latin typeface="+mn-lt"/>
                <a:cs typeface="CiscoSans ExtraLight"/>
              </a:defRPr>
            </a:lvl3pPr>
            <a:lvl4pPr marL="1214562" indent="-228526">
              <a:buClr>
                <a:schemeClr val="tx1"/>
              </a:buClr>
              <a:buSzPct val="80000"/>
              <a:buFont typeface="Arial"/>
              <a:buChar char="•"/>
              <a:defRPr sz="1900" b="0" i="0">
                <a:solidFill>
                  <a:srgbClr val="676767"/>
                </a:solidFill>
                <a:latin typeface="+mn-lt"/>
                <a:cs typeface="CiscoSans ExtraLight"/>
              </a:defRPr>
            </a:lvl4pPr>
            <a:lvl5pPr marL="1443087" indent="-224293">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215558724"/>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4" name="Rectangle 3"/>
          <p:cNvSpPr/>
          <p:nvPr/>
        </p:nvSpPr>
        <p:spPr>
          <a:xfrm>
            <a:off x="733073" y="311157"/>
            <a:ext cx="4364567" cy="24595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anchor="ctr"/>
          <a:lstStyle/>
          <a:p>
            <a:pPr algn="ctr">
              <a:defRPr/>
            </a:pPr>
            <a:endParaRPr lang="en-US" sz="2400">
              <a:solidFill>
                <a:srgbClr val="FFFFFF"/>
              </a:solidFill>
              <a:latin typeface="Arial"/>
            </a:endParaRPr>
          </a:p>
        </p:txBody>
      </p:sp>
      <p:sp>
        <p:nvSpPr>
          <p:cNvPr id="26" name="Picture Placeholder 25"/>
          <p:cNvSpPr>
            <a:spLocks noGrp="1"/>
          </p:cNvSpPr>
          <p:nvPr>
            <p:ph type="pic" sz="quarter" idx="10"/>
          </p:nvPr>
        </p:nvSpPr>
        <p:spPr>
          <a:xfrm>
            <a:off x="733321" y="310896"/>
            <a:ext cx="4364736" cy="2459736"/>
          </a:xfrm>
          <a:prstGeom prst="rect">
            <a:avLst/>
          </a:prstGeom>
          <a:solidFill>
            <a:schemeClr val="bg1">
              <a:alpha val="30000"/>
            </a:schemeClr>
          </a:solidFill>
          <a:ln>
            <a:solidFill>
              <a:srgbClr val="676767"/>
            </a:solidFill>
          </a:ln>
          <a:effectLst/>
        </p:spPr>
        <p:txBody>
          <a:bodyPr vert="horz" lIns="68572" tIns="34286" rIns="68572" bIns="34286" rtlCol="0" anchor="ctr" anchorCtr="0">
            <a:normAutofit/>
          </a:bodyPr>
          <a:lstStyle>
            <a:lvl1pPr marL="0" indent="0" algn="ctr" defTabSz="914256"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574586" y="3307597"/>
            <a:ext cx="8973153" cy="2152559"/>
          </a:xfrm>
        </p:spPr>
        <p:txBody>
          <a:bodyPr>
            <a:noAutofit/>
          </a:bodyPr>
          <a:lstStyle>
            <a:lvl1pPr marL="0" marR="0" indent="0" algn="l" defTabSz="914256" rtl="0" eaLnBrk="1" fontAlgn="auto" latinLnBrk="0" hangingPunct="1">
              <a:lnSpc>
                <a:spcPct val="80000"/>
              </a:lnSpc>
              <a:spcBef>
                <a:spcPct val="0"/>
              </a:spcBef>
              <a:spcAft>
                <a:spcPts val="0"/>
              </a:spcAft>
              <a:buClrTx/>
              <a:buSzTx/>
              <a:buFontTx/>
              <a:buNone/>
              <a:tabLst/>
              <a:defRPr sz="6000">
                <a:solidFill>
                  <a:srgbClr val="676767"/>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798094328"/>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 name="Rectangle 3"/>
          <p:cNvSpPr/>
          <p:nvPr/>
        </p:nvSpPr>
        <p:spPr>
          <a:xfrm>
            <a:off x="6656917" y="728812"/>
            <a:ext cx="4840816" cy="515975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anchor="ctr"/>
          <a:lstStyle/>
          <a:p>
            <a:pPr algn="ctr">
              <a:defRPr/>
            </a:pPr>
            <a:endParaRPr lang="en-US" sz="2400">
              <a:solidFill>
                <a:srgbClr val="FFFFFF"/>
              </a:solidFill>
              <a:latin typeface="Arial"/>
            </a:endParaRPr>
          </a:p>
        </p:txBody>
      </p:sp>
      <p:sp>
        <p:nvSpPr>
          <p:cNvPr id="26" name="Picture Placeholder 25"/>
          <p:cNvSpPr>
            <a:spLocks noGrp="1"/>
          </p:cNvSpPr>
          <p:nvPr>
            <p:ph type="pic" sz="quarter" idx="10"/>
          </p:nvPr>
        </p:nvSpPr>
        <p:spPr>
          <a:xfrm>
            <a:off x="6656832" y="728980"/>
            <a:ext cx="4840224" cy="5159757"/>
          </a:xfrm>
          <a:prstGeom prst="rect">
            <a:avLst/>
          </a:prstGeom>
          <a:solidFill>
            <a:schemeClr val="bg1">
              <a:alpha val="30000"/>
            </a:schemeClr>
          </a:solidFill>
          <a:ln>
            <a:solidFill>
              <a:srgbClr val="2968AF"/>
            </a:solidFill>
          </a:ln>
          <a:effectLst/>
        </p:spPr>
        <p:txBody>
          <a:bodyPr lIns="91416" tIns="45710" rIns="91416" bIns="45710"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hasCustomPrompt="1"/>
          </p:nvPr>
        </p:nvSpPr>
        <p:spPr>
          <a:xfrm>
            <a:off x="583560" y="728985"/>
            <a:ext cx="5799891" cy="1085313"/>
          </a:xfrm>
        </p:spPr>
        <p:txBody>
          <a:bodyPr wrap="none" anchor="t" anchorCtr="0">
            <a:noAutofit/>
          </a:bodyPr>
          <a:lstStyle>
            <a:lvl1pPr>
              <a:lnSpc>
                <a:spcPct val="90000"/>
              </a:lnSpc>
              <a:defRPr sz="3300">
                <a:solidFill>
                  <a:schemeClr val="bg1"/>
                </a:solidFill>
                <a:latin typeface="+mj-lt"/>
              </a:defRPr>
            </a:lvl1pPr>
          </a:lstStyle>
          <a:p>
            <a:r>
              <a:rPr lang="en-GB" dirty="0"/>
              <a:t>Click to edit title</a:t>
            </a:r>
            <a:endParaRPr lang="en-US" dirty="0"/>
          </a:p>
        </p:txBody>
      </p:sp>
    </p:spTree>
    <p:extLst>
      <p:ext uri="{BB962C8B-B14F-4D97-AF65-F5344CB8AC3E}">
        <p14:creationId xmlns:p14="http://schemas.microsoft.com/office/powerpoint/2010/main" val="2596576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9" name="Rectangle 8"/>
          <p:cNvSpPr/>
          <p:nvPr/>
        </p:nvSpPr>
        <p:spPr>
          <a:xfrm>
            <a:off x="4891617" y="311157"/>
            <a:ext cx="43582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a:defRPr/>
            </a:pPr>
            <a:endParaRPr lang="en-US" sz="2400">
              <a:solidFill>
                <a:srgbClr val="FFFFFF"/>
              </a:solidFill>
              <a:latin typeface="CiscoSans"/>
              <a:cs typeface="CiscoSans"/>
            </a:endParaRPr>
          </a:p>
        </p:txBody>
      </p:sp>
      <p:sp>
        <p:nvSpPr>
          <p:cNvPr id="10" name="Rectangle 9"/>
          <p:cNvSpPr/>
          <p:nvPr/>
        </p:nvSpPr>
        <p:spPr>
          <a:xfrm>
            <a:off x="446617" y="311157"/>
            <a:ext cx="4383616" cy="266064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a:defRPr/>
            </a:pPr>
            <a:endParaRPr lang="en-US" sz="2400">
              <a:solidFill>
                <a:srgbClr val="FFFFFF"/>
              </a:solidFill>
              <a:latin typeface="CiscoSans"/>
              <a:cs typeface="CiscoSans"/>
            </a:endParaRPr>
          </a:p>
        </p:txBody>
      </p:sp>
      <p:sp>
        <p:nvSpPr>
          <p:cNvPr id="11" name="Rectangle 10"/>
          <p:cNvSpPr/>
          <p:nvPr/>
        </p:nvSpPr>
        <p:spPr>
          <a:xfrm>
            <a:off x="9306987" y="311151"/>
            <a:ext cx="2451100"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a:defRPr/>
            </a:pPr>
            <a:endParaRPr lang="en-US" sz="2400">
              <a:solidFill>
                <a:srgbClr val="FFFFFF"/>
              </a:solidFill>
              <a:latin typeface="CiscoSans"/>
              <a:cs typeface="CiscoSans"/>
            </a:endParaRPr>
          </a:p>
        </p:txBody>
      </p:sp>
      <p:sp>
        <p:nvSpPr>
          <p:cNvPr id="12" name="Rectangle 11"/>
          <p:cNvSpPr/>
          <p:nvPr/>
        </p:nvSpPr>
        <p:spPr>
          <a:xfrm>
            <a:off x="446623" y="3028957"/>
            <a:ext cx="3363383"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a:defRPr/>
            </a:pPr>
            <a:endParaRPr lang="en-US" sz="2400">
              <a:solidFill>
                <a:srgbClr val="FFFFFF"/>
              </a:solidFill>
              <a:latin typeface="CiscoSans"/>
              <a:cs typeface="CiscoSans"/>
            </a:endParaRPr>
          </a:p>
        </p:txBody>
      </p:sp>
      <p:sp>
        <p:nvSpPr>
          <p:cNvPr id="13" name="Rectangle 12"/>
          <p:cNvSpPr/>
          <p:nvPr/>
        </p:nvSpPr>
        <p:spPr>
          <a:xfrm>
            <a:off x="3881969" y="3028957"/>
            <a:ext cx="5367867" cy="345863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a:defRPr/>
            </a:pPr>
            <a:endParaRPr lang="en-US" sz="2400">
              <a:solidFill>
                <a:srgbClr val="FFFFFF"/>
              </a:solidFill>
              <a:latin typeface="CiscoSans"/>
              <a:cs typeface="CiscoSans"/>
            </a:endParaRPr>
          </a:p>
        </p:txBody>
      </p:sp>
      <p:sp>
        <p:nvSpPr>
          <p:cNvPr id="14" name="Rectangle 13"/>
          <p:cNvSpPr/>
          <p:nvPr/>
        </p:nvSpPr>
        <p:spPr>
          <a:xfrm>
            <a:off x="9306987" y="1682751"/>
            <a:ext cx="2451100" cy="34438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a:defRPr/>
            </a:pPr>
            <a:endParaRPr lang="en-US" sz="2400">
              <a:solidFill>
                <a:srgbClr val="FFFFFF"/>
              </a:solidFill>
              <a:latin typeface="CiscoSans"/>
              <a:cs typeface="CiscoSans"/>
            </a:endParaRPr>
          </a:p>
        </p:txBody>
      </p:sp>
      <p:sp>
        <p:nvSpPr>
          <p:cNvPr id="15" name="Rectangle 14"/>
          <p:cNvSpPr/>
          <p:nvPr/>
        </p:nvSpPr>
        <p:spPr>
          <a:xfrm>
            <a:off x="9306987" y="5183717"/>
            <a:ext cx="2451100" cy="130386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4" rIns="91424" bIns="45714" anchor="ctr"/>
          <a:lstStyle/>
          <a:p>
            <a:pPr algn="ctr">
              <a:defRPr/>
            </a:pPr>
            <a:endParaRPr lang="en-US" sz="2400">
              <a:solidFill>
                <a:srgbClr val="FFFFFF"/>
              </a:solidFill>
              <a:latin typeface="CiscoSans"/>
              <a:cs typeface="CiscoSans"/>
            </a:endParaRPr>
          </a:p>
        </p:txBody>
      </p:sp>
      <p:sp>
        <p:nvSpPr>
          <p:cNvPr id="49" name="Picture Placeholder 25"/>
          <p:cNvSpPr>
            <a:spLocks noGrp="1"/>
          </p:cNvSpPr>
          <p:nvPr>
            <p:ph type="pic" sz="quarter" idx="11"/>
          </p:nvPr>
        </p:nvSpPr>
        <p:spPr>
          <a:xfrm>
            <a:off x="4891995" y="311151"/>
            <a:ext cx="4357148" cy="2660652"/>
          </a:xfrm>
          <a:prstGeom prst="rect">
            <a:avLst/>
          </a:prstGeom>
          <a:solidFill>
            <a:schemeClr val="bg1">
              <a:alpha val="30000"/>
            </a:schemeClr>
          </a:solidFill>
          <a:ln>
            <a:solidFill>
              <a:schemeClr val="bg2"/>
            </a:solidFill>
          </a:ln>
          <a:effectLst/>
        </p:spPr>
        <p:txBody>
          <a:bodyPr vert="horz" lIns="68569" tIns="34286" rIns="68569" bIns="34286"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baseline="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427771" y="311151"/>
            <a:ext cx="4402668" cy="2660652"/>
          </a:xfrm>
          <a:prstGeom prst="rect">
            <a:avLst/>
          </a:prstGeom>
          <a:solidFill>
            <a:schemeClr val="bg1">
              <a:alpha val="30000"/>
            </a:schemeClr>
          </a:solidFill>
          <a:ln>
            <a:solidFill>
              <a:schemeClr val="bg2"/>
            </a:solidFill>
          </a:ln>
          <a:effectLst/>
        </p:spPr>
        <p:txBody>
          <a:bodyPr vert="horz" lIns="68569" tIns="34286" rIns="68569" bIns="34286"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9306444" y="311151"/>
            <a:ext cx="2451640" cy="1308101"/>
          </a:xfrm>
          <a:prstGeom prst="rect">
            <a:avLst/>
          </a:prstGeom>
          <a:solidFill>
            <a:schemeClr val="bg1">
              <a:alpha val="30000"/>
            </a:schemeClr>
          </a:solidFill>
          <a:ln>
            <a:solidFill>
              <a:schemeClr val="bg2"/>
            </a:solidFill>
          </a:ln>
          <a:effectLst/>
        </p:spPr>
        <p:txBody>
          <a:bodyPr vert="horz" lIns="68569" tIns="34286" rIns="68569" bIns="34286"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427765" y="3028963"/>
            <a:ext cx="3383227" cy="3458935"/>
          </a:xfrm>
          <a:prstGeom prst="rect">
            <a:avLst/>
          </a:prstGeom>
          <a:solidFill>
            <a:schemeClr val="bg1">
              <a:alpha val="30000"/>
            </a:schemeClr>
          </a:solidFill>
          <a:ln>
            <a:solidFill>
              <a:schemeClr val="bg2"/>
            </a:solidFill>
          </a:ln>
          <a:effectLst/>
        </p:spPr>
        <p:txBody>
          <a:bodyPr vert="horz" lIns="68569" tIns="34286" rIns="68569" bIns="34286"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3877781" y="3028963"/>
            <a:ext cx="5371355" cy="3458935"/>
          </a:xfrm>
          <a:prstGeom prst="rect">
            <a:avLst/>
          </a:prstGeom>
          <a:solidFill>
            <a:schemeClr val="bg1">
              <a:alpha val="30000"/>
            </a:schemeClr>
          </a:solidFill>
          <a:ln>
            <a:solidFill>
              <a:schemeClr val="bg2"/>
            </a:solidFill>
          </a:ln>
          <a:effectLst/>
        </p:spPr>
        <p:txBody>
          <a:bodyPr vert="horz" lIns="68569" tIns="34286" rIns="68569" bIns="34286"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9306444" y="1676401"/>
            <a:ext cx="2451640" cy="3449411"/>
          </a:xfrm>
          <a:prstGeom prst="rect">
            <a:avLst/>
          </a:prstGeom>
          <a:solidFill>
            <a:schemeClr val="bg1">
              <a:alpha val="30000"/>
            </a:schemeClr>
          </a:solidFill>
          <a:ln>
            <a:solidFill>
              <a:schemeClr val="bg2"/>
            </a:solidFill>
          </a:ln>
          <a:effectLst/>
        </p:spPr>
        <p:txBody>
          <a:bodyPr vert="horz" lIns="68569" tIns="34286" rIns="68569" bIns="34286"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9306444" y="5182964"/>
            <a:ext cx="2451640" cy="1304925"/>
          </a:xfrm>
          <a:prstGeom prst="rect">
            <a:avLst/>
          </a:prstGeom>
          <a:solidFill>
            <a:schemeClr val="bg1">
              <a:alpha val="30000"/>
            </a:schemeClr>
          </a:solidFill>
          <a:ln>
            <a:solidFill>
              <a:schemeClr val="bg2"/>
            </a:solidFill>
          </a:ln>
          <a:effectLst/>
        </p:spPr>
        <p:txBody>
          <a:bodyPr vert="horz" lIns="68569" tIns="34286" rIns="68569" bIns="34286" rtlCol="0" anchor="ctr" anchorCtr="0">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2000" b="0" i="0" kern="1200" dirty="0">
                <a:solidFill>
                  <a:schemeClr val="tx2"/>
                </a:solidFill>
                <a:latin typeface="+mn-lt"/>
                <a:ea typeface="+mn-ea"/>
                <a:cs typeface="Broadway" panose="04040905080B02020502" pitchFamily="82"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39366829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9504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Wide screen video">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704857" y="777240"/>
            <a:ext cx="10886575"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69" tIns="34286" rIns="68569" bIns="34286" rtlCol="0" anchor="ctr">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19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10315271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tandard video">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905785" y="778669"/>
            <a:ext cx="5899416" cy="4425696"/>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69" tIns="34286" rIns="68569" bIns="34286" rtlCol="0" anchor="ctr">
            <a:normAutofit/>
          </a:bodyPr>
          <a:lstStyle>
            <a:lvl1pPr marL="0" indent="0" algn="ctr" defTabSz="914217" rtl="0" eaLnBrk="1" latinLnBrk="0" hangingPunct="1">
              <a:lnSpc>
                <a:spcPct val="95000"/>
              </a:lnSpc>
              <a:spcBef>
                <a:spcPts val="1440"/>
              </a:spcBef>
              <a:buClr>
                <a:srgbClr val="92D050"/>
              </a:buClr>
              <a:buSzPct val="90000"/>
              <a:buFont typeface="Arial" pitchFamily="34" charset="0"/>
              <a:buNone/>
              <a:tabLst/>
              <a:defRPr lang="en-US" sz="1900"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38870796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12192000" cy="6866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4768727" y="2194987"/>
            <a:ext cx="2654548"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3618729"/>
      </p:ext>
    </p:extLst>
  </p:cSld>
  <p:clrMapOvr>
    <a:masterClrMapping/>
  </p:clrMapOvr>
  <p:transition spd="slow">
    <p:wip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Closing_Photo">
    <p:spTree>
      <p:nvGrpSpPr>
        <p:cNvPr id="1" name=""/>
        <p:cNvGrpSpPr/>
        <p:nvPr/>
      </p:nvGrpSpPr>
      <p:grpSpPr>
        <a:xfrm>
          <a:off x="0" y="0"/>
          <a:ext cx="0" cy="0"/>
          <a:chOff x="0" y="0"/>
          <a:chExt cx="0" cy="0"/>
        </a:xfrm>
      </p:grpSpPr>
      <p:pic>
        <p:nvPicPr>
          <p:cNvPr id="16" name="Picture Placeholder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288" y="-3428"/>
            <a:ext cx="12200575" cy="6864856"/>
          </a:xfrm>
          <a:prstGeom prst="rect">
            <a:avLst/>
          </a:prstGeom>
        </p:spPr>
      </p:pic>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8880" y="2191512"/>
            <a:ext cx="2774237" cy="2474976"/>
          </a:xfrm>
          <a:prstGeom prst="rect">
            <a:avLst/>
          </a:prstGeom>
        </p:spPr>
      </p:pic>
    </p:spTree>
    <p:extLst>
      <p:ext uri="{BB962C8B-B14F-4D97-AF65-F5344CB8AC3E}">
        <p14:creationId xmlns:p14="http://schemas.microsoft.com/office/powerpoint/2010/main" val="3066710474"/>
      </p:ext>
    </p:extLst>
  </p:cSld>
  <p:clrMapOvr>
    <a:masterClrMapping/>
  </p:clrMapOvr>
  <p:transition spd="slow">
    <p:wip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a:prstGeom prst="rect">
            <a:avLst/>
          </a:prstGeom>
        </p:spPr>
        <p:txBody>
          <a:bodyPr lIns="91432" tIns="45718" rIns="91432" bIns="45718"/>
          <a:lstStyle>
            <a:lvl1pPr marL="0" indent="0" algn="ctr">
              <a:buNone/>
              <a:defRPr sz="2400"/>
            </a:lvl1pPr>
            <a:lvl2pPr marL="457155" indent="0" algn="ctr">
              <a:buNone/>
              <a:defRPr sz="2000"/>
            </a:lvl2pPr>
            <a:lvl3pPr marL="914309" indent="0" algn="ctr">
              <a:buNone/>
              <a:defRPr sz="1900"/>
            </a:lvl3pPr>
            <a:lvl4pPr marL="1371464" indent="0" algn="ctr">
              <a:buNone/>
              <a:defRPr sz="1600"/>
            </a:lvl4pPr>
            <a:lvl5pPr marL="1828618" indent="0" algn="ctr">
              <a:buNone/>
              <a:defRPr sz="1600"/>
            </a:lvl5pPr>
            <a:lvl6pPr marL="2285774" indent="0" algn="ctr">
              <a:buNone/>
              <a:defRPr sz="1600"/>
            </a:lvl6pPr>
            <a:lvl7pPr marL="2742926" indent="0" algn="ctr">
              <a:buNone/>
              <a:defRPr sz="1600"/>
            </a:lvl7pPr>
            <a:lvl8pPr marL="3200080" indent="0" algn="ctr">
              <a:buNone/>
              <a:defRPr sz="1600"/>
            </a:lvl8pPr>
            <a:lvl9pPr marL="365723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2"/>
            <a:ext cx="2743200" cy="365125"/>
          </a:xfrm>
          <a:prstGeom prst="rect">
            <a:avLst/>
          </a:prstGeom>
        </p:spPr>
        <p:txBody>
          <a:bodyPr lIns="91432" tIns="45718" rIns="91432" bIns="45718"/>
          <a:lstStyle/>
          <a:p>
            <a:fld id="{D9E1E8E4-A764-4244-B671-C8D1948A40BF}" type="datetimeFigureOut">
              <a:rPr lang="en-US" smtClean="0">
                <a:solidFill>
                  <a:srgbClr val="676767"/>
                </a:solidFill>
                <a:latin typeface="Arial"/>
              </a:rPr>
              <a:pPr/>
              <a:t>10/15/19</a:t>
            </a:fld>
            <a:endParaRPr lang="en-US">
              <a:solidFill>
                <a:srgbClr val="676767"/>
              </a:solidFill>
              <a:latin typeface="Aria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lIns="91432" tIns="45718" rIns="91432" bIns="45718"/>
          <a:lstStyle/>
          <a:p>
            <a:endParaRPr lang="en-US">
              <a:solidFill>
                <a:srgbClr val="676767"/>
              </a:solidFill>
              <a:latin typeface="Aria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lIns="91432" tIns="45718" rIns="91432" bIns="45718"/>
          <a:lstStyle/>
          <a:p>
            <a:fld id="{C112A553-525E-4F6F-A5D2-9897D703A473}" type="slidenum">
              <a:rPr lang="en-US" smtClean="0">
                <a:solidFill>
                  <a:srgbClr val="676767"/>
                </a:solidFill>
                <a:latin typeface="Arial"/>
              </a:rPr>
              <a:pPr/>
              <a:t>‹#›</a:t>
            </a:fld>
            <a:endParaRPr lang="en-US">
              <a:solidFill>
                <a:srgbClr val="676767"/>
              </a:solidFill>
              <a:latin typeface="Arial"/>
            </a:endParaRPr>
          </a:p>
        </p:txBody>
      </p:sp>
    </p:spTree>
    <p:extLst>
      <p:ext uri="{BB962C8B-B14F-4D97-AF65-F5344CB8AC3E}">
        <p14:creationId xmlns:p14="http://schemas.microsoft.com/office/powerpoint/2010/main" val="36942086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laceholder 3"/>
          <p:cNvSpPr>
            <a:spLocks noGrp="1"/>
          </p:cNvSpPr>
          <p:nvPr>
            <p:ph type="title"/>
          </p:nvPr>
        </p:nvSpPr>
        <p:spPr>
          <a:xfrm>
            <a:off x="290277" y="241980"/>
            <a:ext cx="10972800" cy="1143000"/>
          </a:xfrm>
          <a:prstGeom prst="rect">
            <a:avLst/>
          </a:prstGeom>
        </p:spPr>
        <p:txBody>
          <a:bodyPr vert="horz" lIns="91432" tIns="45718" rIns="91432" bIns="45718" rtlCol="0" anchor="t" anchorCtr="0">
            <a:normAutofit/>
          </a:bodyPr>
          <a:lstStyle/>
          <a:p>
            <a:r>
              <a:rPr lang="en-US" dirty="0"/>
              <a:t>Click to edit Master title style</a:t>
            </a:r>
          </a:p>
        </p:txBody>
      </p:sp>
    </p:spTree>
    <p:extLst>
      <p:ext uri="{BB962C8B-B14F-4D97-AF65-F5344CB8AC3E}">
        <p14:creationId xmlns:p14="http://schemas.microsoft.com/office/powerpoint/2010/main" val="3026325103"/>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91412" tIns="45710" rIns="91412" bIns="45710">
            <a:noAutofit/>
          </a:bodyPr>
          <a:lstStyle>
            <a:lvl1pPr marL="76171" indent="0">
              <a:lnSpc>
                <a:spcPct val="95000"/>
              </a:lnSpc>
              <a:spcBef>
                <a:spcPts val="1480"/>
              </a:spcBef>
              <a:buClr>
                <a:schemeClr val="tx1"/>
              </a:buClr>
              <a:buSzPct val="80000"/>
              <a:buFont typeface="Arial"/>
              <a:buNone/>
              <a:defRPr sz="4900" b="0" i="0">
                <a:solidFill>
                  <a:srgbClr val="676767"/>
                </a:solidFill>
                <a:latin typeface="+mn-lt"/>
                <a:cs typeface="CiscoSans ExtraLight"/>
              </a:defRPr>
            </a:lvl1pPr>
            <a:lvl2pPr marL="389340"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091" indent="0">
              <a:buClr>
                <a:schemeClr val="tx1"/>
              </a:buClr>
              <a:buSzPct val="80000"/>
              <a:buFont typeface="Arial"/>
              <a:buNone/>
              <a:defRPr sz="2100" b="0" i="0">
                <a:solidFill>
                  <a:srgbClr val="676767"/>
                </a:solidFill>
                <a:latin typeface="+mn-lt"/>
                <a:cs typeface="CiscoSans ExtraLight"/>
              </a:defRPr>
            </a:lvl3pPr>
            <a:lvl4pPr marL="986038" indent="0">
              <a:buClr>
                <a:schemeClr val="tx1"/>
              </a:buClr>
              <a:buSzPct val="80000"/>
              <a:buFont typeface="Arial"/>
              <a:buNone/>
              <a:defRPr sz="1900" b="0" i="0">
                <a:solidFill>
                  <a:srgbClr val="676767"/>
                </a:solidFill>
                <a:latin typeface="+mn-lt"/>
                <a:cs typeface="CiscoSans ExtraLight"/>
              </a:defRPr>
            </a:lvl4pPr>
            <a:lvl5pPr marL="1218796"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835642873"/>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Bottom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6272" y="5430244"/>
            <a:ext cx="11411597" cy="838200"/>
          </a:xfrm>
        </p:spPr>
        <p:txBody>
          <a:bodyPr vert="horz" lIns="82205" tIns="45662" rIns="82205" bIns="45662" rtlCol="0" anchor="b" anchorCtr="0">
            <a:noAutofit/>
          </a:bodyPr>
          <a:lstStyle>
            <a:lvl1pPr algn="l" defTabSz="1217630" rtl="0" eaLnBrk="1" latinLnBrk="0" hangingPunct="1">
              <a:lnSpc>
                <a:spcPct val="80000"/>
              </a:lnSpc>
              <a:spcBef>
                <a:spcPct val="0"/>
              </a:spcBef>
              <a:buNone/>
              <a:defRPr lang="en-US" sz="4800" b="0" kern="1200" spc="-133"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a:t>Slide Title Goes Here</a:t>
            </a:r>
          </a:p>
        </p:txBody>
      </p:sp>
    </p:spTree>
    <p:extLst>
      <p:ext uri="{BB962C8B-B14F-4D97-AF65-F5344CB8AC3E}">
        <p14:creationId xmlns:p14="http://schemas.microsoft.com/office/powerpoint/2010/main" val="1929209387"/>
      </p:ext>
    </p:extLst>
  </p:cSld>
  <p:clrMapOvr>
    <a:masterClrMapping/>
  </p:clrMapOvr>
  <p:transition>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_Title Slide-animated gradient">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561600" y="432000"/>
            <a:ext cx="1266128" cy="780288"/>
          </a:xfrm>
          <a:prstGeom prst="rect">
            <a:avLst/>
          </a:prstGeom>
        </p:spPr>
      </p:pic>
      <p:sp>
        <p:nvSpPr>
          <p:cNvPr id="16" name="Subtitle 2"/>
          <p:cNvSpPr>
            <a:spLocks noGrp="1"/>
          </p:cNvSpPr>
          <p:nvPr>
            <p:ph type="subTitle" idx="1" hasCustomPrompt="1"/>
          </p:nvPr>
        </p:nvSpPr>
        <p:spPr>
          <a:xfrm>
            <a:off x="626001" y="5057605"/>
            <a:ext cx="11061895" cy="384175"/>
          </a:xfrm>
          <a:prstGeom prst="rect">
            <a:avLst/>
          </a:prstGeom>
        </p:spPr>
        <p:txBody>
          <a:bodyPr lIns="121874" tIns="60937" rIns="121874" bIns="60937" anchor="b" anchorCtr="0">
            <a:noAutofit/>
          </a:bodyPr>
          <a:lstStyle>
            <a:lvl1pPr marL="0" indent="0" algn="l">
              <a:buNone/>
              <a:defRPr sz="1900" b="0" i="0">
                <a:solidFill>
                  <a:srgbClr val="FFFFFE"/>
                </a:solidFill>
                <a:latin typeface="+mn-lt"/>
                <a:cs typeface="CiscoSans"/>
              </a:defRPr>
            </a:lvl1pPr>
            <a:lvl2pPr marL="457063" indent="0" algn="ctr">
              <a:buNone/>
              <a:defRPr>
                <a:solidFill>
                  <a:schemeClr val="tx1">
                    <a:tint val="75000"/>
                  </a:schemeClr>
                </a:solidFill>
              </a:defRPr>
            </a:lvl2pPr>
            <a:lvl3pPr marL="914141" indent="0" algn="ctr">
              <a:buNone/>
              <a:defRPr>
                <a:solidFill>
                  <a:schemeClr val="tx1">
                    <a:tint val="75000"/>
                  </a:schemeClr>
                </a:solidFill>
              </a:defRPr>
            </a:lvl3pPr>
            <a:lvl4pPr marL="1371210" indent="0" algn="ctr">
              <a:buNone/>
              <a:defRPr>
                <a:solidFill>
                  <a:schemeClr val="tx1">
                    <a:tint val="75000"/>
                  </a:schemeClr>
                </a:solidFill>
              </a:defRPr>
            </a:lvl4pPr>
            <a:lvl5pPr marL="1828285" indent="0" algn="ctr">
              <a:buNone/>
              <a:defRPr>
                <a:solidFill>
                  <a:schemeClr val="tx1">
                    <a:tint val="75000"/>
                  </a:schemeClr>
                </a:solidFill>
              </a:defRPr>
            </a:lvl5pPr>
            <a:lvl6pPr marL="2285350" indent="0" algn="ctr">
              <a:buNone/>
              <a:defRPr>
                <a:solidFill>
                  <a:schemeClr val="tx1">
                    <a:tint val="75000"/>
                  </a:schemeClr>
                </a:solidFill>
              </a:defRPr>
            </a:lvl6pPr>
            <a:lvl7pPr marL="2742426" indent="0" algn="ctr">
              <a:buNone/>
              <a:defRPr>
                <a:solidFill>
                  <a:schemeClr val="tx1">
                    <a:tint val="75000"/>
                  </a:schemeClr>
                </a:solidFill>
              </a:defRPr>
            </a:lvl7pPr>
            <a:lvl8pPr marL="3199493" indent="0" algn="ctr">
              <a:buNone/>
              <a:defRPr>
                <a:solidFill>
                  <a:schemeClr val="tx1">
                    <a:tint val="75000"/>
                  </a:schemeClr>
                </a:solidFill>
              </a:defRPr>
            </a:lvl8pPr>
            <a:lvl9pPr marL="3656567"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6001" y="5377601"/>
            <a:ext cx="11061895" cy="384175"/>
          </a:xfrm>
          <a:prstGeom prst="rect">
            <a:avLst/>
          </a:prstGeom>
        </p:spPr>
        <p:txBody>
          <a:bodyPr lIns="121874" tIns="60937" rIns="121874" bIns="60937"/>
          <a:lstStyle>
            <a:lvl1pPr marL="0" indent="0" algn="l">
              <a:buFontTx/>
              <a:buNone/>
              <a:defRPr lang="en-US" sz="1900"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6001" y="5697597"/>
            <a:ext cx="11061895" cy="384175"/>
          </a:xfrm>
          <a:prstGeom prst="rect">
            <a:avLst/>
          </a:prstGeom>
        </p:spPr>
        <p:txBody>
          <a:bodyPr lIns="121874" tIns="60937" rIns="121874" bIns="60937"/>
          <a:lstStyle>
            <a:lvl1pPr marL="0" indent="0" algn="l">
              <a:buFontTx/>
              <a:buNone/>
              <a:defRPr lang="en-US" sz="1900"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9" y="4281951"/>
            <a:ext cx="11070167" cy="398668"/>
          </a:xfrm>
          <a:prstGeom prst="rect">
            <a:avLst/>
          </a:prstGeom>
        </p:spPr>
        <p:txBody>
          <a:bodyPr lIns="121874" tIns="60937" rIns="121874" bIns="60937"/>
          <a:lstStyle>
            <a:lvl1pPr marL="0" indent="0">
              <a:buFont typeface="Arial" panose="020B0604020202020204" pitchFamily="34" charset="0"/>
              <a:buNone/>
              <a:defRPr sz="2900" baseline="0">
                <a:solidFill>
                  <a:srgbClr val="FFFFFE"/>
                </a:solidFill>
                <a:latin typeface="+mj-lt"/>
              </a:defRPr>
            </a:lvl1pPr>
            <a:lvl2pPr marL="406309" indent="0">
              <a:buNone/>
              <a:defRPr/>
            </a:lvl2pPr>
            <a:lvl3pPr marL="569774" indent="0">
              <a:buNone/>
              <a:defRPr/>
            </a:lvl3pPr>
            <a:lvl4pPr marL="688811" indent="0">
              <a:buNone/>
              <a:defRPr/>
            </a:lvl4pPr>
            <a:lvl5pPr marL="801495" indent="0">
              <a:buNone/>
              <a:defRPr/>
            </a:lvl5pPr>
          </a:lstStyle>
          <a:p>
            <a:pPr lvl="0"/>
            <a:r>
              <a:rPr lang="en-GB" dirty="0"/>
              <a:t>Subtitle Goes Here</a:t>
            </a:r>
          </a:p>
        </p:txBody>
      </p:sp>
      <p:sp>
        <p:nvSpPr>
          <p:cNvPr id="20" name="Title 1"/>
          <p:cNvSpPr>
            <a:spLocks noGrp="1"/>
          </p:cNvSpPr>
          <p:nvPr>
            <p:ph type="ctrTitle" hasCustomPrompt="1"/>
          </p:nvPr>
        </p:nvSpPr>
        <p:spPr>
          <a:xfrm>
            <a:off x="567689" y="3519969"/>
            <a:ext cx="11120203" cy="859640"/>
          </a:xfrm>
          <a:prstGeom prst="rect">
            <a:avLst/>
          </a:prstGeom>
        </p:spPr>
        <p:txBody>
          <a:bodyPr anchor="b"/>
          <a:lstStyle>
            <a:lvl1pPr marL="0" indent="0" algn="l">
              <a:lnSpc>
                <a:spcPct val="90000"/>
              </a:lnSpc>
              <a:buFont typeface="Arial" panose="020B0604020202020204" pitchFamily="34" charset="0"/>
              <a:buNone/>
              <a:defRPr sz="6900" b="0" i="0" spc="0" baseline="0">
                <a:solidFill>
                  <a:srgbClr val="FFFFFE"/>
                </a:solidFill>
                <a:latin typeface="+mj-lt"/>
                <a:cs typeface="CiscoSans Thin"/>
              </a:defRPr>
            </a:lvl1pPr>
          </a:lstStyle>
          <a:p>
            <a:r>
              <a:rPr lang="en-GB" dirty="0"/>
              <a:t>Presentation Title Goes Here</a:t>
            </a:r>
            <a:endParaRPr lang="en-US" dirty="0"/>
          </a:p>
        </p:txBody>
      </p:sp>
      <p:grpSp>
        <p:nvGrpSpPr>
          <p:cNvPr id="8" name="Group 67"/>
          <p:cNvGrpSpPr/>
          <p:nvPr/>
        </p:nvGrpSpPr>
        <p:grpSpPr>
          <a:xfrm>
            <a:off x="380227" y="410501"/>
            <a:ext cx="1150319" cy="613107"/>
            <a:chOff x="609606" y="528528"/>
            <a:chExt cx="1444732" cy="763787"/>
          </a:xfrm>
          <a:solidFill>
            <a:schemeClr val="bg1"/>
          </a:solidFill>
        </p:grpSpPr>
        <p:sp>
          <p:nvSpPr>
            <p:cNvPr id="9" name="Rectangle 8"/>
            <p:cNvSpPr>
              <a:spLocks noChangeArrowheads="1"/>
            </p:cNvSpPr>
            <p:nvPr/>
          </p:nvSpPr>
          <p:spPr bwMode="black">
            <a:xfrm>
              <a:off x="1016583" y="1035671"/>
              <a:ext cx="65914" cy="249729"/>
            </a:xfrm>
            <a:prstGeom prst="rect">
              <a:avLst/>
            </a:prstGeom>
            <a:grpFill/>
            <a:ln w="9525">
              <a:noFill/>
              <a:miter lim="800000"/>
              <a:headEnd/>
              <a:tailEnd/>
            </a:ln>
          </p:spPr>
          <p:txBody>
            <a:bodyPr/>
            <a:lstStyle/>
            <a:p>
              <a:pPr algn="ctr" eaLnBrk="0" fontAlgn="base" hangingPunct="0">
                <a:lnSpc>
                  <a:spcPct val="90000"/>
                </a:lnSpc>
                <a:spcBef>
                  <a:spcPct val="0"/>
                </a:spcBef>
                <a:spcAft>
                  <a:spcPct val="0"/>
                </a:spcAft>
              </a:pPr>
              <a:endParaRPr lang="en-US" sz="3200">
                <a:solidFill>
                  <a:srgbClr val="FFFFFF"/>
                </a:solidFill>
                <a:latin typeface="Arial"/>
              </a:endParaRPr>
            </a:p>
          </p:txBody>
        </p:sp>
        <p:sp>
          <p:nvSpPr>
            <p:cNvPr id="10" name="Freeform 9"/>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lgn="ctr" eaLnBrk="0" fontAlgn="base" hangingPunct="0">
                <a:lnSpc>
                  <a:spcPct val="90000"/>
                </a:lnSpc>
                <a:spcBef>
                  <a:spcPct val="0"/>
                </a:spcBef>
                <a:spcAft>
                  <a:spcPct val="0"/>
                </a:spcAft>
              </a:pPr>
              <a:endParaRPr lang="en-US" sz="3200">
                <a:solidFill>
                  <a:srgbClr val="FFFFFF"/>
                </a:solidFill>
                <a:latin typeface="Arial"/>
              </a:endParaRPr>
            </a:p>
          </p:txBody>
        </p:sp>
        <p:sp>
          <p:nvSpPr>
            <p:cNvPr id="11" name="Freeform 10"/>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lgn="ctr" eaLnBrk="0" fontAlgn="base" hangingPunct="0">
                <a:lnSpc>
                  <a:spcPct val="90000"/>
                </a:lnSpc>
                <a:spcBef>
                  <a:spcPct val="0"/>
                </a:spcBef>
                <a:spcAft>
                  <a:spcPct val="0"/>
                </a:spcAft>
              </a:pPr>
              <a:endParaRPr lang="en-US" sz="3200">
                <a:solidFill>
                  <a:srgbClr val="FFFFFF"/>
                </a:solidFill>
                <a:latin typeface="Arial"/>
              </a:endParaRPr>
            </a:p>
          </p:txBody>
        </p:sp>
        <p:sp>
          <p:nvSpPr>
            <p:cNvPr id="12" name="Freeform 11"/>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lgn="ctr" eaLnBrk="0" fontAlgn="base" hangingPunct="0">
                <a:lnSpc>
                  <a:spcPct val="90000"/>
                </a:lnSpc>
                <a:spcBef>
                  <a:spcPct val="0"/>
                </a:spcBef>
                <a:spcAft>
                  <a:spcPct val="0"/>
                </a:spcAft>
              </a:pPr>
              <a:endParaRPr lang="en-US" sz="3200">
                <a:solidFill>
                  <a:srgbClr val="FFFFFF"/>
                </a:solidFill>
                <a:latin typeface="Arial"/>
              </a:endParaRPr>
            </a:p>
          </p:txBody>
        </p:sp>
        <p:sp>
          <p:nvSpPr>
            <p:cNvPr id="13" name="Freeform 12"/>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lgn="ctr" eaLnBrk="0" fontAlgn="base" hangingPunct="0">
                <a:lnSpc>
                  <a:spcPct val="90000"/>
                </a:lnSpc>
                <a:spcBef>
                  <a:spcPct val="0"/>
                </a:spcBef>
                <a:spcAft>
                  <a:spcPct val="0"/>
                </a:spcAft>
              </a:pPr>
              <a:endParaRPr lang="en-US" sz="3200">
                <a:solidFill>
                  <a:srgbClr val="FFFFFF"/>
                </a:solidFill>
                <a:latin typeface="Arial"/>
              </a:endParaRPr>
            </a:p>
          </p:txBody>
        </p:sp>
        <p:sp>
          <p:nvSpPr>
            <p:cNvPr id="14" name="Freeform 13"/>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lgn="ctr" eaLnBrk="0" fontAlgn="base" hangingPunct="0">
                <a:lnSpc>
                  <a:spcPct val="90000"/>
                </a:lnSpc>
                <a:spcBef>
                  <a:spcPct val="0"/>
                </a:spcBef>
                <a:spcAft>
                  <a:spcPct val="0"/>
                </a:spcAft>
              </a:pPr>
              <a:endParaRPr lang="en-US" sz="3200">
                <a:solidFill>
                  <a:srgbClr val="FFFFFF"/>
                </a:solidFill>
                <a:latin typeface="Arial"/>
              </a:endParaRPr>
            </a:p>
          </p:txBody>
        </p:sp>
        <p:sp>
          <p:nvSpPr>
            <p:cNvPr id="15" name="Freeform 14"/>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lgn="ctr" eaLnBrk="0" fontAlgn="base" hangingPunct="0">
                <a:lnSpc>
                  <a:spcPct val="90000"/>
                </a:lnSpc>
                <a:spcBef>
                  <a:spcPct val="0"/>
                </a:spcBef>
                <a:spcAft>
                  <a:spcPct val="0"/>
                </a:spcAft>
              </a:pPr>
              <a:endParaRPr lang="en-US" sz="3200">
                <a:solidFill>
                  <a:srgbClr val="FFFFFF"/>
                </a:solidFill>
                <a:latin typeface="Arial"/>
              </a:endParaRPr>
            </a:p>
          </p:txBody>
        </p:sp>
        <p:sp>
          <p:nvSpPr>
            <p:cNvPr id="21" name="Freeform 2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lgn="ctr" eaLnBrk="0" fontAlgn="base" hangingPunct="0">
                <a:lnSpc>
                  <a:spcPct val="90000"/>
                </a:lnSpc>
                <a:spcBef>
                  <a:spcPct val="0"/>
                </a:spcBef>
                <a:spcAft>
                  <a:spcPct val="0"/>
                </a:spcAft>
              </a:pPr>
              <a:endParaRPr lang="en-US" sz="3200">
                <a:solidFill>
                  <a:srgbClr val="FFFFFF"/>
                </a:solidFill>
                <a:latin typeface="Arial"/>
              </a:endParaRPr>
            </a:p>
          </p:txBody>
        </p:sp>
        <p:sp>
          <p:nvSpPr>
            <p:cNvPr id="22" name="Freeform 2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lgn="ctr" eaLnBrk="0" fontAlgn="base" hangingPunct="0">
                <a:lnSpc>
                  <a:spcPct val="90000"/>
                </a:lnSpc>
                <a:spcBef>
                  <a:spcPct val="0"/>
                </a:spcBef>
                <a:spcAft>
                  <a:spcPct val="0"/>
                </a:spcAft>
              </a:pPr>
              <a:endParaRPr lang="en-US" sz="3200">
                <a:solidFill>
                  <a:srgbClr val="FFFFFF"/>
                </a:solidFill>
                <a:latin typeface="Arial"/>
              </a:endParaRPr>
            </a:p>
          </p:txBody>
        </p:sp>
        <p:sp>
          <p:nvSpPr>
            <p:cNvPr id="23" name="Freeform 2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lgn="ctr" eaLnBrk="0" fontAlgn="base" hangingPunct="0">
                <a:lnSpc>
                  <a:spcPct val="90000"/>
                </a:lnSpc>
                <a:spcBef>
                  <a:spcPct val="0"/>
                </a:spcBef>
                <a:spcAft>
                  <a:spcPct val="0"/>
                </a:spcAft>
              </a:pPr>
              <a:endParaRPr lang="en-US" sz="3200">
                <a:solidFill>
                  <a:srgbClr val="FFFFFF"/>
                </a:solidFill>
                <a:latin typeface="Arial"/>
              </a:endParaRPr>
            </a:p>
          </p:txBody>
        </p:sp>
        <p:sp>
          <p:nvSpPr>
            <p:cNvPr id="24" name="Freeform 2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lgn="ctr" eaLnBrk="0" fontAlgn="base" hangingPunct="0">
                <a:lnSpc>
                  <a:spcPct val="90000"/>
                </a:lnSpc>
                <a:spcBef>
                  <a:spcPct val="0"/>
                </a:spcBef>
                <a:spcAft>
                  <a:spcPct val="0"/>
                </a:spcAft>
              </a:pPr>
              <a:endParaRPr lang="en-US" sz="3200">
                <a:solidFill>
                  <a:srgbClr val="FFFFFF"/>
                </a:solidFill>
                <a:latin typeface="Arial"/>
              </a:endParaRPr>
            </a:p>
          </p:txBody>
        </p:sp>
        <p:sp>
          <p:nvSpPr>
            <p:cNvPr id="25" name="Freeform 2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lgn="ctr" eaLnBrk="0" fontAlgn="base" hangingPunct="0">
                <a:lnSpc>
                  <a:spcPct val="90000"/>
                </a:lnSpc>
                <a:spcBef>
                  <a:spcPct val="0"/>
                </a:spcBef>
                <a:spcAft>
                  <a:spcPct val="0"/>
                </a:spcAft>
              </a:pPr>
              <a:endParaRPr lang="en-US" sz="3200">
                <a:solidFill>
                  <a:srgbClr val="FFFFFF"/>
                </a:solidFill>
                <a:latin typeface="Arial"/>
              </a:endParaRPr>
            </a:p>
          </p:txBody>
        </p:sp>
        <p:sp>
          <p:nvSpPr>
            <p:cNvPr id="26" name="Freeform 2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lgn="ctr" eaLnBrk="0" fontAlgn="base" hangingPunct="0">
                <a:lnSpc>
                  <a:spcPct val="90000"/>
                </a:lnSpc>
                <a:spcBef>
                  <a:spcPct val="0"/>
                </a:spcBef>
                <a:spcAft>
                  <a:spcPct val="0"/>
                </a:spcAft>
              </a:pPr>
              <a:endParaRPr lang="en-US" sz="3200">
                <a:solidFill>
                  <a:srgbClr val="FFFFFF"/>
                </a:solidFill>
                <a:latin typeface="Arial"/>
              </a:endParaRPr>
            </a:p>
          </p:txBody>
        </p:sp>
        <p:sp>
          <p:nvSpPr>
            <p:cNvPr id="27" name="Freeform 2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lgn="ctr" eaLnBrk="0" fontAlgn="base" hangingPunct="0">
                <a:lnSpc>
                  <a:spcPct val="90000"/>
                </a:lnSpc>
                <a:spcBef>
                  <a:spcPct val="0"/>
                </a:spcBef>
                <a:spcAft>
                  <a:spcPct val="0"/>
                </a:spcAft>
              </a:pPr>
              <a:endParaRPr lang="en-US" sz="3200">
                <a:solidFill>
                  <a:srgbClr val="FFFFFF"/>
                </a:solidFill>
                <a:latin typeface="Arial"/>
              </a:endParaRPr>
            </a:p>
          </p:txBody>
        </p:sp>
      </p:grpSp>
    </p:spTree>
    <p:extLst>
      <p:ext uri="{BB962C8B-B14F-4D97-AF65-F5344CB8AC3E}">
        <p14:creationId xmlns:p14="http://schemas.microsoft.com/office/powerpoint/2010/main" val="3731967468"/>
      </p:ext>
    </p:extLst>
  </p:cSld>
  <p:clrMapOvr>
    <a:masterClrMapping/>
  </p:clrMapOvr>
  <p:transition spd="slow">
    <p:wip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_Photo">
    <p:spTree>
      <p:nvGrpSpPr>
        <p:cNvPr id="1" name=""/>
        <p:cNvGrpSpPr/>
        <p:nvPr/>
      </p:nvGrpSpPr>
      <p:grpSpPr>
        <a:xfrm>
          <a:off x="0" y="0"/>
          <a:ext cx="0" cy="0"/>
          <a:chOff x="0" y="0"/>
          <a:chExt cx="0" cy="0"/>
        </a:xfrm>
      </p:grpSpPr>
      <p:pic>
        <p:nvPicPr>
          <p:cNvPr id="9" name="Picture Placeholder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84" y="-3425"/>
            <a:ext cx="12200575" cy="6864857"/>
          </a:xfrm>
          <a:prstGeom prst="rect">
            <a:avLst/>
          </a:prstGeom>
        </p:spPr>
      </p:pic>
      <p:pic>
        <p:nvPicPr>
          <p:cNvPr id="15" name="Picture 8" descr="logo_black.ai"/>
          <p:cNvPicPr>
            <a:picLocks noChangeAspect="1"/>
          </p:cNvPicPr>
          <p:nvPr/>
        </p:nvPicPr>
        <p:blipFill>
          <a:blip r:embed="rId3">
            <a:alphaModFix amt="82000"/>
            <a:extLst>
              <a:ext uri="{28A0092B-C50C-407E-A947-70E740481C1C}">
                <a14:useLocalDpi xmlns:a14="http://schemas.microsoft.com/office/drawing/2010/main"/>
              </a:ext>
            </a:extLst>
          </a:blip>
          <a:srcRect/>
          <a:stretch>
            <a:fillRect/>
          </a:stretch>
        </p:blipFill>
        <p:spPr bwMode="auto">
          <a:xfrm>
            <a:off x="567274" y="427569"/>
            <a:ext cx="1265767" cy="781051"/>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Placeholder 2"/>
          <p:cNvSpPr>
            <a:spLocks noGrp="1"/>
          </p:cNvSpPr>
          <p:nvPr>
            <p:ph type="body" sz="quarter" idx="13" hasCustomPrompt="1"/>
          </p:nvPr>
        </p:nvSpPr>
        <p:spPr>
          <a:xfrm>
            <a:off x="617729" y="4281951"/>
            <a:ext cx="11070167" cy="398668"/>
          </a:xfrm>
          <a:prstGeom prst="rect">
            <a:avLst/>
          </a:prstGeom>
        </p:spPr>
        <p:txBody>
          <a:bodyPr lIns="121874" tIns="60937" rIns="121874" bIns="60937"/>
          <a:lstStyle>
            <a:lvl1pPr marL="0" indent="0">
              <a:buFont typeface="Arial" panose="020B0604020202020204" pitchFamily="34" charset="0"/>
              <a:buNone/>
              <a:defRPr sz="2900" baseline="0">
                <a:solidFill>
                  <a:srgbClr val="4D4D4D"/>
                </a:solidFill>
                <a:latin typeface="+mj-lt"/>
              </a:defRPr>
            </a:lvl1pPr>
            <a:lvl2pPr marL="406309" indent="0">
              <a:buNone/>
              <a:defRPr/>
            </a:lvl2pPr>
            <a:lvl3pPr marL="569774" indent="0">
              <a:buNone/>
              <a:defRPr/>
            </a:lvl3pPr>
            <a:lvl4pPr marL="688811" indent="0">
              <a:buNone/>
              <a:defRPr/>
            </a:lvl4pPr>
            <a:lvl5pPr marL="801495" indent="0">
              <a:buNone/>
              <a:defRPr/>
            </a:lvl5pPr>
          </a:lstStyle>
          <a:p>
            <a:pPr lvl="0"/>
            <a:r>
              <a:rPr lang="en-GB" dirty="0"/>
              <a:t>Subtitle Goes Here</a:t>
            </a:r>
          </a:p>
        </p:txBody>
      </p:sp>
      <p:sp>
        <p:nvSpPr>
          <p:cNvPr id="10" name="Title 1"/>
          <p:cNvSpPr>
            <a:spLocks noGrp="1"/>
          </p:cNvSpPr>
          <p:nvPr>
            <p:ph type="ctrTitle" hasCustomPrompt="1"/>
          </p:nvPr>
        </p:nvSpPr>
        <p:spPr>
          <a:xfrm>
            <a:off x="567689" y="3519969"/>
            <a:ext cx="11120203" cy="859640"/>
          </a:xfrm>
          <a:prstGeom prst="rect">
            <a:avLst/>
          </a:prstGeom>
        </p:spPr>
        <p:txBody>
          <a:bodyPr anchor="b"/>
          <a:lstStyle>
            <a:lvl1pPr marL="0" indent="0" algn="l">
              <a:lnSpc>
                <a:spcPct val="90000"/>
              </a:lnSpc>
              <a:buFont typeface="Arial" panose="020B0604020202020204" pitchFamily="34" charset="0"/>
              <a:buNone/>
              <a:defRPr sz="6900" b="0" i="0" spc="0" baseline="0">
                <a:solidFill>
                  <a:srgbClr val="4D4D4D"/>
                </a:solidFill>
                <a:latin typeface="+mj-lt"/>
                <a:cs typeface="CiscoSans Thin"/>
              </a:defRPr>
            </a:lvl1pPr>
          </a:lstStyle>
          <a:p>
            <a:r>
              <a:rPr lang="en-GB" dirty="0"/>
              <a:t>Presentation Title Goes Here</a:t>
            </a:r>
            <a:endParaRPr lang="en-US" dirty="0"/>
          </a:p>
        </p:txBody>
      </p:sp>
      <p:sp>
        <p:nvSpPr>
          <p:cNvPr id="21" name="Subtitle 2"/>
          <p:cNvSpPr>
            <a:spLocks noGrp="1"/>
          </p:cNvSpPr>
          <p:nvPr>
            <p:ph type="subTitle" idx="1" hasCustomPrompt="1"/>
          </p:nvPr>
        </p:nvSpPr>
        <p:spPr>
          <a:xfrm>
            <a:off x="626001" y="5057605"/>
            <a:ext cx="11061895" cy="384175"/>
          </a:xfrm>
          <a:prstGeom prst="rect">
            <a:avLst/>
          </a:prstGeom>
        </p:spPr>
        <p:txBody>
          <a:bodyPr lIns="121874" tIns="60937" rIns="121874" bIns="60937" anchor="b" anchorCtr="0">
            <a:noAutofit/>
          </a:bodyPr>
          <a:lstStyle>
            <a:lvl1pPr marL="0" indent="0" algn="l">
              <a:buNone/>
              <a:defRPr sz="1900" b="0" i="0">
                <a:solidFill>
                  <a:srgbClr val="676767"/>
                </a:solidFill>
                <a:latin typeface="+mn-lt"/>
                <a:cs typeface="CiscoSans"/>
              </a:defRPr>
            </a:lvl1pPr>
            <a:lvl2pPr marL="457063" indent="0" algn="ctr">
              <a:buNone/>
              <a:defRPr>
                <a:solidFill>
                  <a:schemeClr val="tx1">
                    <a:tint val="75000"/>
                  </a:schemeClr>
                </a:solidFill>
              </a:defRPr>
            </a:lvl2pPr>
            <a:lvl3pPr marL="914141" indent="0" algn="ctr">
              <a:buNone/>
              <a:defRPr>
                <a:solidFill>
                  <a:schemeClr val="tx1">
                    <a:tint val="75000"/>
                  </a:schemeClr>
                </a:solidFill>
              </a:defRPr>
            </a:lvl3pPr>
            <a:lvl4pPr marL="1371210" indent="0" algn="ctr">
              <a:buNone/>
              <a:defRPr>
                <a:solidFill>
                  <a:schemeClr val="tx1">
                    <a:tint val="75000"/>
                  </a:schemeClr>
                </a:solidFill>
              </a:defRPr>
            </a:lvl4pPr>
            <a:lvl5pPr marL="1828285" indent="0" algn="ctr">
              <a:buNone/>
              <a:defRPr>
                <a:solidFill>
                  <a:schemeClr val="tx1">
                    <a:tint val="75000"/>
                  </a:schemeClr>
                </a:solidFill>
              </a:defRPr>
            </a:lvl5pPr>
            <a:lvl6pPr marL="2285350" indent="0" algn="ctr">
              <a:buNone/>
              <a:defRPr>
                <a:solidFill>
                  <a:schemeClr val="tx1">
                    <a:tint val="75000"/>
                  </a:schemeClr>
                </a:solidFill>
              </a:defRPr>
            </a:lvl6pPr>
            <a:lvl7pPr marL="2742426" indent="0" algn="ctr">
              <a:buNone/>
              <a:defRPr>
                <a:solidFill>
                  <a:schemeClr val="tx1">
                    <a:tint val="75000"/>
                  </a:schemeClr>
                </a:solidFill>
              </a:defRPr>
            </a:lvl7pPr>
            <a:lvl8pPr marL="3199493" indent="0" algn="ctr">
              <a:buNone/>
              <a:defRPr>
                <a:solidFill>
                  <a:schemeClr val="tx1">
                    <a:tint val="75000"/>
                  </a:schemeClr>
                </a:solidFill>
              </a:defRPr>
            </a:lvl8pPr>
            <a:lvl9pPr marL="3656567" indent="0" algn="ctr">
              <a:buNone/>
              <a:defRPr>
                <a:solidFill>
                  <a:schemeClr val="tx1">
                    <a:tint val="75000"/>
                  </a:schemeClr>
                </a:solidFill>
              </a:defRPr>
            </a:lvl9pPr>
          </a:lstStyle>
          <a:p>
            <a:r>
              <a:rPr lang="en-GB" dirty="0"/>
              <a:t>Speaker Name</a:t>
            </a:r>
            <a:endParaRPr lang="en-US" dirty="0"/>
          </a:p>
        </p:txBody>
      </p:sp>
      <p:sp>
        <p:nvSpPr>
          <p:cNvPr id="22" name="Text Placeholder 38"/>
          <p:cNvSpPr>
            <a:spLocks noGrp="1"/>
          </p:cNvSpPr>
          <p:nvPr>
            <p:ph type="body" sz="quarter" idx="11" hasCustomPrompt="1"/>
          </p:nvPr>
        </p:nvSpPr>
        <p:spPr>
          <a:xfrm>
            <a:off x="626001" y="5377601"/>
            <a:ext cx="11061895" cy="384175"/>
          </a:xfrm>
          <a:prstGeom prst="rect">
            <a:avLst/>
          </a:prstGeom>
        </p:spPr>
        <p:txBody>
          <a:bodyPr lIns="121874" tIns="60937" rIns="121874" bIns="60937"/>
          <a:lstStyle>
            <a:lvl1pPr marL="0" indent="0" algn="l">
              <a:buFontTx/>
              <a:buNone/>
              <a:defRPr lang="en-US" sz="1900" b="0" i="0" kern="1200" dirty="0" smtClean="0">
                <a:solidFill>
                  <a:srgbClr val="676767"/>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23" name="Text Placeholder 40"/>
          <p:cNvSpPr>
            <a:spLocks noGrp="1"/>
          </p:cNvSpPr>
          <p:nvPr>
            <p:ph type="body" sz="quarter" idx="12" hasCustomPrompt="1"/>
          </p:nvPr>
        </p:nvSpPr>
        <p:spPr>
          <a:xfrm>
            <a:off x="626001" y="5697597"/>
            <a:ext cx="11061895" cy="384175"/>
          </a:xfrm>
          <a:prstGeom prst="rect">
            <a:avLst/>
          </a:prstGeom>
        </p:spPr>
        <p:txBody>
          <a:bodyPr lIns="121874" tIns="60937" rIns="121874" bIns="60937"/>
          <a:lstStyle>
            <a:lvl1pPr marL="0" indent="0" algn="l">
              <a:buFontTx/>
              <a:buNone/>
              <a:defRPr lang="en-US" sz="1900" b="0" i="0" kern="1200" dirty="0" smtClean="0">
                <a:solidFill>
                  <a:srgbClr val="676767"/>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Tree>
    <p:extLst>
      <p:ext uri="{BB962C8B-B14F-4D97-AF65-F5344CB8AC3E}">
        <p14:creationId xmlns:p14="http://schemas.microsoft.com/office/powerpoint/2010/main" val="3295995375"/>
      </p:ext>
    </p:extLst>
  </p:cSld>
  <p:clrMapOvr>
    <a:masterClrMapping/>
  </p:clrMapOvr>
  <p:transition spd="slow">
    <p:wip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2_Title_Photo">
    <p:spTree>
      <p:nvGrpSpPr>
        <p:cNvPr id="1" name=""/>
        <p:cNvGrpSpPr/>
        <p:nvPr/>
      </p:nvGrpSpPr>
      <p:grpSpPr>
        <a:xfrm>
          <a:off x="0" y="0"/>
          <a:ext cx="0" cy="0"/>
          <a:chOff x="0" y="0"/>
          <a:chExt cx="0" cy="0"/>
        </a:xfrm>
      </p:grpSpPr>
      <p:pic>
        <p:nvPicPr>
          <p:cNvPr id="18" name="Picture Placeholder 8"/>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2023" y="0"/>
            <a:ext cx="12188388" cy="68580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8" descr="logo_black.ai"/>
          <p:cNvPicPr>
            <a:picLocks noChangeAspect="1"/>
          </p:cNvPicPr>
          <p:nvPr/>
        </p:nvPicPr>
        <p:blipFill>
          <a:blip r:embed="rId3">
            <a:alphaModFix amt="82000"/>
            <a:extLst>
              <a:ext uri="{28A0092B-C50C-407E-A947-70E740481C1C}">
                <a14:useLocalDpi xmlns:a14="http://schemas.microsoft.com/office/drawing/2010/main" val="0"/>
              </a:ext>
            </a:extLst>
          </a:blip>
          <a:srcRect/>
          <a:stretch>
            <a:fillRect/>
          </a:stretch>
        </p:blipFill>
        <p:spPr bwMode="auto">
          <a:xfrm>
            <a:off x="567274" y="427569"/>
            <a:ext cx="1265767" cy="781051"/>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ubtitle 2"/>
          <p:cNvSpPr>
            <a:spLocks noGrp="1"/>
          </p:cNvSpPr>
          <p:nvPr>
            <p:ph type="subTitle" idx="1" hasCustomPrompt="1"/>
          </p:nvPr>
        </p:nvSpPr>
        <p:spPr>
          <a:xfrm>
            <a:off x="626001" y="5057605"/>
            <a:ext cx="11061895" cy="384175"/>
          </a:xfrm>
          <a:prstGeom prst="rect">
            <a:avLst/>
          </a:prstGeom>
        </p:spPr>
        <p:txBody>
          <a:bodyPr lIns="121874" tIns="60937" rIns="121874" bIns="60937" anchor="b" anchorCtr="0">
            <a:noAutofit/>
          </a:bodyPr>
          <a:lstStyle>
            <a:lvl1pPr marL="0" indent="0" algn="l">
              <a:buNone/>
              <a:defRPr sz="1900" b="0" i="0">
                <a:solidFill>
                  <a:srgbClr val="4D4D4D"/>
                </a:solidFill>
                <a:latin typeface="+mn-lt"/>
                <a:cs typeface="CiscoSans"/>
              </a:defRPr>
            </a:lvl1pPr>
            <a:lvl2pPr marL="457063" indent="0" algn="ctr">
              <a:buNone/>
              <a:defRPr>
                <a:solidFill>
                  <a:schemeClr val="tx1">
                    <a:tint val="75000"/>
                  </a:schemeClr>
                </a:solidFill>
              </a:defRPr>
            </a:lvl2pPr>
            <a:lvl3pPr marL="914141" indent="0" algn="ctr">
              <a:buNone/>
              <a:defRPr>
                <a:solidFill>
                  <a:schemeClr val="tx1">
                    <a:tint val="75000"/>
                  </a:schemeClr>
                </a:solidFill>
              </a:defRPr>
            </a:lvl3pPr>
            <a:lvl4pPr marL="1371210" indent="0" algn="ctr">
              <a:buNone/>
              <a:defRPr>
                <a:solidFill>
                  <a:schemeClr val="tx1">
                    <a:tint val="75000"/>
                  </a:schemeClr>
                </a:solidFill>
              </a:defRPr>
            </a:lvl4pPr>
            <a:lvl5pPr marL="1828285" indent="0" algn="ctr">
              <a:buNone/>
              <a:defRPr>
                <a:solidFill>
                  <a:schemeClr val="tx1">
                    <a:tint val="75000"/>
                  </a:schemeClr>
                </a:solidFill>
              </a:defRPr>
            </a:lvl5pPr>
            <a:lvl6pPr marL="2285350" indent="0" algn="ctr">
              <a:buNone/>
              <a:defRPr>
                <a:solidFill>
                  <a:schemeClr val="tx1">
                    <a:tint val="75000"/>
                  </a:schemeClr>
                </a:solidFill>
              </a:defRPr>
            </a:lvl6pPr>
            <a:lvl7pPr marL="2742426" indent="0" algn="ctr">
              <a:buNone/>
              <a:defRPr>
                <a:solidFill>
                  <a:schemeClr val="tx1">
                    <a:tint val="75000"/>
                  </a:schemeClr>
                </a:solidFill>
              </a:defRPr>
            </a:lvl7pPr>
            <a:lvl8pPr marL="3199493" indent="0" algn="ctr">
              <a:buNone/>
              <a:defRPr>
                <a:solidFill>
                  <a:schemeClr val="tx1">
                    <a:tint val="75000"/>
                  </a:schemeClr>
                </a:solidFill>
              </a:defRPr>
            </a:lvl8pPr>
            <a:lvl9pPr marL="3656567" indent="0" algn="ctr">
              <a:buNone/>
              <a:defRPr>
                <a:solidFill>
                  <a:schemeClr val="tx1">
                    <a:tint val="75000"/>
                  </a:schemeClr>
                </a:solidFill>
              </a:defRPr>
            </a:lvl9pPr>
          </a:lstStyle>
          <a:p>
            <a:r>
              <a:rPr lang="en-GB" dirty="0"/>
              <a:t>Speaker Name</a:t>
            </a:r>
            <a:endParaRPr lang="en-US" dirty="0"/>
          </a:p>
        </p:txBody>
      </p:sp>
      <p:sp>
        <p:nvSpPr>
          <p:cNvPr id="12" name="Text Placeholder 38"/>
          <p:cNvSpPr>
            <a:spLocks noGrp="1"/>
          </p:cNvSpPr>
          <p:nvPr>
            <p:ph type="body" sz="quarter" idx="11" hasCustomPrompt="1"/>
          </p:nvPr>
        </p:nvSpPr>
        <p:spPr>
          <a:xfrm>
            <a:off x="626001" y="5438075"/>
            <a:ext cx="11061895" cy="384175"/>
          </a:xfrm>
          <a:prstGeom prst="rect">
            <a:avLst/>
          </a:prstGeom>
        </p:spPr>
        <p:txBody>
          <a:bodyPr lIns="121874" tIns="60937" rIns="121874" bIns="60937"/>
          <a:lstStyle>
            <a:lvl1pPr marL="0" indent="0" algn="l">
              <a:buFontTx/>
              <a:buNone/>
              <a:defRPr lang="en-US" sz="1900"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3" name="Text Placeholder 40"/>
          <p:cNvSpPr>
            <a:spLocks noGrp="1"/>
          </p:cNvSpPr>
          <p:nvPr>
            <p:ph type="body" sz="quarter" idx="12" hasCustomPrompt="1"/>
          </p:nvPr>
        </p:nvSpPr>
        <p:spPr>
          <a:xfrm>
            <a:off x="626001" y="5818546"/>
            <a:ext cx="11061895" cy="384175"/>
          </a:xfrm>
          <a:prstGeom prst="rect">
            <a:avLst/>
          </a:prstGeom>
        </p:spPr>
        <p:txBody>
          <a:bodyPr lIns="121874" tIns="60937" rIns="121874" bIns="60937"/>
          <a:lstStyle>
            <a:lvl1pPr marL="0" indent="0" algn="l">
              <a:buFontTx/>
              <a:buNone/>
              <a:defRPr lang="en-US" sz="1900" b="0" i="0" kern="1200" dirty="0" smtClean="0">
                <a:solidFill>
                  <a:srgbClr val="4D4D4D"/>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4" name="Text Placeholder 2"/>
          <p:cNvSpPr>
            <a:spLocks noGrp="1"/>
          </p:cNvSpPr>
          <p:nvPr>
            <p:ph type="body" sz="quarter" idx="13" hasCustomPrompt="1"/>
          </p:nvPr>
        </p:nvSpPr>
        <p:spPr>
          <a:xfrm>
            <a:off x="617729" y="4281951"/>
            <a:ext cx="11070167" cy="398668"/>
          </a:xfrm>
          <a:prstGeom prst="rect">
            <a:avLst/>
          </a:prstGeom>
        </p:spPr>
        <p:txBody>
          <a:bodyPr lIns="121874" tIns="60937" rIns="121874" bIns="60937"/>
          <a:lstStyle>
            <a:lvl1pPr marL="0" indent="0">
              <a:buFont typeface="Arial" panose="020B0604020202020204" pitchFamily="34" charset="0"/>
              <a:buNone/>
              <a:defRPr sz="2900" baseline="0">
                <a:solidFill>
                  <a:srgbClr val="4D4D4D"/>
                </a:solidFill>
                <a:latin typeface="+mj-lt"/>
              </a:defRPr>
            </a:lvl1pPr>
            <a:lvl2pPr marL="406309" indent="0">
              <a:buNone/>
              <a:defRPr/>
            </a:lvl2pPr>
            <a:lvl3pPr marL="569774" indent="0">
              <a:buNone/>
              <a:defRPr/>
            </a:lvl3pPr>
            <a:lvl4pPr marL="688811" indent="0">
              <a:buNone/>
              <a:defRPr/>
            </a:lvl4pPr>
            <a:lvl5pPr marL="801495" indent="0">
              <a:buNone/>
              <a:defRPr/>
            </a:lvl5pPr>
          </a:lstStyle>
          <a:p>
            <a:pPr lvl="0"/>
            <a:r>
              <a:rPr lang="en-GB" dirty="0"/>
              <a:t>Subtitle Goes Here</a:t>
            </a:r>
          </a:p>
        </p:txBody>
      </p:sp>
      <p:sp>
        <p:nvSpPr>
          <p:cNvPr id="10" name="Title 1"/>
          <p:cNvSpPr>
            <a:spLocks noGrp="1"/>
          </p:cNvSpPr>
          <p:nvPr>
            <p:ph type="ctrTitle" hasCustomPrompt="1"/>
          </p:nvPr>
        </p:nvSpPr>
        <p:spPr>
          <a:xfrm>
            <a:off x="567689" y="3519969"/>
            <a:ext cx="11120203" cy="859640"/>
          </a:xfrm>
          <a:prstGeom prst="rect">
            <a:avLst/>
          </a:prstGeom>
        </p:spPr>
        <p:txBody>
          <a:bodyPr anchor="b"/>
          <a:lstStyle>
            <a:lvl1pPr marL="0" indent="0" algn="l">
              <a:lnSpc>
                <a:spcPct val="90000"/>
              </a:lnSpc>
              <a:buFont typeface="Arial" panose="020B0604020202020204" pitchFamily="34" charset="0"/>
              <a:buNone/>
              <a:defRPr sz="6900" b="0" i="0" spc="0" baseline="0">
                <a:solidFill>
                  <a:srgbClr val="4D4D4D"/>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3077870007"/>
      </p:ext>
    </p:extLst>
  </p:cSld>
  <p:clrMapOvr>
    <a:masterClrMapping/>
  </p:clrMapOvr>
  <p:transition spd="slow">
    <p:wip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18" tIns="45714" rIns="91418" bIns="45714" anchor="ctr"/>
          <a:lstStyle/>
          <a:p>
            <a:pPr algn="ctr" eaLnBrk="0" fontAlgn="base" hangingPunct="0">
              <a:lnSpc>
                <a:spcPct val="90000"/>
              </a:lnSpc>
              <a:spcBef>
                <a:spcPct val="0"/>
              </a:spcBef>
              <a:spcAft>
                <a:spcPct val="0"/>
              </a:spcAft>
            </a:pPr>
            <a:endParaRPr lang="en-US" sz="3200">
              <a:solidFill>
                <a:srgbClr val="676767"/>
              </a:solidFill>
              <a:latin typeface="Arial" pitchFamily="34" charset="0"/>
            </a:endParaRPr>
          </a:p>
        </p:txBody>
      </p:sp>
      <p:sp>
        <p:nvSpPr>
          <p:cNvPr id="6" name="Rectangle 3"/>
          <p:cNvSpPr>
            <a:spLocks noChangeArrowheads="1"/>
          </p:cNvSpPr>
          <p:nvPr/>
        </p:nvSpPr>
        <p:spPr bwMode="hidden">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18" tIns="45714" rIns="91418" bIns="45714" anchor="ctr"/>
          <a:lstStyle/>
          <a:p>
            <a:pPr algn="ctr" eaLnBrk="0" fontAlgn="base" hangingPunct="0">
              <a:lnSpc>
                <a:spcPct val="90000"/>
              </a:lnSpc>
              <a:spcBef>
                <a:spcPct val="0"/>
              </a:spcBef>
              <a:spcAft>
                <a:spcPct val="0"/>
              </a:spcAft>
            </a:pPr>
            <a:endParaRPr lang="en-US" sz="3200">
              <a:solidFill>
                <a:srgbClr val="676767"/>
              </a:solidFill>
              <a:latin typeface="Arial" pitchFamily="34" charset="0"/>
            </a:endParaRPr>
          </a:p>
        </p:txBody>
      </p:sp>
      <p:sp>
        <p:nvSpPr>
          <p:cNvPr id="3" name="Subtitle 2"/>
          <p:cNvSpPr>
            <a:spLocks noGrp="1"/>
          </p:cNvSpPr>
          <p:nvPr>
            <p:ph type="subTitle" idx="1" hasCustomPrompt="1"/>
          </p:nvPr>
        </p:nvSpPr>
        <p:spPr>
          <a:xfrm>
            <a:off x="666561" y="4279407"/>
            <a:ext cx="6246489" cy="384175"/>
          </a:xfrm>
          <a:prstGeom prst="rect">
            <a:avLst/>
          </a:prstGeom>
        </p:spPr>
        <p:txBody>
          <a:bodyPr vert="horz" lIns="91418" tIns="45714" rIns="91418" bIns="45714" rtlCol="0">
            <a:noAutofit/>
          </a:bodyPr>
          <a:lstStyle>
            <a:lvl1pPr marL="0" indent="0" algn="l" defTabSz="914180" rtl="0" eaLnBrk="1" latinLnBrk="0" hangingPunct="1">
              <a:lnSpc>
                <a:spcPct val="95000"/>
              </a:lnSpc>
              <a:spcBef>
                <a:spcPts val="1440"/>
              </a:spcBef>
              <a:buClr>
                <a:srgbClr val="92D050"/>
              </a:buClr>
              <a:buSzPct val="90000"/>
              <a:buFont typeface="Arial" pitchFamily="34" charset="0"/>
              <a:buNone/>
              <a:tabLst/>
              <a:defRPr lang="en-US" sz="2400" kern="1200" baseline="0" dirty="0">
                <a:solidFill>
                  <a:schemeClr val="accent3"/>
                </a:solidFill>
                <a:latin typeface="+mj-lt"/>
                <a:ea typeface="+mn-ea"/>
                <a:cs typeface="+mn-cs"/>
              </a:defRPr>
            </a:lvl1pPr>
            <a:lvl2pPr marL="457083" indent="0" algn="ctr">
              <a:buNone/>
              <a:defRPr>
                <a:solidFill>
                  <a:schemeClr val="tx1">
                    <a:tint val="75000"/>
                  </a:schemeClr>
                </a:solidFill>
              </a:defRPr>
            </a:lvl2pPr>
            <a:lvl3pPr marL="914180" indent="0" algn="ctr">
              <a:buNone/>
              <a:defRPr>
                <a:solidFill>
                  <a:schemeClr val="tx1">
                    <a:tint val="75000"/>
                  </a:schemeClr>
                </a:solidFill>
              </a:defRPr>
            </a:lvl3pPr>
            <a:lvl4pPr marL="1371268" indent="0" algn="ctr">
              <a:buNone/>
              <a:defRPr>
                <a:solidFill>
                  <a:schemeClr val="tx1">
                    <a:tint val="75000"/>
                  </a:schemeClr>
                </a:solidFill>
              </a:defRPr>
            </a:lvl4pPr>
            <a:lvl5pPr marL="1828361" indent="0" algn="ctr">
              <a:buNone/>
              <a:defRPr>
                <a:solidFill>
                  <a:schemeClr val="tx1">
                    <a:tint val="75000"/>
                  </a:schemeClr>
                </a:solidFill>
              </a:defRPr>
            </a:lvl5pPr>
            <a:lvl6pPr marL="2285446" indent="0" algn="ctr">
              <a:buNone/>
              <a:defRPr>
                <a:solidFill>
                  <a:schemeClr val="tx1">
                    <a:tint val="75000"/>
                  </a:schemeClr>
                </a:solidFill>
              </a:defRPr>
            </a:lvl6pPr>
            <a:lvl7pPr marL="2742541" indent="0" algn="ctr">
              <a:buNone/>
              <a:defRPr>
                <a:solidFill>
                  <a:schemeClr val="tx1">
                    <a:tint val="75000"/>
                  </a:schemeClr>
                </a:solidFill>
              </a:defRPr>
            </a:lvl7pPr>
            <a:lvl8pPr marL="3199627" indent="0" algn="ctr">
              <a:buNone/>
              <a:defRPr>
                <a:solidFill>
                  <a:schemeClr val="tx1">
                    <a:tint val="75000"/>
                  </a:schemeClr>
                </a:solidFill>
              </a:defRPr>
            </a:lvl8pPr>
            <a:lvl9pPr marL="3656719" indent="0" algn="ctr">
              <a:buNone/>
              <a:defRPr>
                <a:solidFill>
                  <a:schemeClr val="tx1">
                    <a:tint val="75000"/>
                  </a:schemeClr>
                </a:solidFill>
              </a:defRPr>
            </a:lvl9pPr>
          </a:lstStyle>
          <a:p>
            <a:pPr lvl="0"/>
            <a:r>
              <a:rPr lang="en-GB" dirty="0"/>
              <a:t>Presenter Name and Title Go Here</a:t>
            </a:r>
            <a:endParaRPr lang="en-US" dirty="0"/>
          </a:p>
        </p:txBody>
      </p:sp>
      <p:sp>
        <p:nvSpPr>
          <p:cNvPr id="2" name="Title 1"/>
          <p:cNvSpPr>
            <a:spLocks noGrp="1"/>
          </p:cNvSpPr>
          <p:nvPr>
            <p:ph type="ctrTitle" hasCustomPrompt="1"/>
          </p:nvPr>
        </p:nvSpPr>
        <p:spPr>
          <a:xfrm>
            <a:off x="612708" y="3282704"/>
            <a:ext cx="6283409" cy="1022351"/>
          </a:xfrm>
        </p:spPr>
        <p:txBody>
          <a:bodyPr lIns="82273" tIns="45714" rIns="82273" bIns="45714" rtlCol="0" anchor="b">
            <a:noAutofit/>
          </a:bodyPr>
          <a:lstStyle>
            <a:lvl1pPr marL="0" indent="0" algn="l" defTabSz="914180" rtl="0" eaLnBrk="1" latinLnBrk="0" hangingPunct="1">
              <a:lnSpc>
                <a:spcPct val="80000"/>
              </a:lnSpc>
              <a:spcBef>
                <a:spcPct val="0"/>
              </a:spcBef>
              <a:buClr>
                <a:schemeClr val="tx1"/>
              </a:buClr>
              <a:buFont typeface="Ciscolight" pitchFamily="2" charset="0"/>
              <a:buNone/>
              <a:defRPr lang="en-US" sz="6900" b="0" kern="1200" spc="0" baseline="0" dirty="0">
                <a:solidFill>
                  <a:srgbClr val="3E6BB4"/>
                </a:solidFill>
                <a:latin typeface="+mj-lt"/>
                <a:ea typeface="+mj-ea"/>
                <a:cs typeface="+mj-cs"/>
              </a:defRPr>
            </a:lvl1pPr>
          </a:lstStyle>
          <a:p>
            <a:r>
              <a:rPr lang="en-GB" dirty="0"/>
              <a:t>Demo Title</a:t>
            </a:r>
            <a:endParaRPr lang="en-US" dirty="0"/>
          </a:p>
        </p:txBody>
      </p:sp>
      <p:sp>
        <p:nvSpPr>
          <p:cNvPr id="31" name="Picture Placeholder 30"/>
          <p:cNvSpPr>
            <a:spLocks noGrp="1"/>
          </p:cNvSpPr>
          <p:nvPr>
            <p:ph type="pic" sz="quarter" idx="10"/>
          </p:nvPr>
        </p:nvSpPr>
        <p:spPr>
          <a:xfrm>
            <a:off x="7387179" y="1917701"/>
            <a:ext cx="3568700" cy="2889251"/>
          </a:xfrm>
          <a:prstGeom prst="rect">
            <a:avLst/>
          </a:prstGeom>
        </p:spPr>
        <p:txBody>
          <a:bodyPr lIns="121874" tIns="60937" rIns="121874" bIns="60937" anchor="ctr" anchorCtr="1"/>
          <a:lstStyle>
            <a:lvl1pPr marL="0" indent="0" algn="ctr">
              <a:buNone/>
              <a:defRPr>
                <a:solidFill>
                  <a:schemeClr val="accent3"/>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4191254491"/>
      </p:ext>
    </p:extLst>
  </p:cSld>
  <p:clrMapOvr>
    <a:masterClrMapping/>
  </p:clrMapOvr>
  <p:transition spd="slow">
    <p:wip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_Segu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p:nvSpPr>
        <p:spPr bwMode="ltGray">
          <a:xfrm>
            <a:off x="11351438" y="6334145"/>
            <a:ext cx="294063" cy="195761"/>
          </a:xfrm>
          <a:prstGeom prst="rect">
            <a:avLst/>
          </a:prstGeom>
          <a:noFill/>
          <a:ln w="9525" algn="ctr">
            <a:noFill/>
            <a:miter lim="800000"/>
            <a:headEnd/>
            <a:tailEnd/>
          </a:ln>
          <a:effectLst/>
        </p:spPr>
        <p:txBody>
          <a:bodyPr wrap="none" lIns="82101" tIns="41054" rIns="82101" bIns="41054" anchor="b">
            <a:spAutoFit/>
          </a:bodyPr>
          <a:lstStyle/>
          <a:p>
            <a:pPr algn="r" defTabSz="814192" eaLnBrk="0" hangingPunct="0">
              <a:lnSpc>
                <a:spcPct val="90000"/>
              </a:lnSpc>
              <a:defRPr/>
            </a:pPr>
            <a:fld id="{4ABDCABE-3F10-B64C-92F1-862014417034}" type="slidenum">
              <a:rPr lang="en-US" sz="800">
                <a:solidFill>
                  <a:srgbClr val="FFFFFF">
                    <a:alpha val="60000"/>
                  </a:srgbClr>
                </a:solidFill>
                <a:latin typeface="Arial"/>
                <a:cs typeface="CiscoSans Thin"/>
              </a:rPr>
              <a:pPr algn="r" defTabSz="814192" eaLnBrk="0" hangingPunct="0">
                <a:lnSpc>
                  <a:spcPct val="90000"/>
                </a:lnSpc>
                <a:defRPr/>
              </a:pPr>
              <a:t>‹#›</a:t>
            </a:fld>
            <a:endParaRPr lang="en-US" sz="800" dirty="0">
              <a:solidFill>
                <a:srgbClr val="FFFFFF">
                  <a:alpha val="60000"/>
                </a:srgbClr>
              </a:solidFill>
              <a:latin typeface="Arial"/>
              <a:cs typeface="CiscoSans Thin"/>
            </a:endParaRPr>
          </a:p>
        </p:txBody>
      </p:sp>
      <p:sp>
        <p:nvSpPr>
          <p:cNvPr id="8" name="Rectangle 4"/>
          <p:cNvSpPr>
            <a:spLocks noChangeArrowheads="1"/>
          </p:cNvSpPr>
          <p:nvPr/>
        </p:nvSpPr>
        <p:spPr bwMode="ltGray">
          <a:xfrm>
            <a:off x="7823345" y="6332473"/>
            <a:ext cx="3544024" cy="195761"/>
          </a:xfrm>
          <a:prstGeom prst="rect">
            <a:avLst/>
          </a:prstGeom>
          <a:noFill/>
          <a:ln w="9525">
            <a:noFill/>
            <a:miter lim="800000"/>
            <a:headEnd/>
            <a:tailEnd/>
          </a:ln>
          <a:effectLst/>
        </p:spPr>
        <p:txBody>
          <a:bodyPr lIns="82101" tIns="41054" rIns="82101" bIns="41054" anchor="b">
            <a:spAutoFit/>
          </a:bodyPr>
          <a:lstStyle/>
          <a:p>
            <a:pPr algn="ctr" defTabSz="814192" eaLnBrk="0" hangingPunct="0">
              <a:lnSpc>
                <a:spcPct val="90000"/>
              </a:lnSpc>
              <a:defRPr/>
            </a:pPr>
            <a:r>
              <a:rPr lang="en-US" sz="800" dirty="0">
                <a:solidFill>
                  <a:srgbClr val="FFFFFF">
                    <a:alpha val="60000"/>
                  </a:srgbClr>
                </a:solidFill>
                <a:latin typeface="Arial"/>
                <a:cs typeface="CiscoSans Thin"/>
              </a:rPr>
              <a:t>© 2015  Cisco and/or its affiliates. All rights reserved.   Cisco Confidential</a:t>
            </a:r>
          </a:p>
        </p:txBody>
      </p:sp>
      <p:pic>
        <p:nvPicPr>
          <p:cNvPr id="10" name="Picture 2" descr="C:\Users\spius\Pictures\cisco logo blue gradient.png"/>
          <p:cNvPicPr>
            <a:picLocks noChangeAspect="1" noChangeArrowheads="1"/>
          </p:cNvPicPr>
          <p:nvPr/>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632237" y="6167697"/>
            <a:ext cx="575083" cy="353568"/>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p:cNvCxnSpPr/>
          <p:nvPr/>
        </p:nvCxnSpPr>
        <p:spPr>
          <a:xfrm>
            <a:off x="0" y="6771411"/>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3425958"/>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14" tIns="45710" rIns="91414" bIns="45710" anchor="ctr"/>
          <a:lstStyle/>
          <a:p>
            <a:pPr algn="ctr" eaLnBrk="0" fontAlgn="base" hangingPunct="0">
              <a:lnSpc>
                <a:spcPct val="90000"/>
              </a:lnSpc>
              <a:spcBef>
                <a:spcPct val="0"/>
              </a:spcBef>
              <a:spcAft>
                <a:spcPct val="0"/>
              </a:spcAft>
            </a:pPr>
            <a:endParaRPr lang="en-US" sz="3200">
              <a:solidFill>
                <a:srgbClr val="676767"/>
              </a:solidFill>
              <a:latin typeface="Arial" pitchFamily="34" charset="0"/>
            </a:endParaRPr>
          </a:p>
        </p:txBody>
      </p:sp>
      <p:sp>
        <p:nvSpPr>
          <p:cNvPr id="4" name="Rectangle 6"/>
          <p:cNvSpPr>
            <a:spLocks noChangeArrowheads="1"/>
          </p:cNvSpPr>
          <p:nvPr/>
        </p:nvSpPr>
        <p:spPr bwMode="hidden">
          <a:xfrm>
            <a:off x="0" y="0"/>
            <a:ext cx="12192000" cy="17780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91414" tIns="45710" rIns="91414" bIns="45710" anchor="ctr"/>
          <a:lstStyle/>
          <a:p>
            <a:pPr algn="ctr" eaLnBrk="0" fontAlgn="base" hangingPunct="0">
              <a:lnSpc>
                <a:spcPct val="90000"/>
              </a:lnSpc>
              <a:spcBef>
                <a:spcPct val="0"/>
              </a:spcBef>
              <a:spcAft>
                <a:spcPct val="0"/>
              </a:spcAft>
            </a:pPr>
            <a:endParaRPr lang="en-US" sz="3200">
              <a:solidFill>
                <a:srgbClr val="676767"/>
              </a:solidFill>
              <a:latin typeface="Arial" pitchFamily="34" charset="0"/>
            </a:endParaRPr>
          </a:p>
        </p:txBody>
      </p:sp>
      <p:sp>
        <p:nvSpPr>
          <p:cNvPr id="7" name="Title 1"/>
          <p:cNvSpPr>
            <a:spLocks noGrp="1"/>
          </p:cNvSpPr>
          <p:nvPr>
            <p:ph type="ctrTitle" hasCustomPrompt="1"/>
          </p:nvPr>
        </p:nvSpPr>
        <p:spPr>
          <a:xfrm>
            <a:off x="555233" y="1220545"/>
            <a:ext cx="10130723" cy="3426595"/>
          </a:xfrm>
          <a:prstGeom prst="rect">
            <a:avLst/>
          </a:prstGeom>
        </p:spPr>
        <p:txBody>
          <a:bodyPr anchor="b">
            <a:noAutofit/>
          </a:bodyPr>
          <a:lstStyle>
            <a:lvl1pPr marL="0" indent="0" algn="l">
              <a:lnSpc>
                <a:spcPct val="90000"/>
              </a:lnSpc>
              <a:buFont typeface="Arial" panose="020B0604020202020204" pitchFamily="34" charset="0"/>
              <a:buNone/>
              <a:defRPr sz="6100" b="0" i="0" spc="0" baseline="0">
                <a:solidFill>
                  <a:srgbClr val="3E6BB4"/>
                </a:solidFill>
                <a:latin typeface="+mj-lt"/>
                <a:cs typeface="CiscoSans Thin"/>
              </a:defRPr>
            </a:lvl1pPr>
          </a:lstStyle>
          <a:p>
            <a:r>
              <a:rPr lang="en-GB" dirty="0"/>
              <a:t>Section Title Goes Here</a:t>
            </a:r>
            <a:endParaRPr lang="en-US" dirty="0"/>
          </a:p>
        </p:txBody>
      </p:sp>
      <p:sp>
        <p:nvSpPr>
          <p:cNvPr id="5" name="Rectangle 3"/>
          <p:cNvSpPr>
            <a:spLocks noChangeArrowheads="1"/>
          </p:cNvSpPr>
          <p:nvPr/>
        </p:nvSpPr>
        <p:spPr bwMode="white">
          <a:xfrm>
            <a:off x="0" y="0"/>
            <a:ext cx="12192000" cy="177800"/>
          </a:xfrm>
          <a:prstGeom prst="rect">
            <a:avLst/>
          </a:prstGeom>
          <a:solidFill>
            <a:schemeClr val="bg2"/>
          </a:solidFill>
          <a:ln w="25400" algn="ctr">
            <a:noFill/>
            <a:miter lim="800000"/>
            <a:headEnd/>
            <a:tailEnd/>
          </a:ln>
          <a:effectLst/>
        </p:spPr>
        <p:txBody>
          <a:bodyPr wrap="none" lIns="91422" tIns="45714" rIns="91422" bIns="45714" anchor="ctr"/>
          <a:lstStyle/>
          <a:p>
            <a:pPr algn="ctr" eaLnBrk="0" fontAlgn="base" hangingPunct="0">
              <a:lnSpc>
                <a:spcPct val="90000"/>
              </a:lnSpc>
              <a:spcBef>
                <a:spcPct val="0"/>
              </a:spcBef>
              <a:spcAft>
                <a:spcPct val="0"/>
              </a:spcAft>
            </a:pPr>
            <a:endParaRPr lang="en-US" sz="3200">
              <a:solidFill>
                <a:srgbClr val="676767"/>
              </a:solidFill>
              <a:latin typeface="Arial"/>
            </a:endParaRPr>
          </a:p>
        </p:txBody>
      </p:sp>
      <p:sp>
        <p:nvSpPr>
          <p:cNvPr id="6" name="Rectangle 3"/>
          <p:cNvSpPr>
            <a:spLocks noChangeArrowheads="1"/>
          </p:cNvSpPr>
          <p:nvPr/>
        </p:nvSpPr>
        <p:spPr bwMode="hidden">
          <a:xfrm>
            <a:off x="0" y="0"/>
            <a:ext cx="12192000" cy="177800"/>
          </a:xfrm>
          <a:prstGeom prst="rect">
            <a:avLst/>
          </a:prstGeom>
          <a:solidFill>
            <a:schemeClr val="bg2"/>
          </a:solidFill>
          <a:ln w="25400" algn="ctr">
            <a:noFill/>
            <a:miter lim="800000"/>
            <a:headEnd/>
            <a:tailEnd/>
          </a:ln>
          <a:effectLst/>
        </p:spPr>
        <p:txBody>
          <a:bodyPr wrap="none" lIns="91422" tIns="45714" rIns="91422" bIns="45714" anchor="ctr"/>
          <a:lstStyle/>
          <a:p>
            <a:pPr algn="ctr" eaLnBrk="0" fontAlgn="base" hangingPunct="0">
              <a:lnSpc>
                <a:spcPct val="90000"/>
              </a:lnSpc>
              <a:spcBef>
                <a:spcPct val="0"/>
              </a:spcBef>
              <a:spcAft>
                <a:spcPct val="0"/>
              </a:spcAft>
            </a:pPr>
            <a:endParaRPr lang="en-US" sz="3200">
              <a:solidFill>
                <a:srgbClr val="676767"/>
              </a:solidFill>
              <a:latin typeface="Arial"/>
            </a:endParaRPr>
          </a:p>
        </p:txBody>
      </p:sp>
    </p:spTree>
    <p:extLst>
      <p:ext uri="{BB962C8B-B14F-4D97-AF65-F5344CB8AC3E}">
        <p14:creationId xmlns:p14="http://schemas.microsoft.com/office/powerpoint/2010/main" val="3303320102"/>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632887" y="1797053"/>
            <a:ext cx="11040076" cy="4098595"/>
          </a:xfrm>
          <a:prstGeom prst="rect">
            <a:avLst/>
          </a:prstGeom>
        </p:spPr>
        <p:txBody>
          <a:bodyPr lIns="121874" tIns="60937" rIns="121874" bIns="60937">
            <a:noAutofit/>
          </a:bodyPr>
          <a:lstStyle>
            <a:lvl1pPr marL="380857" marR="0" indent="-380857" algn="ctr" defTabSz="609371" rtl="0" eaLnBrk="1" fontAlgn="auto" latinLnBrk="0" hangingPunct="1">
              <a:lnSpc>
                <a:spcPct val="100000"/>
              </a:lnSpc>
              <a:spcBef>
                <a:spcPct val="20000"/>
              </a:spcBef>
              <a:spcAft>
                <a:spcPts val="0"/>
              </a:spcAft>
              <a:buClrTx/>
              <a:buSzTx/>
              <a:buFont typeface="Arial"/>
              <a:buNone/>
              <a:tabLst/>
              <a:defRPr sz="2700"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583688" y="455091"/>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0" tIns="60940" rIns="121880" bIns="6094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377630213"/>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121874" tIns="60937" rIns="121874" bIns="60937">
            <a:noAutofit/>
          </a:bodyPr>
          <a:lstStyle>
            <a:lvl1pPr marL="374508" indent="-298339">
              <a:lnSpc>
                <a:spcPct val="95000"/>
              </a:lnSpc>
              <a:spcBef>
                <a:spcPts val="1480"/>
              </a:spcBef>
              <a:buClr>
                <a:schemeClr val="tx1"/>
              </a:buClr>
              <a:buSzPct val="80000"/>
              <a:buFont typeface="Arial"/>
              <a:buChar char="•"/>
              <a:defRPr sz="4900" b="0" i="0">
                <a:solidFill>
                  <a:srgbClr val="676767"/>
                </a:solidFill>
                <a:latin typeface="+mn-lt"/>
                <a:cs typeface="CiscoSans ExtraLight"/>
              </a:defRPr>
            </a:lvl1pPr>
            <a:lvl2pPr marL="677082" indent="-287755">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582" indent="-228517">
              <a:buClr>
                <a:schemeClr val="tx1"/>
              </a:buClr>
              <a:buSzPct val="80000"/>
              <a:buFont typeface="Arial"/>
              <a:buChar char="•"/>
              <a:defRPr sz="2100" b="0" i="0">
                <a:solidFill>
                  <a:srgbClr val="676767"/>
                </a:solidFill>
                <a:latin typeface="+mn-lt"/>
                <a:cs typeface="CiscoSans ExtraLight"/>
              </a:defRPr>
            </a:lvl3pPr>
            <a:lvl4pPr marL="1214512" indent="-228517">
              <a:buClr>
                <a:schemeClr val="tx1"/>
              </a:buClr>
              <a:buSzPct val="80000"/>
              <a:buFont typeface="Arial"/>
              <a:buChar char="•"/>
              <a:defRPr sz="1900" b="0" i="0">
                <a:solidFill>
                  <a:srgbClr val="676767"/>
                </a:solidFill>
                <a:latin typeface="+mn-lt"/>
                <a:cs typeface="CiscoSans ExtraLight"/>
              </a:defRPr>
            </a:lvl4pPr>
            <a:lvl5pPr marL="1443027" indent="-224284">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91"/>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0" tIns="60940" rIns="121880" bIns="6094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771328813"/>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121874" tIns="60937" rIns="121874" bIns="60937">
            <a:noAutofit/>
          </a:bodyPr>
          <a:lstStyle>
            <a:lvl1pPr marL="76169" indent="0">
              <a:lnSpc>
                <a:spcPct val="95000"/>
              </a:lnSpc>
              <a:spcBef>
                <a:spcPts val="1480"/>
              </a:spcBef>
              <a:buClr>
                <a:schemeClr val="tx1"/>
              </a:buClr>
              <a:buSzPct val="80000"/>
              <a:buFont typeface="Arial"/>
              <a:buNone/>
              <a:defRPr sz="4900" b="0" i="0">
                <a:solidFill>
                  <a:srgbClr val="676767"/>
                </a:solidFill>
                <a:latin typeface="+mn-lt"/>
                <a:cs typeface="CiscoSans ExtraLight"/>
              </a:defRPr>
            </a:lvl1pPr>
            <a:lvl2pPr marL="389324"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059" indent="0">
              <a:buClr>
                <a:schemeClr val="tx1"/>
              </a:buClr>
              <a:buSzPct val="80000"/>
              <a:buFont typeface="Arial"/>
              <a:buNone/>
              <a:defRPr sz="2100" b="0" i="0">
                <a:solidFill>
                  <a:srgbClr val="676767"/>
                </a:solidFill>
                <a:latin typeface="+mn-lt"/>
                <a:cs typeface="CiscoSans ExtraLight"/>
              </a:defRPr>
            </a:lvl3pPr>
            <a:lvl4pPr marL="985998" indent="0">
              <a:buClr>
                <a:schemeClr val="tx1"/>
              </a:buClr>
              <a:buSzPct val="80000"/>
              <a:buFont typeface="Arial"/>
              <a:buNone/>
              <a:defRPr sz="1900" b="0" i="0">
                <a:solidFill>
                  <a:srgbClr val="676767"/>
                </a:solidFill>
                <a:latin typeface="+mn-lt"/>
                <a:cs typeface="CiscoSans ExtraLight"/>
              </a:defRPr>
            </a:lvl4pPr>
            <a:lvl5pPr marL="1218746"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91"/>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0" tIns="60940" rIns="121880" bIns="6094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963673796"/>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19552" y="1194135"/>
            <a:ext cx="11198319" cy="4224280"/>
          </a:xfrm>
          <a:prstGeom prst="rect">
            <a:avLst/>
          </a:prstGeom>
        </p:spPr>
        <p:txBody>
          <a:bodyPr lIns="91412" tIns="45710" rIns="91412" bIns="45710">
            <a:noAutofit/>
          </a:bodyPr>
          <a:lstStyle>
            <a:lvl1pPr marL="76171" indent="0">
              <a:lnSpc>
                <a:spcPct val="95000"/>
              </a:lnSpc>
              <a:spcBef>
                <a:spcPts val="1480"/>
              </a:spcBef>
              <a:buClr>
                <a:schemeClr val="tx1"/>
              </a:buClr>
              <a:buSzPct val="80000"/>
              <a:buFont typeface="Arial"/>
              <a:buNone/>
              <a:defRPr sz="4900" b="0" i="0">
                <a:solidFill>
                  <a:srgbClr val="676767"/>
                </a:solidFill>
                <a:latin typeface="+mn-lt"/>
                <a:cs typeface="CiscoSans ExtraLight"/>
              </a:defRPr>
            </a:lvl1pPr>
            <a:lvl2pPr marL="389340"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091" indent="0">
              <a:buClr>
                <a:schemeClr val="tx1"/>
              </a:buClr>
              <a:buSzPct val="80000"/>
              <a:buFont typeface="Arial"/>
              <a:buNone/>
              <a:defRPr sz="2100" b="0" i="0">
                <a:solidFill>
                  <a:srgbClr val="676767"/>
                </a:solidFill>
                <a:latin typeface="+mn-lt"/>
                <a:cs typeface="CiscoSans ExtraLight"/>
              </a:defRPr>
            </a:lvl3pPr>
            <a:lvl4pPr marL="986038" indent="0">
              <a:buClr>
                <a:schemeClr val="tx1"/>
              </a:buClr>
              <a:buSzPct val="80000"/>
              <a:buFont typeface="Arial"/>
              <a:buNone/>
              <a:defRPr sz="1900" b="0" i="0">
                <a:solidFill>
                  <a:srgbClr val="676767"/>
                </a:solidFill>
                <a:latin typeface="+mn-lt"/>
                <a:cs typeface="CiscoSans ExtraLight"/>
              </a:defRPr>
            </a:lvl4pPr>
            <a:lvl5pPr marL="1218796"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2312956330"/>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19552" y="1194135"/>
            <a:ext cx="11198319" cy="4224280"/>
          </a:xfrm>
          <a:prstGeom prst="rect">
            <a:avLst/>
          </a:prstGeom>
        </p:spPr>
        <p:txBody>
          <a:bodyPr lIns="121874" tIns="60937" rIns="121874" bIns="60937">
            <a:noAutofit/>
          </a:bodyPr>
          <a:lstStyle>
            <a:lvl1pPr marL="76169" indent="0">
              <a:lnSpc>
                <a:spcPct val="95000"/>
              </a:lnSpc>
              <a:spcBef>
                <a:spcPts val="1480"/>
              </a:spcBef>
              <a:buClr>
                <a:schemeClr val="tx1"/>
              </a:buClr>
              <a:buSzPct val="80000"/>
              <a:buFont typeface="Arial"/>
              <a:buNone/>
              <a:defRPr sz="4900" b="0" i="0">
                <a:solidFill>
                  <a:srgbClr val="676767"/>
                </a:solidFill>
                <a:latin typeface="+mn-lt"/>
                <a:cs typeface="CiscoSans ExtraLight"/>
              </a:defRPr>
            </a:lvl1pPr>
            <a:lvl2pPr marL="389324"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059" indent="0">
              <a:buClr>
                <a:schemeClr val="tx1"/>
              </a:buClr>
              <a:buSzPct val="80000"/>
              <a:buFont typeface="Arial"/>
              <a:buNone/>
              <a:defRPr sz="2100" b="0" i="0">
                <a:solidFill>
                  <a:srgbClr val="676767"/>
                </a:solidFill>
                <a:latin typeface="+mn-lt"/>
                <a:cs typeface="CiscoSans ExtraLight"/>
              </a:defRPr>
            </a:lvl3pPr>
            <a:lvl4pPr marL="985998" indent="0">
              <a:buClr>
                <a:schemeClr val="tx1"/>
              </a:buClr>
              <a:buSzPct val="80000"/>
              <a:buFont typeface="Arial"/>
              <a:buNone/>
              <a:defRPr sz="1900" b="0" i="0">
                <a:solidFill>
                  <a:srgbClr val="676767"/>
                </a:solidFill>
                <a:latin typeface="+mn-lt"/>
                <a:cs typeface="CiscoSans ExtraLight"/>
              </a:defRPr>
            </a:lvl4pPr>
            <a:lvl5pPr marL="1218746"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1283750407"/>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04852" y="1168479"/>
            <a:ext cx="11013016" cy="4224280"/>
          </a:xfrm>
          <a:prstGeom prst="rect">
            <a:avLst/>
          </a:prstGeom>
        </p:spPr>
        <p:txBody>
          <a:bodyPr lIns="121874" tIns="60937" rIns="121874" bIns="60937">
            <a:noAutofit/>
          </a:bodyPr>
          <a:lstStyle>
            <a:lvl1pPr marL="283154" indent="-523114">
              <a:lnSpc>
                <a:spcPts val="5920"/>
              </a:lnSpc>
              <a:spcBef>
                <a:spcPts val="0"/>
              </a:spcBef>
              <a:buClr>
                <a:schemeClr val="tx1"/>
              </a:buClr>
              <a:buSzPct val="80000"/>
              <a:buFont typeface="Arial"/>
              <a:buChar char="•"/>
              <a:defRPr sz="4900" b="0" i="0">
                <a:solidFill>
                  <a:srgbClr val="676767"/>
                </a:solidFill>
                <a:latin typeface="+mn-lt"/>
                <a:cs typeface="CiscoSans ExtraLight"/>
              </a:defRPr>
            </a:lvl1pPr>
            <a:lvl2pPr marL="677082" indent="-287755">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582" indent="-228517">
              <a:buClr>
                <a:schemeClr val="tx1"/>
              </a:buClr>
              <a:buSzPct val="80000"/>
              <a:buFont typeface="Arial"/>
              <a:buChar char="•"/>
              <a:defRPr sz="2100" b="0" i="0">
                <a:solidFill>
                  <a:srgbClr val="676767"/>
                </a:solidFill>
                <a:latin typeface="+mn-lt"/>
                <a:cs typeface="CiscoSans ExtraLight"/>
              </a:defRPr>
            </a:lvl3pPr>
            <a:lvl4pPr marL="1214512" indent="-228517">
              <a:buClr>
                <a:schemeClr val="tx1"/>
              </a:buClr>
              <a:buSzPct val="80000"/>
              <a:buFont typeface="Arial"/>
              <a:buChar char="•"/>
              <a:defRPr sz="1900" b="0" i="0">
                <a:solidFill>
                  <a:srgbClr val="676767"/>
                </a:solidFill>
                <a:latin typeface="+mn-lt"/>
                <a:cs typeface="CiscoSans ExtraLight"/>
              </a:defRPr>
            </a:lvl4pPr>
            <a:lvl5pPr marL="1443027" indent="-224284">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Tree>
    <p:extLst>
      <p:ext uri="{BB962C8B-B14F-4D97-AF65-F5344CB8AC3E}">
        <p14:creationId xmlns:p14="http://schemas.microsoft.com/office/powerpoint/2010/main" val="1196143738"/>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5" y="1797051"/>
            <a:ext cx="11036459" cy="4224280"/>
          </a:xfrm>
          <a:prstGeom prst="rect">
            <a:avLst/>
          </a:prstGeom>
        </p:spPr>
        <p:txBody>
          <a:bodyPr lIns="121874" tIns="60937" rIns="121874" bIns="60937">
            <a:noAutofit/>
          </a:bodyPr>
          <a:lstStyle>
            <a:lvl1pPr marL="374508" indent="-298339">
              <a:lnSpc>
                <a:spcPct val="95000"/>
              </a:lnSpc>
              <a:spcBef>
                <a:spcPts val="1480"/>
              </a:spcBef>
              <a:buClr>
                <a:schemeClr val="tx1"/>
              </a:buClr>
              <a:buSzPct val="80000"/>
              <a:buFont typeface="Arial"/>
              <a:buChar char="•"/>
              <a:defRPr sz="2700" b="0" i="0">
                <a:solidFill>
                  <a:srgbClr val="676767"/>
                </a:solidFill>
                <a:latin typeface="+mn-lt"/>
                <a:cs typeface="CiscoSans ExtraLight"/>
              </a:defRPr>
            </a:lvl1pPr>
            <a:lvl2pPr marL="677082" indent="-287755">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582" indent="-228517">
              <a:buClr>
                <a:schemeClr val="tx1"/>
              </a:buClr>
              <a:buSzPct val="80000"/>
              <a:buFont typeface="Arial"/>
              <a:buChar char="•"/>
              <a:defRPr sz="2100" b="0" i="0">
                <a:solidFill>
                  <a:srgbClr val="676767"/>
                </a:solidFill>
                <a:latin typeface="+mn-lt"/>
                <a:cs typeface="CiscoSans ExtraLight"/>
              </a:defRPr>
            </a:lvl3pPr>
            <a:lvl4pPr marL="1214512" indent="-228517">
              <a:buClr>
                <a:schemeClr val="tx1"/>
              </a:buClr>
              <a:buSzPct val="80000"/>
              <a:buFont typeface="Arial"/>
              <a:buChar char="•"/>
              <a:defRPr sz="1900" b="0" i="0">
                <a:solidFill>
                  <a:srgbClr val="676767"/>
                </a:solidFill>
                <a:latin typeface="+mn-lt"/>
                <a:cs typeface="CiscoSans ExtraLight"/>
              </a:defRPr>
            </a:lvl4pPr>
            <a:lvl5pPr marL="1443027" indent="-224284">
              <a:buClr>
                <a:schemeClr val="tx1"/>
              </a:buClr>
              <a:buSzPct val="80000"/>
              <a:buFont typeface="Arial"/>
              <a:buChar char="•"/>
              <a:defRPr sz="16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91"/>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0" tIns="60940" rIns="121880" bIns="6094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117029507"/>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583695" y="1797051"/>
            <a:ext cx="5201497" cy="4110792"/>
          </a:xfrm>
          <a:prstGeom prst="rect">
            <a:avLst/>
          </a:prstGeom>
        </p:spPr>
        <p:txBody>
          <a:bodyPr lIns="121874" tIns="60937" rIns="121874" bIns="60937">
            <a:noAutofit/>
          </a:bodyPr>
          <a:lstStyle>
            <a:lvl1pPr marL="304688" indent="-228517">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71" indent="-287755">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890" indent="-228517">
              <a:buClr>
                <a:schemeClr val="tx1"/>
              </a:buClr>
              <a:buSzPct val="80000"/>
              <a:buFont typeface="Arial"/>
              <a:buChar char="•"/>
              <a:defRPr sz="2100" b="0" i="0">
                <a:solidFill>
                  <a:schemeClr val="tx1"/>
                </a:solidFill>
                <a:latin typeface="+mn-lt"/>
                <a:cs typeface="CiscoSans ExtraLight"/>
              </a:defRPr>
            </a:lvl3pPr>
            <a:lvl4pPr marL="1066401" indent="-228517">
              <a:buClr>
                <a:schemeClr val="tx1"/>
              </a:buClr>
              <a:buSzPct val="80000"/>
              <a:buFont typeface="Arial"/>
              <a:buChar char="•"/>
              <a:defRPr sz="1900" b="0" i="0">
                <a:solidFill>
                  <a:schemeClr val="tx1"/>
                </a:solidFill>
                <a:latin typeface="+mn-lt"/>
                <a:cs typeface="CiscoSans ExtraLight"/>
              </a:defRPr>
            </a:lvl4pPr>
            <a:lvl5pPr marL="1294916" indent="-228517">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ext Placeholder 3"/>
          <p:cNvSpPr>
            <a:spLocks noGrp="1"/>
          </p:cNvSpPr>
          <p:nvPr>
            <p:ph type="body" sz="quarter" idx="11" hasCustomPrompt="1"/>
          </p:nvPr>
        </p:nvSpPr>
        <p:spPr>
          <a:xfrm>
            <a:off x="6086396" y="1797051"/>
            <a:ext cx="5624613" cy="4110792"/>
          </a:xfrm>
          <a:prstGeom prst="rect">
            <a:avLst/>
          </a:prstGeom>
        </p:spPr>
        <p:txBody>
          <a:bodyPr lIns="121874" tIns="60937" rIns="121874" bIns="60937">
            <a:noAutofit/>
          </a:bodyPr>
          <a:lstStyle>
            <a:lvl1pPr marL="304688" indent="-228517">
              <a:lnSpc>
                <a:spcPct val="95000"/>
              </a:lnSpc>
              <a:spcBef>
                <a:spcPts val="1480"/>
              </a:spcBef>
              <a:buClr>
                <a:schemeClr val="tx1"/>
              </a:buClr>
              <a:buSzPct val="80000"/>
              <a:buFont typeface="Arial"/>
              <a:buChar char="•"/>
              <a:defRPr sz="2700" b="0" i="0" baseline="0">
                <a:solidFill>
                  <a:schemeClr val="tx1"/>
                </a:solidFill>
                <a:latin typeface="+mn-lt"/>
                <a:cs typeface="CiscoSans ExtraLight"/>
              </a:defRPr>
            </a:lvl1pPr>
            <a:lvl2pPr marL="609371" indent="-287755">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890" indent="-228517">
              <a:buClr>
                <a:schemeClr val="tx1"/>
              </a:buClr>
              <a:buSzPct val="80000"/>
              <a:buFont typeface="Arial"/>
              <a:buChar char="•"/>
              <a:defRPr sz="2100" b="0" i="0">
                <a:solidFill>
                  <a:schemeClr val="tx1"/>
                </a:solidFill>
                <a:latin typeface="+mn-lt"/>
                <a:cs typeface="CiscoSans ExtraLight"/>
              </a:defRPr>
            </a:lvl3pPr>
            <a:lvl4pPr marL="1066401" indent="-228517">
              <a:buClr>
                <a:schemeClr val="tx1"/>
              </a:buClr>
              <a:buSzPct val="80000"/>
              <a:buFont typeface="Arial"/>
              <a:buChar char="•"/>
              <a:defRPr sz="1900" b="0" i="0">
                <a:solidFill>
                  <a:schemeClr val="tx1"/>
                </a:solidFill>
                <a:latin typeface="+mn-lt"/>
                <a:cs typeface="CiscoSans ExtraLight"/>
              </a:defRPr>
            </a:lvl4pPr>
            <a:lvl5pPr marL="1294916" indent="-228517">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583688" y="455091"/>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0" tIns="60940" rIns="121880" bIns="6094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675858045"/>
      </p:ext>
    </p:extLst>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6087960" y="812808"/>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907" y="403347"/>
            <a:ext cx="4954660" cy="1101929"/>
          </a:xfrm>
          <a:prstGeom prst="rect">
            <a:avLst/>
          </a:prstGeom>
        </p:spPr>
        <p:txBody>
          <a:bodyPr lIns="82269" tIns="45710" rIns="82269" bIns="45710" rtlCol="0">
            <a:noAutofit/>
          </a:bodyPr>
          <a:lstStyle>
            <a:lvl1pPr algn="l" defTabSz="914141" rtl="0" eaLnBrk="1" latinLnBrk="0" hangingPunct="1">
              <a:lnSpc>
                <a:spcPct val="80000"/>
              </a:lnSpc>
              <a:spcBef>
                <a:spcPct val="0"/>
              </a:spcBef>
              <a:buNone/>
              <a:defRPr lang="en-US" sz="4300" b="0" i="0" kern="1200" spc="-100" baseline="0" dirty="0" smtClean="0">
                <a:solidFill>
                  <a:srgbClr val="676767"/>
                </a:solidFill>
                <a:latin typeface="+mj-lt"/>
                <a:ea typeface="+mj-ea"/>
                <a:cs typeface="CiscoSans Thin"/>
              </a:defRPr>
            </a:lvl1pPr>
          </a:lstStyle>
          <a:p>
            <a:r>
              <a:rPr lang="en-GB" dirty="0"/>
              <a:t>Title Goes Here</a:t>
            </a:r>
            <a:endParaRPr lang="en-US" dirty="0"/>
          </a:p>
        </p:txBody>
      </p:sp>
      <p:sp>
        <p:nvSpPr>
          <p:cNvPr id="16" name="Text Placeholder 15"/>
          <p:cNvSpPr>
            <a:spLocks noGrp="1"/>
          </p:cNvSpPr>
          <p:nvPr>
            <p:ph type="body" sz="quarter" idx="13" hasCustomPrompt="1"/>
          </p:nvPr>
        </p:nvSpPr>
        <p:spPr>
          <a:xfrm>
            <a:off x="6541287" y="403341"/>
            <a:ext cx="4954660" cy="1101928"/>
          </a:xfrm>
          <a:prstGeom prst="rect">
            <a:avLst/>
          </a:prstGeom>
        </p:spPr>
        <p:txBody>
          <a:bodyPr lIns="121874" tIns="60937" rIns="121874" bIns="60937" anchor="ctr" anchorCtr="0">
            <a:noAutofit/>
          </a:bodyPr>
          <a:lstStyle>
            <a:lvl1pPr marL="0" marR="0" indent="0" algn="l" defTabSz="914141" rtl="0" eaLnBrk="1" fontAlgn="auto" latinLnBrk="0" hangingPunct="1">
              <a:lnSpc>
                <a:spcPct val="80000"/>
              </a:lnSpc>
              <a:spcBef>
                <a:spcPct val="0"/>
              </a:spcBef>
              <a:spcAft>
                <a:spcPts val="0"/>
              </a:spcAft>
              <a:buClrTx/>
              <a:buSzTx/>
              <a:buFontTx/>
              <a:buNone/>
              <a:tabLst/>
              <a:defRPr lang="en-US" sz="4300" b="0" i="0" kern="1200" spc="-100" baseline="0" dirty="0">
                <a:solidFill>
                  <a:srgbClr val="676767"/>
                </a:solidFill>
                <a:latin typeface="+mj-lt"/>
                <a:ea typeface="+mj-ea"/>
                <a:cs typeface="CiscoSans Thin"/>
              </a:defRPr>
            </a:lvl1pPr>
          </a:lstStyle>
          <a:p>
            <a:pPr lvl="0"/>
            <a:r>
              <a:rPr lang="en-GB" dirty="0"/>
              <a:t>Title Goes Here</a:t>
            </a:r>
          </a:p>
        </p:txBody>
      </p:sp>
      <p:sp>
        <p:nvSpPr>
          <p:cNvPr id="8" name="Text Placeholder 3"/>
          <p:cNvSpPr>
            <a:spLocks noGrp="1"/>
          </p:cNvSpPr>
          <p:nvPr>
            <p:ph type="body" sz="quarter" idx="10" hasCustomPrompt="1"/>
          </p:nvPr>
        </p:nvSpPr>
        <p:spPr>
          <a:xfrm>
            <a:off x="623907" y="1797051"/>
            <a:ext cx="4954660" cy="4110792"/>
          </a:xfrm>
          <a:prstGeom prst="rect">
            <a:avLst/>
          </a:prstGeom>
        </p:spPr>
        <p:txBody>
          <a:bodyPr lIns="121874" tIns="60937" rIns="121874" bIns="60937">
            <a:noAutofit/>
          </a:bodyPr>
          <a:lstStyle>
            <a:lvl1pPr marL="304688" indent="-228517">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71" indent="-287755">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890" indent="-228517">
              <a:buClr>
                <a:schemeClr val="tx1"/>
              </a:buClr>
              <a:buSzPct val="80000"/>
              <a:buFont typeface="Arial"/>
              <a:buChar char="•"/>
              <a:defRPr sz="2100" b="0" i="0">
                <a:solidFill>
                  <a:schemeClr val="tx1"/>
                </a:solidFill>
                <a:latin typeface="+mn-lt"/>
                <a:cs typeface="CiscoSans ExtraLight"/>
              </a:defRPr>
            </a:lvl3pPr>
            <a:lvl4pPr marL="1066401" indent="-228517">
              <a:buClr>
                <a:schemeClr val="tx1"/>
              </a:buClr>
              <a:buSzPct val="80000"/>
              <a:buFont typeface="Arial"/>
              <a:buChar char="•"/>
              <a:defRPr sz="1900" b="0" i="0">
                <a:solidFill>
                  <a:schemeClr val="tx1"/>
                </a:solidFill>
                <a:latin typeface="+mn-lt"/>
                <a:cs typeface="CiscoSans ExtraLight"/>
              </a:defRPr>
            </a:lvl4pPr>
            <a:lvl5pPr marL="1294916" indent="-228517">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3"/>
          <p:cNvSpPr>
            <a:spLocks noGrp="1"/>
          </p:cNvSpPr>
          <p:nvPr>
            <p:ph type="body" sz="quarter" idx="14" hasCustomPrompt="1"/>
          </p:nvPr>
        </p:nvSpPr>
        <p:spPr>
          <a:xfrm>
            <a:off x="6541287" y="1797051"/>
            <a:ext cx="4954660" cy="4110792"/>
          </a:xfrm>
          <a:prstGeom prst="rect">
            <a:avLst/>
          </a:prstGeom>
        </p:spPr>
        <p:txBody>
          <a:bodyPr lIns="121874" tIns="60937" rIns="121874" bIns="60937">
            <a:noAutofit/>
          </a:bodyPr>
          <a:lstStyle>
            <a:lvl1pPr marL="304688" indent="-228517">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71" indent="-287755">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890" indent="-228517">
              <a:buClr>
                <a:schemeClr val="tx1"/>
              </a:buClr>
              <a:buSzPct val="80000"/>
              <a:buFont typeface="Arial"/>
              <a:buChar char="•"/>
              <a:defRPr sz="2100" b="0" i="0">
                <a:solidFill>
                  <a:schemeClr val="tx1"/>
                </a:solidFill>
                <a:latin typeface="+mn-lt"/>
                <a:cs typeface="CiscoSans ExtraLight"/>
              </a:defRPr>
            </a:lvl3pPr>
            <a:lvl4pPr marL="1066401" indent="-228517">
              <a:buClr>
                <a:schemeClr val="tx1"/>
              </a:buClr>
              <a:buSzPct val="80000"/>
              <a:buFont typeface="Arial"/>
              <a:buChar char="•"/>
              <a:defRPr sz="1900" b="0" i="0">
                <a:solidFill>
                  <a:schemeClr val="tx1"/>
                </a:solidFill>
                <a:latin typeface="+mn-lt"/>
                <a:cs typeface="CiscoSans ExtraLight"/>
              </a:defRPr>
            </a:lvl4pPr>
            <a:lvl5pPr marL="1294916" indent="-228517">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7" name="Straight Connector 6"/>
          <p:cNvCxnSpPr/>
          <p:nvPr/>
        </p:nvCxnSpPr>
        <p:spPr>
          <a:xfrm>
            <a:off x="6134100" y="812813"/>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301012"/>
      </p:ext>
    </p:extLst>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4093633" y="812808"/>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49684" y="812808"/>
            <a:ext cx="0" cy="5312833"/>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615958" y="304432"/>
            <a:ext cx="3116145" cy="1027281"/>
          </a:xfrm>
          <a:prstGeom prst="rect">
            <a:avLst/>
          </a:prstGeom>
        </p:spPr>
        <p:txBody>
          <a:bodyPr lIns="121874" tIns="60937" rIns="121874" bIns="60937" anchor="b" anchorCtr="0">
            <a:noAutofit/>
          </a:bodyPr>
          <a:lstStyle>
            <a:lvl1pPr marL="0" marR="0" indent="0" algn="l" defTabSz="914141"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4503644" y="303792"/>
            <a:ext cx="3116145" cy="1027281"/>
          </a:xfrm>
          <a:prstGeom prst="rect">
            <a:avLst/>
          </a:prstGeom>
        </p:spPr>
        <p:txBody>
          <a:bodyPr lIns="121874" tIns="60937" rIns="121874" bIns="60937" anchor="b" anchorCtr="0">
            <a:noAutofit/>
          </a:bodyPr>
          <a:lstStyle>
            <a:lvl1pPr marL="0" marR="0" indent="0" algn="l" defTabSz="914141"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8473090" y="293978"/>
            <a:ext cx="3116145" cy="1027281"/>
          </a:xfrm>
          <a:prstGeom prst="rect">
            <a:avLst/>
          </a:prstGeom>
        </p:spPr>
        <p:txBody>
          <a:bodyPr lIns="121874" tIns="60937" rIns="121874" bIns="60937" anchor="b" anchorCtr="0">
            <a:noAutofit/>
          </a:bodyPr>
          <a:lstStyle>
            <a:lvl1pPr marL="0" marR="0" indent="0" algn="l" defTabSz="914141"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615953" y="1601459"/>
            <a:ext cx="3116147" cy="4419872"/>
          </a:xfrm>
          <a:prstGeom prst="rect">
            <a:avLst/>
          </a:prstGeom>
        </p:spPr>
        <p:txBody>
          <a:bodyPr lIns="121874" tIns="60937" rIns="121874" bIns="60937">
            <a:noAutofit/>
          </a:bodyPr>
          <a:lstStyle>
            <a:lvl1pPr marL="311036" indent="-228517">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786" indent="-228517">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4503641" y="1600428"/>
            <a:ext cx="3116147" cy="4419872"/>
          </a:xfrm>
          <a:prstGeom prst="rect">
            <a:avLst/>
          </a:prstGeom>
        </p:spPr>
        <p:txBody>
          <a:bodyPr lIns="121874" tIns="60937" rIns="121874" bIns="60937">
            <a:noAutofit/>
          </a:bodyPr>
          <a:lstStyle>
            <a:lvl1pPr marL="311036" indent="-228517">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786" indent="-228517">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8473085" y="1600428"/>
            <a:ext cx="3116147" cy="4419872"/>
          </a:xfrm>
          <a:prstGeom prst="rect">
            <a:avLst/>
          </a:prstGeom>
        </p:spPr>
        <p:txBody>
          <a:bodyPr lIns="121874" tIns="60937" rIns="121874" bIns="60937">
            <a:noAutofit/>
          </a:bodyPr>
          <a:lstStyle>
            <a:lvl1pPr marL="311036" indent="-228517">
              <a:lnSpc>
                <a:spcPct val="95000"/>
              </a:lnSpc>
              <a:spcBef>
                <a:spcPts val="1480"/>
              </a:spcBef>
              <a:buClr>
                <a:schemeClr val="tx1"/>
              </a:buClr>
              <a:buSzPct val="80000"/>
              <a:buFont typeface="Arial"/>
              <a:buChar char="•"/>
              <a:defRPr sz="2100" b="0" i="0" baseline="0">
                <a:solidFill>
                  <a:srgbClr val="676767"/>
                </a:solidFill>
                <a:latin typeface="+mn-lt"/>
                <a:cs typeface="CiscoSans ExtraLight"/>
              </a:defRPr>
            </a:lvl1pPr>
            <a:lvl2pPr>
              <a:lnSpc>
                <a:spcPct val="95000"/>
              </a:lnSpc>
              <a:spcBef>
                <a:spcPts val="600"/>
              </a:spcBef>
              <a:buClr>
                <a:schemeClr val="tx1"/>
              </a:buClr>
              <a:buSzPct val="80000"/>
              <a:defRPr b="0" i="0">
                <a:solidFill>
                  <a:schemeClr val="tx1"/>
                </a:solidFill>
                <a:latin typeface="+mn-lt"/>
                <a:cs typeface="CiscoSans ExtraLight"/>
              </a:defRPr>
            </a:lvl2pPr>
            <a:lvl3pPr marL="575786" indent="-228517">
              <a:buClr>
                <a:schemeClr val="tx1"/>
              </a:buClr>
              <a:buSzPct val="80000"/>
              <a:buFont typeface="Arial"/>
              <a:buChar char="•"/>
              <a:defRPr sz="16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11" name="Straight Connector 10"/>
          <p:cNvCxnSpPr/>
          <p:nvPr/>
        </p:nvCxnSpPr>
        <p:spPr>
          <a:xfrm>
            <a:off x="4102100" y="812806"/>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8089900" y="812806"/>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3849682"/>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6760635" y="1773768"/>
            <a:ext cx="4950372" cy="413596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4" tIns="60937" rIns="121874" bIns="60937" anchor="ctr"/>
          <a:lstStyle/>
          <a:p>
            <a:pPr algn="ctr" eaLnBrk="0" hangingPunct="0">
              <a:lnSpc>
                <a:spcPct val="90000"/>
              </a:lnSpc>
              <a:defRPr/>
            </a:pPr>
            <a:endParaRPr lang="en-US" sz="3200">
              <a:solidFill>
                <a:srgbClr val="FFFFFF"/>
              </a:solidFill>
              <a:latin typeface="Arial"/>
            </a:endParaRPr>
          </a:p>
        </p:txBody>
      </p:sp>
      <p:sp>
        <p:nvSpPr>
          <p:cNvPr id="12" name="Text Placeholder 11"/>
          <p:cNvSpPr>
            <a:spLocks noGrp="1"/>
          </p:cNvSpPr>
          <p:nvPr>
            <p:ph type="body" sz="quarter" idx="11" hasCustomPrompt="1"/>
          </p:nvPr>
        </p:nvSpPr>
        <p:spPr>
          <a:xfrm>
            <a:off x="6864941" y="1975668"/>
            <a:ext cx="4501216" cy="2212024"/>
          </a:xfrm>
          <a:prstGeom prst="rect">
            <a:avLst/>
          </a:prstGeom>
        </p:spPr>
        <p:txBody>
          <a:bodyPr lIns="121874" tIns="60937" rIns="121874" bIns="60937">
            <a:noAutofit/>
          </a:bodyPr>
          <a:lstStyle>
            <a:lvl1pPr marL="114273" indent="-114273" algn="l" defTabSz="914141" rtl="0" eaLnBrk="1" latinLnBrk="0" hangingPunct="1">
              <a:lnSpc>
                <a:spcPct val="90000"/>
              </a:lnSpc>
              <a:spcBef>
                <a:spcPts val="0"/>
              </a:spcBef>
              <a:buNone/>
              <a:defRPr lang="en-US" sz="2000" kern="1200" baseline="0" dirty="0" smtClean="0">
                <a:solidFill>
                  <a:schemeClr val="tx2"/>
                </a:solidFill>
                <a:latin typeface="+mn-lt"/>
                <a:ea typeface="+mn-ea"/>
                <a:cs typeface="CiscoSans ExtraLight"/>
              </a:defRPr>
            </a:lvl1pPr>
            <a:lvl2pPr marL="114273" indent="-114273" algn="l" defTabSz="914141" rtl="0" eaLnBrk="1" latinLnBrk="0" hangingPunct="1">
              <a:defRPr lang="en-US" sz="2000" kern="1200" dirty="0" smtClean="0">
                <a:solidFill>
                  <a:schemeClr val="accent2"/>
                </a:solidFill>
                <a:latin typeface="Ciscolight" pitchFamily="2" charset="0"/>
                <a:ea typeface="+mn-ea"/>
                <a:cs typeface="+mn-cs"/>
              </a:defRPr>
            </a:lvl2pPr>
            <a:lvl3pPr marL="114273" indent="-114273" algn="l" defTabSz="914141" rtl="0" eaLnBrk="1" latinLnBrk="0" hangingPunct="1">
              <a:defRPr lang="en-US" sz="2000" kern="1200" dirty="0" smtClean="0">
                <a:solidFill>
                  <a:schemeClr val="accent2"/>
                </a:solidFill>
                <a:latin typeface="Ciscolight" pitchFamily="2" charset="0"/>
                <a:ea typeface="+mn-ea"/>
                <a:cs typeface="+mn-cs"/>
              </a:defRPr>
            </a:lvl3pPr>
            <a:lvl4pPr marL="114273" indent="-114273" algn="l" defTabSz="914141" rtl="0" eaLnBrk="1" latinLnBrk="0" hangingPunct="1">
              <a:defRPr lang="en-US" sz="2000" kern="1200" dirty="0" smtClean="0">
                <a:solidFill>
                  <a:schemeClr val="accent2"/>
                </a:solidFill>
                <a:latin typeface="Ciscolight" pitchFamily="2" charset="0"/>
                <a:ea typeface="+mn-ea"/>
                <a:cs typeface="+mn-cs"/>
              </a:defRPr>
            </a:lvl4pPr>
            <a:lvl5pPr marL="114273" indent="-114273" algn="l" defTabSz="914141" rtl="0" eaLnBrk="1" latinLnBrk="0" hangingPunct="1">
              <a:defRPr lang="en-US" sz="2000" kern="1200" dirty="0" smtClean="0">
                <a:solidFill>
                  <a:schemeClr val="accent2"/>
                </a:solidFill>
                <a:latin typeface="Ciscolight" pitchFamily="2" charset="0"/>
                <a:ea typeface="+mn-ea"/>
                <a:cs typeface="+mn-cs"/>
              </a:defRPr>
            </a:lvl5pPr>
          </a:lstStyle>
          <a:p>
            <a:pPr lvl="0"/>
            <a:r>
              <a:rPr lang="en-GB" dirty="0"/>
              <a:t>Click to edit text</a:t>
            </a:r>
          </a:p>
        </p:txBody>
      </p:sp>
      <p:sp>
        <p:nvSpPr>
          <p:cNvPr id="19" name="Text Placeholder 18"/>
          <p:cNvSpPr>
            <a:spLocks noGrp="1"/>
          </p:cNvSpPr>
          <p:nvPr>
            <p:ph type="body" sz="quarter" idx="14" hasCustomPrompt="1"/>
          </p:nvPr>
        </p:nvSpPr>
        <p:spPr>
          <a:xfrm>
            <a:off x="6864948" y="4736592"/>
            <a:ext cx="4674993" cy="338328"/>
          </a:xfrm>
          <a:prstGeom prst="rect">
            <a:avLst/>
          </a:prstGeom>
        </p:spPr>
        <p:txBody>
          <a:bodyPr lIns="121874" tIns="60937" rIns="121874" bIns="60937">
            <a:noAutofit/>
          </a:bodyPr>
          <a:lstStyle>
            <a:lvl1pPr marL="0" indent="0">
              <a:buClr>
                <a:schemeClr val="tx2"/>
              </a:buClr>
              <a:buFontTx/>
              <a:buNone/>
              <a:defRPr sz="1600">
                <a:solidFill>
                  <a:schemeClr val="tx2"/>
                </a:solidFill>
                <a:latin typeface="+mn-lt"/>
                <a:cs typeface="CiscoSans ExtraLight"/>
              </a:defRPr>
            </a:lvl1pPr>
          </a:lstStyle>
          <a:p>
            <a:pPr lvl="0"/>
            <a:r>
              <a:rPr lang="en-GB" dirty="0"/>
              <a:t>Click to edit text </a:t>
            </a:r>
          </a:p>
        </p:txBody>
      </p:sp>
      <p:sp>
        <p:nvSpPr>
          <p:cNvPr id="9" name="Text Placeholder 3"/>
          <p:cNvSpPr>
            <a:spLocks noGrp="1"/>
          </p:cNvSpPr>
          <p:nvPr>
            <p:ph type="body" sz="quarter" idx="10" hasCustomPrompt="1"/>
          </p:nvPr>
        </p:nvSpPr>
        <p:spPr>
          <a:xfrm>
            <a:off x="583695" y="1797051"/>
            <a:ext cx="5201497" cy="4110792"/>
          </a:xfrm>
          <a:prstGeom prst="rect">
            <a:avLst/>
          </a:prstGeom>
        </p:spPr>
        <p:txBody>
          <a:bodyPr lIns="121874" tIns="60937" rIns="121874" bIns="60937">
            <a:noAutofit/>
          </a:bodyPr>
          <a:lstStyle>
            <a:lvl1pPr marL="304688" indent="-228517">
              <a:lnSpc>
                <a:spcPct val="95000"/>
              </a:lnSpc>
              <a:spcBef>
                <a:spcPts val="1480"/>
              </a:spcBef>
              <a:buClr>
                <a:schemeClr val="tx1"/>
              </a:buClr>
              <a:buSzPct val="80000"/>
              <a:buFont typeface="Arial"/>
              <a:buChar char="•"/>
              <a:defRPr sz="2700" b="0" i="0">
                <a:solidFill>
                  <a:schemeClr val="tx1"/>
                </a:solidFill>
                <a:latin typeface="+mn-lt"/>
                <a:cs typeface="CiscoSans ExtraLight"/>
              </a:defRPr>
            </a:lvl1pPr>
            <a:lvl2pPr marL="609371" indent="-287755">
              <a:lnSpc>
                <a:spcPct val="95000"/>
              </a:lnSpc>
              <a:spcBef>
                <a:spcPts val="600"/>
              </a:spcBef>
              <a:buClr>
                <a:schemeClr val="tx1"/>
              </a:buClr>
              <a:buSzPct val="80000"/>
              <a:buFont typeface="Arial"/>
              <a:buChar char="•"/>
              <a:defRPr sz="2400" b="0" i="0">
                <a:solidFill>
                  <a:schemeClr val="tx1"/>
                </a:solidFill>
                <a:latin typeface="+mn-lt"/>
                <a:cs typeface="CiscoSans ExtraLight"/>
              </a:defRPr>
            </a:lvl2pPr>
            <a:lvl3pPr marL="837890" indent="-228517">
              <a:buClr>
                <a:schemeClr val="tx1"/>
              </a:buClr>
              <a:buSzPct val="80000"/>
              <a:buFont typeface="Arial"/>
              <a:buChar char="•"/>
              <a:defRPr sz="2100" b="0" i="0">
                <a:solidFill>
                  <a:schemeClr val="tx1"/>
                </a:solidFill>
                <a:latin typeface="+mn-lt"/>
                <a:cs typeface="CiscoSans ExtraLight"/>
              </a:defRPr>
            </a:lvl3pPr>
            <a:lvl4pPr marL="1066401" indent="-228517">
              <a:buClr>
                <a:schemeClr val="tx1"/>
              </a:buClr>
              <a:buSzPct val="80000"/>
              <a:buFont typeface="Arial"/>
              <a:buChar char="•"/>
              <a:defRPr sz="1900" b="0" i="0">
                <a:solidFill>
                  <a:schemeClr val="tx1"/>
                </a:solidFill>
                <a:latin typeface="+mn-lt"/>
                <a:cs typeface="CiscoSans ExtraLight"/>
              </a:defRPr>
            </a:lvl4pPr>
            <a:lvl5pPr marL="1294916" indent="-228517">
              <a:buClr>
                <a:schemeClr val="tx1"/>
              </a:buClr>
              <a:buSzPct val="80000"/>
              <a:buFont typeface="Arial"/>
              <a:buChar char="•"/>
              <a:defRPr sz="16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Placeholder 5"/>
          <p:cNvSpPr>
            <a:spLocks noGrp="1"/>
          </p:cNvSpPr>
          <p:nvPr>
            <p:ph type="title"/>
          </p:nvPr>
        </p:nvSpPr>
        <p:spPr bwMode="auto">
          <a:xfrm>
            <a:off x="583688" y="455091"/>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0" tIns="60940" rIns="121880" bIns="60940" numCol="1" anchor="ctr" anchorCtr="0" compatLnSpc="1">
            <a:prstTxWarp prst="textNoShape">
              <a:avLst/>
            </a:prstTxWarp>
          </a:bodyPr>
          <a:lstStyle/>
          <a:p>
            <a:pPr lvl="0"/>
            <a:r>
              <a:rPr lang="en-US"/>
              <a:t>Click to edit Master title style</a:t>
            </a:r>
            <a:endParaRPr lang="en-GB" dirty="0"/>
          </a:p>
        </p:txBody>
      </p:sp>
      <p:sp>
        <p:nvSpPr>
          <p:cNvPr id="7" name="Rounded Rectangle 6"/>
          <p:cNvSpPr/>
          <p:nvPr/>
        </p:nvSpPr>
        <p:spPr>
          <a:xfrm>
            <a:off x="6857472" y="1639737"/>
            <a:ext cx="4830949" cy="440847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85" tIns="60942" rIns="121885" bIns="60942" rtlCol="0" anchor="ctr"/>
          <a:lstStyle/>
          <a:p>
            <a:pPr algn="ctr" eaLnBrk="0" fontAlgn="base" hangingPunct="0">
              <a:lnSpc>
                <a:spcPct val="90000"/>
              </a:lnSpc>
              <a:spcBef>
                <a:spcPct val="0"/>
              </a:spcBef>
              <a:spcAft>
                <a:spcPct val="0"/>
              </a:spcAft>
            </a:pPr>
            <a:endParaRPr lang="en-US" sz="3200">
              <a:solidFill>
                <a:srgbClr val="FFFFFF"/>
              </a:solidFill>
              <a:latin typeface="Arial"/>
            </a:endParaRPr>
          </a:p>
        </p:txBody>
      </p:sp>
    </p:spTree>
    <p:extLst>
      <p:ext uri="{BB962C8B-B14F-4D97-AF65-F5344CB8AC3E}">
        <p14:creationId xmlns:p14="http://schemas.microsoft.com/office/powerpoint/2010/main" val="613070000"/>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91"/>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0" tIns="60940" rIns="121880" bIns="60940"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29212457"/>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624417" y="5221411"/>
            <a:ext cx="10389144" cy="465808"/>
          </a:xfrm>
          <a:prstGeom prst="rect">
            <a:avLst/>
          </a:prstGeom>
        </p:spPr>
        <p:txBody>
          <a:bodyPr wrap="square" lIns="121874" tIns="60937" rIns="121874" bIns="60937" anchor="b" anchorCtr="0">
            <a:noAutofit/>
          </a:bodyPr>
          <a:lstStyle>
            <a:lvl1pPr marL="0" indent="0" algn="l" defTabSz="804633">
              <a:lnSpc>
                <a:spcPct val="100000"/>
              </a:lnSpc>
              <a:spcBef>
                <a:spcPct val="50000"/>
              </a:spcBef>
              <a:buNone/>
              <a:defRPr sz="2900" b="0" i="0">
                <a:solidFill>
                  <a:srgbClr val="676767"/>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pPr lvl="0"/>
            <a:r>
              <a:rPr lang="en-GB" dirty="0"/>
              <a:t>Click to edit text </a:t>
            </a:r>
          </a:p>
        </p:txBody>
      </p:sp>
      <p:sp>
        <p:nvSpPr>
          <p:cNvPr id="4" name="Title 1"/>
          <p:cNvSpPr>
            <a:spLocks noGrp="1"/>
          </p:cNvSpPr>
          <p:nvPr>
            <p:ph type="ctrTitle" hasCustomPrompt="1"/>
          </p:nvPr>
        </p:nvSpPr>
        <p:spPr>
          <a:xfrm>
            <a:off x="383897" y="2054075"/>
            <a:ext cx="10629664" cy="3038449"/>
          </a:xfrm>
          <a:prstGeom prst="rect">
            <a:avLst/>
          </a:prstGeom>
        </p:spPr>
        <p:txBody>
          <a:bodyPr anchor="ctr">
            <a:noAutofit/>
          </a:bodyPr>
          <a:lstStyle>
            <a:lvl1pPr marL="244759" indent="-533201" algn="l">
              <a:lnSpc>
                <a:spcPct val="90000"/>
              </a:lnSpc>
              <a:defRPr sz="6100" b="0" i="1" spc="0" baseline="0">
                <a:solidFill>
                  <a:srgbClr val="3E6BB4"/>
                </a:solidFill>
                <a:latin typeface="+mj-lt"/>
                <a:cs typeface="CiscoSans Thin"/>
              </a:defRPr>
            </a:lvl1pPr>
          </a:lstStyle>
          <a:p>
            <a:r>
              <a:rPr lang="en-GB" dirty="0"/>
              <a:t>“Quote Goes Here”</a:t>
            </a:r>
            <a:endParaRPr lang="en-US" dirty="0"/>
          </a:p>
        </p:txBody>
      </p:sp>
    </p:spTree>
    <p:extLst>
      <p:ext uri="{BB962C8B-B14F-4D97-AF65-F5344CB8AC3E}">
        <p14:creationId xmlns:p14="http://schemas.microsoft.com/office/powerpoint/2010/main" val="3918069933"/>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6146928" y="812808"/>
            <a:ext cx="0" cy="5312833"/>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618352" y="1918754"/>
            <a:ext cx="5093797" cy="3020519"/>
          </a:xfrm>
        </p:spPr>
        <p:txBody>
          <a:bodyPr lIns="82273" tIns="45714" rIns="82273" bIns="45714" rtlCol="0" anchor="ctr">
            <a:noAutofit/>
          </a:bodyPr>
          <a:lstStyle>
            <a:lvl1pPr marL="0" indent="0" algn="l" defTabSz="914180" rtl="0" eaLnBrk="1" latinLnBrk="0" hangingPunct="1">
              <a:lnSpc>
                <a:spcPct val="80000"/>
              </a:lnSpc>
              <a:spcBef>
                <a:spcPct val="0"/>
              </a:spcBef>
              <a:buClr>
                <a:schemeClr val="tx1"/>
              </a:buClr>
              <a:buFont typeface="Ciscolight" pitchFamily="2" charset="0"/>
              <a:buNone/>
              <a:defRPr lang="en-US" sz="6000" b="0" kern="1200" spc="0" baseline="0" dirty="0">
                <a:solidFill>
                  <a:srgbClr val="2968AF"/>
                </a:solidFill>
                <a:latin typeface="+mj-lt"/>
                <a:ea typeface="+mj-ea"/>
                <a:cs typeface="+mj-cs"/>
              </a:defRPr>
            </a:lvl1pPr>
          </a:lstStyle>
          <a:p>
            <a:r>
              <a:rPr lang="en-GB" dirty="0"/>
              <a:t>Title Goes Here</a:t>
            </a:r>
            <a:endParaRPr lang="en-US" dirty="0"/>
          </a:p>
        </p:txBody>
      </p:sp>
      <p:sp>
        <p:nvSpPr>
          <p:cNvPr id="9" name="Text Placeholder 3"/>
          <p:cNvSpPr>
            <a:spLocks noGrp="1"/>
          </p:cNvSpPr>
          <p:nvPr>
            <p:ph type="body" sz="quarter" idx="11" hasCustomPrompt="1"/>
          </p:nvPr>
        </p:nvSpPr>
        <p:spPr>
          <a:xfrm>
            <a:off x="6563361" y="872691"/>
            <a:ext cx="5154507" cy="5120640"/>
          </a:xfrm>
          <a:prstGeom prst="rect">
            <a:avLst/>
          </a:prstGeom>
        </p:spPr>
        <p:txBody>
          <a:bodyPr lIns="121874" tIns="60937" rIns="121874" bIns="60937" anchor="ctr" anchorCtr="0">
            <a:noAutofit/>
          </a:bodyPr>
          <a:lstStyle>
            <a:lvl1pPr marL="0" indent="0">
              <a:buFontTx/>
              <a:buNone/>
              <a:defRPr sz="2100" baseline="0">
                <a:solidFill>
                  <a:schemeClr val="tx1"/>
                </a:solidFill>
                <a:latin typeface="+mn-lt"/>
              </a:defRPr>
            </a:lvl1pPr>
            <a:lvl2pPr>
              <a:defRPr sz="2000"/>
            </a:lvl2pPr>
            <a:lvl3pPr>
              <a:defRPr sz="2000"/>
            </a:lvl3pPr>
            <a:lvl4pPr>
              <a:defRPr sz="2000"/>
            </a:lvl4pPr>
            <a:lvl5pPr>
              <a:defRPr sz="2000"/>
            </a:lvl5pPr>
          </a:lstStyle>
          <a:p>
            <a:pPr lvl="0"/>
            <a:r>
              <a:rPr lang="en-GB" dirty="0"/>
              <a:t>Click to edit text</a:t>
            </a:r>
          </a:p>
        </p:txBody>
      </p:sp>
      <p:cxnSp>
        <p:nvCxnSpPr>
          <p:cNvPr id="6" name="Straight Connector 5"/>
          <p:cNvCxnSpPr/>
          <p:nvPr/>
        </p:nvCxnSpPr>
        <p:spPr>
          <a:xfrm>
            <a:off x="6134100" y="812813"/>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8125557"/>
      </p:ext>
    </p:extLst>
  </p:cSld>
  <p:clrMapOvr>
    <a:masterClrMapping/>
  </p:clrMapOvr>
  <p:transition spd="slow">
    <p:wip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9" Type="http://schemas.openxmlformats.org/officeDocument/2006/relationships/slideLayout" Target="../slideLayouts/slideLayout78.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42" Type="http://schemas.openxmlformats.org/officeDocument/2006/relationships/theme" Target="../theme/theme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41" Type="http://schemas.openxmlformats.org/officeDocument/2006/relationships/slideLayout" Target="../slideLayouts/slideLayout80.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40" Type="http://schemas.openxmlformats.org/officeDocument/2006/relationships/slideLayout" Target="../slideLayouts/slideLayout79.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43" Type="http://schemas.openxmlformats.org/officeDocument/2006/relationships/image" Target="../media/image1.png"/><Relationship Id="rId8" Type="http://schemas.openxmlformats.org/officeDocument/2006/relationships/slideLayout" Target="../slideLayouts/slideLayout47.xml"/><Relationship Id="rId3" Type="http://schemas.openxmlformats.org/officeDocument/2006/relationships/slideLayout" Target="../slideLayouts/slideLayout42.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slideLayout" Target="../slideLayouts/slideLayout7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image" Target="../media/image1.png"/><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41" Type="http://schemas.openxmlformats.org/officeDocument/2006/relationships/theme" Target="../theme/theme3.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8" Type="http://schemas.openxmlformats.org/officeDocument/2006/relationships/slideLayout" Target="../slideLayouts/slideLayout88.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9" Type="http://schemas.openxmlformats.org/officeDocument/2006/relationships/slideLayout" Target="../slideLayouts/slideLayout159.xml"/><Relationship Id="rId21" Type="http://schemas.openxmlformats.org/officeDocument/2006/relationships/slideLayout" Target="../slideLayouts/slideLayout141.xml"/><Relationship Id="rId34" Type="http://schemas.openxmlformats.org/officeDocument/2006/relationships/slideLayout" Target="../slideLayouts/slideLayout154.xml"/><Relationship Id="rId7" Type="http://schemas.openxmlformats.org/officeDocument/2006/relationships/slideLayout" Target="../slideLayouts/slideLayout12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41" Type="http://schemas.openxmlformats.org/officeDocument/2006/relationships/image" Target="../media/image1.png"/><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37" Type="http://schemas.openxmlformats.org/officeDocument/2006/relationships/slideLayout" Target="../slideLayouts/slideLayout157.xml"/><Relationship Id="rId40" Type="http://schemas.openxmlformats.org/officeDocument/2006/relationships/theme" Target="../theme/theme4.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36" Type="http://schemas.openxmlformats.org/officeDocument/2006/relationships/slideLayout" Target="../slideLayouts/slideLayout156.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slideLayout" Target="../slideLayouts/slideLayout151.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35" Type="http://schemas.openxmlformats.org/officeDocument/2006/relationships/slideLayout" Target="../slideLayouts/slideLayout155.xml"/><Relationship Id="rId8" Type="http://schemas.openxmlformats.org/officeDocument/2006/relationships/slideLayout" Target="../slideLayouts/slideLayout128.xml"/><Relationship Id="rId3" Type="http://schemas.openxmlformats.org/officeDocument/2006/relationships/slideLayout" Target="../slideLayouts/slideLayout123.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slideLayout" Target="../slideLayouts/slideLayout153.xml"/><Relationship Id="rId38" Type="http://schemas.openxmlformats.org/officeDocument/2006/relationships/slideLayout" Target="../slideLayouts/slideLayout15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9" Type="http://schemas.openxmlformats.org/officeDocument/2006/relationships/theme" Target="../theme/theme5.xml"/><Relationship Id="rId21" Type="http://schemas.openxmlformats.org/officeDocument/2006/relationships/slideLayout" Target="../slideLayouts/slideLayout180.xml"/><Relationship Id="rId34" Type="http://schemas.openxmlformats.org/officeDocument/2006/relationships/slideLayout" Target="../slideLayouts/slideLayout193.xml"/><Relationship Id="rId42" Type="http://schemas.openxmlformats.org/officeDocument/2006/relationships/oleObject" Target="../embeddings/oleObject1.bin"/><Relationship Id="rId7" Type="http://schemas.openxmlformats.org/officeDocument/2006/relationships/slideLayout" Target="../slideLayouts/slideLayout16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29" Type="http://schemas.openxmlformats.org/officeDocument/2006/relationships/slideLayout" Target="../slideLayouts/slideLayout188.xml"/><Relationship Id="rId41" Type="http://schemas.openxmlformats.org/officeDocument/2006/relationships/tags" Target="../tags/tag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32" Type="http://schemas.openxmlformats.org/officeDocument/2006/relationships/slideLayout" Target="../slideLayouts/slideLayout191.xml"/><Relationship Id="rId37" Type="http://schemas.openxmlformats.org/officeDocument/2006/relationships/slideLayout" Target="../slideLayouts/slideLayout196.xml"/><Relationship Id="rId40" Type="http://schemas.openxmlformats.org/officeDocument/2006/relationships/vmlDrawing" Target="../drawings/vmlDrawing1.v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36" Type="http://schemas.openxmlformats.org/officeDocument/2006/relationships/slideLayout" Target="../slideLayouts/slideLayout195.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31" Type="http://schemas.openxmlformats.org/officeDocument/2006/relationships/slideLayout" Target="../slideLayouts/slideLayout190.xml"/><Relationship Id="rId44" Type="http://schemas.openxmlformats.org/officeDocument/2006/relationships/image" Target="../media/image1.png"/><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 Id="rId35" Type="http://schemas.openxmlformats.org/officeDocument/2006/relationships/slideLayout" Target="../slideLayouts/slideLayout194.xml"/><Relationship Id="rId43" Type="http://schemas.openxmlformats.org/officeDocument/2006/relationships/image" Target="../media/image16.emf"/><Relationship Id="rId8" Type="http://schemas.openxmlformats.org/officeDocument/2006/relationships/slideLayout" Target="../slideLayouts/slideLayout167.xml"/><Relationship Id="rId3" Type="http://schemas.openxmlformats.org/officeDocument/2006/relationships/slideLayout" Target="../slideLayouts/slideLayout162.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33" Type="http://schemas.openxmlformats.org/officeDocument/2006/relationships/slideLayout" Target="../slideLayouts/slideLayout192.xml"/><Relationship Id="rId38" Type="http://schemas.openxmlformats.org/officeDocument/2006/relationships/slideLayout" Target="../slideLayouts/slideLayout19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39" Type="http://schemas.openxmlformats.org/officeDocument/2006/relationships/oleObject" Target="../embeddings/oleObject2.bin"/><Relationship Id="rId21" Type="http://schemas.openxmlformats.org/officeDocument/2006/relationships/slideLayout" Target="../slideLayouts/slideLayout218.xml"/><Relationship Id="rId34" Type="http://schemas.openxmlformats.org/officeDocument/2006/relationships/slideLayout" Target="../slideLayouts/slideLayout231.xml"/><Relationship Id="rId7" Type="http://schemas.openxmlformats.org/officeDocument/2006/relationships/slideLayout" Target="../slideLayouts/slideLayout20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29" Type="http://schemas.openxmlformats.org/officeDocument/2006/relationships/slideLayout" Target="../slideLayouts/slideLayout226.xml"/><Relationship Id="rId41" Type="http://schemas.openxmlformats.org/officeDocument/2006/relationships/image" Target="../media/image1.png"/><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32" Type="http://schemas.openxmlformats.org/officeDocument/2006/relationships/slideLayout" Target="../slideLayouts/slideLayout229.xml"/><Relationship Id="rId37" Type="http://schemas.openxmlformats.org/officeDocument/2006/relationships/vmlDrawing" Target="../drawings/vmlDrawing2.vml"/><Relationship Id="rId40" Type="http://schemas.openxmlformats.org/officeDocument/2006/relationships/image" Target="../media/image18.emf"/><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36" Type="http://schemas.openxmlformats.org/officeDocument/2006/relationships/theme" Target="../theme/theme6.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31" Type="http://schemas.openxmlformats.org/officeDocument/2006/relationships/slideLayout" Target="../slideLayouts/slideLayout228.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slideLayout" Target="../slideLayouts/slideLayout232.xml"/><Relationship Id="rId8" Type="http://schemas.openxmlformats.org/officeDocument/2006/relationships/slideLayout" Target="../slideLayouts/slideLayout205.xml"/><Relationship Id="rId3" Type="http://schemas.openxmlformats.org/officeDocument/2006/relationships/slideLayout" Target="../slideLayouts/slideLayout200.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slideLayout" Target="../slideLayouts/slideLayout230.xml"/><Relationship Id="rId38" Type="http://schemas.openxmlformats.org/officeDocument/2006/relationships/tags" Target="../tags/tag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9" Type="http://schemas.openxmlformats.org/officeDocument/2006/relationships/slideLayout" Target="../slideLayouts/slideLayout271.xml"/><Relationship Id="rId21" Type="http://schemas.openxmlformats.org/officeDocument/2006/relationships/slideLayout" Target="../slideLayouts/slideLayout253.xml"/><Relationship Id="rId34" Type="http://schemas.openxmlformats.org/officeDocument/2006/relationships/slideLayout" Target="../slideLayouts/slideLayout266.xml"/><Relationship Id="rId42" Type="http://schemas.openxmlformats.org/officeDocument/2006/relationships/slideLayout" Target="../slideLayouts/slideLayout274.xml"/><Relationship Id="rId47" Type="http://schemas.openxmlformats.org/officeDocument/2006/relationships/theme" Target="../theme/theme7.xml"/><Relationship Id="rId7" Type="http://schemas.openxmlformats.org/officeDocument/2006/relationships/slideLayout" Target="../slideLayouts/slideLayout239.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37" Type="http://schemas.openxmlformats.org/officeDocument/2006/relationships/slideLayout" Target="../slideLayouts/slideLayout269.xml"/><Relationship Id="rId40" Type="http://schemas.openxmlformats.org/officeDocument/2006/relationships/slideLayout" Target="../slideLayouts/slideLayout272.xml"/><Relationship Id="rId45" Type="http://schemas.openxmlformats.org/officeDocument/2006/relationships/slideLayout" Target="../slideLayouts/slideLayout277.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36" Type="http://schemas.openxmlformats.org/officeDocument/2006/relationships/slideLayout" Target="../slideLayouts/slideLayout268.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4" Type="http://schemas.openxmlformats.org/officeDocument/2006/relationships/slideLayout" Target="../slideLayouts/slideLayout276.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 Id="rId35" Type="http://schemas.openxmlformats.org/officeDocument/2006/relationships/slideLayout" Target="../slideLayouts/slideLayout267.xml"/><Relationship Id="rId43" Type="http://schemas.openxmlformats.org/officeDocument/2006/relationships/slideLayout" Target="../slideLayouts/slideLayout275.xml"/><Relationship Id="rId48" Type="http://schemas.openxmlformats.org/officeDocument/2006/relationships/image" Target="../media/image19.png"/><Relationship Id="rId8" Type="http://schemas.openxmlformats.org/officeDocument/2006/relationships/slideLayout" Target="../slideLayouts/slideLayout240.xml"/><Relationship Id="rId3" Type="http://schemas.openxmlformats.org/officeDocument/2006/relationships/slideLayout" Target="../slideLayouts/slideLayout235.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slideLayout" Target="../slideLayouts/slideLayout265.xml"/><Relationship Id="rId38" Type="http://schemas.openxmlformats.org/officeDocument/2006/relationships/slideLayout" Target="../slideLayouts/slideLayout270.xml"/><Relationship Id="rId46" Type="http://schemas.openxmlformats.org/officeDocument/2006/relationships/slideLayout" Target="../slideLayouts/slideLayout278.xml"/><Relationship Id="rId20" Type="http://schemas.openxmlformats.org/officeDocument/2006/relationships/slideLayout" Target="../slideLayouts/slideLayout252.xml"/><Relationship Id="rId41" Type="http://schemas.openxmlformats.org/officeDocument/2006/relationships/slideLayout" Target="../slideLayouts/slideLayout27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91.xml"/><Relationship Id="rId18" Type="http://schemas.openxmlformats.org/officeDocument/2006/relationships/slideLayout" Target="../slideLayouts/slideLayout296.xml"/><Relationship Id="rId26" Type="http://schemas.openxmlformats.org/officeDocument/2006/relationships/slideLayout" Target="../slideLayouts/slideLayout304.xml"/><Relationship Id="rId39" Type="http://schemas.openxmlformats.org/officeDocument/2006/relationships/slideLayout" Target="../slideLayouts/slideLayout317.xml"/><Relationship Id="rId21" Type="http://schemas.openxmlformats.org/officeDocument/2006/relationships/slideLayout" Target="../slideLayouts/slideLayout299.xml"/><Relationship Id="rId34" Type="http://schemas.openxmlformats.org/officeDocument/2006/relationships/slideLayout" Target="../slideLayouts/slideLayout312.xml"/><Relationship Id="rId42" Type="http://schemas.openxmlformats.org/officeDocument/2006/relationships/slideLayout" Target="../slideLayouts/slideLayout320.xml"/><Relationship Id="rId7" Type="http://schemas.openxmlformats.org/officeDocument/2006/relationships/slideLayout" Target="../slideLayouts/slideLayout285.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29" Type="http://schemas.openxmlformats.org/officeDocument/2006/relationships/slideLayout" Target="../slideLayouts/slideLayout307.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24" Type="http://schemas.openxmlformats.org/officeDocument/2006/relationships/slideLayout" Target="../slideLayouts/slideLayout302.xml"/><Relationship Id="rId32" Type="http://schemas.openxmlformats.org/officeDocument/2006/relationships/slideLayout" Target="../slideLayouts/slideLayout310.xml"/><Relationship Id="rId37" Type="http://schemas.openxmlformats.org/officeDocument/2006/relationships/slideLayout" Target="../slideLayouts/slideLayout315.xml"/><Relationship Id="rId40" Type="http://schemas.openxmlformats.org/officeDocument/2006/relationships/slideLayout" Target="../slideLayouts/slideLayout318.xml"/><Relationship Id="rId45" Type="http://schemas.openxmlformats.org/officeDocument/2006/relationships/image" Target="../media/image1.png"/><Relationship Id="rId5" Type="http://schemas.openxmlformats.org/officeDocument/2006/relationships/slideLayout" Target="../slideLayouts/slideLayout283.xml"/><Relationship Id="rId15" Type="http://schemas.openxmlformats.org/officeDocument/2006/relationships/slideLayout" Target="../slideLayouts/slideLayout293.xml"/><Relationship Id="rId23" Type="http://schemas.openxmlformats.org/officeDocument/2006/relationships/slideLayout" Target="../slideLayouts/slideLayout301.xml"/><Relationship Id="rId28" Type="http://schemas.openxmlformats.org/officeDocument/2006/relationships/slideLayout" Target="../slideLayouts/slideLayout306.xml"/><Relationship Id="rId36" Type="http://schemas.openxmlformats.org/officeDocument/2006/relationships/slideLayout" Target="../slideLayouts/slideLayout314.xml"/><Relationship Id="rId10" Type="http://schemas.openxmlformats.org/officeDocument/2006/relationships/slideLayout" Target="../slideLayouts/slideLayout288.xml"/><Relationship Id="rId19" Type="http://schemas.openxmlformats.org/officeDocument/2006/relationships/slideLayout" Target="../slideLayouts/slideLayout297.xml"/><Relationship Id="rId31" Type="http://schemas.openxmlformats.org/officeDocument/2006/relationships/slideLayout" Target="../slideLayouts/slideLayout309.xml"/><Relationship Id="rId44" Type="http://schemas.openxmlformats.org/officeDocument/2006/relationships/theme" Target="../theme/theme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 Id="rId22" Type="http://schemas.openxmlformats.org/officeDocument/2006/relationships/slideLayout" Target="../slideLayouts/slideLayout300.xml"/><Relationship Id="rId27" Type="http://schemas.openxmlformats.org/officeDocument/2006/relationships/slideLayout" Target="../slideLayouts/slideLayout305.xml"/><Relationship Id="rId30" Type="http://schemas.openxmlformats.org/officeDocument/2006/relationships/slideLayout" Target="../slideLayouts/slideLayout308.xml"/><Relationship Id="rId35" Type="http://schemas.openxmlformats.org/officeDocument/2006/relationships/slideLayout" Target="../slideLayouts/slideLayout313.xml"/><Relationship Id="rId43" Type="http://schemas.openxmlformats.org/officeDocument/2006/relationships/slideLayout" Target="../slideLayouts/slideLayout321.xml"/><Relationship Id="rId8" Type="http://schemas.openxmlformats.org/officeDocument/2006/relationships/slideLayout" Target="../slideLayouts/slideLayout286.xml"/><Relationship Id="rId3" Type="http://schemas.openxmlformats.org/officeDocument/2006/relationships/slideLayout" Target="../slideLayouts/slideLayout281.xml"/><Relationship Id="rId12" Type="http://schemas.openxmlformats.org/officeDocument/2006/relationships/slideLayout" Target="../slideLayouts/slideLayout290.xml"/><Relationship Id="rId17" Type="http://schemas.openxmlformats.org/officeDocument/2006/relationships/slideLayout" Target="../slideLayouts/slideLayout295.xml"/><Relationship Id="rId25" Type="http://schemas.openxmlformats.org/officeDocument/2006/relationships/slideLayout" Target="../slideLayouts/slideLayout303.xml"/><Relationship Id="rId33" Type="http://schemas.openxmlformats.org/officeDocument/2006/relationships/slideLayout" Target="../slideLayouts/slideLayout311.xml"/><Relationship Id="rId38" Type="http://schemas.openxmlformats.org/officeDocument/2006/relationships/slideLayout" Target="../slideLayouts/slideLayout316.xml"/><Relationship Id="rId20" Type="http://schemas.openxmlformats.org/officeDocument/2006/relationships/slideLayout" Target="../slideLayouts/slideLayout298.xml"/><Relationship Id="rId41" Type="http://schemas.openxmlformats.org/officeDocument/2006/relationships/slideLayout" Target="../slideLayouts/slideLayout3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26" Type="http://schemas.openxmlformats.org/officeDocument/2006/relationships/slideLayout" Target="../slideLayouts/slideLayout347.xml"/><Relationship Id="rId39" Type="http://schemas.openxmlformats.org/officeDocument/2006/relationships/slideLayout" Target="../slideLayouts/slideLayout360.xml"/><Relationship Id="rId21" Type="http://schemas.openxmlformats.org/officeDocument/2006/relationships/slideLayout" Target="../slideLayouts/slideLayout342.xml"/><Relationship Id="rId34" Type="http://schemas.openxmlformats.org/officeDocument/2006/relationships/slideLayout" Target="../slideLayouts/slideLayout355.xml"/><Relationship Id="rId42" Type="http://schemas.openxmlformats.org/officeDocument/2006/relationships/slideLayout" Target="../slideLayouts/slideLayout363.xml"/><Relationship Id="rId47" Type="http://schemas.openxmlformats.org/officeDocument/2006/relationships/vmlDrawing" Target="../drawings/vmlDrawing3.vml"/><Relationship Id="rId50" Type="http://schemas.openxmlformats.org/officeDocument/2006/relationships/image" Target="../media/image22.emf"/><Relationship Id="rId7" Type="http://schemas.openxmlformats.org/officeDocument/2006/relationships/slideLayout" Target="../slideLayouts/slideLayout328.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9" Type="http://schemas.openxmlformats.org/officeDocument/2006/relationships/slideLayout" Target="../slideLayouts/slideLayout350.xml"/><Relationship Id="rId11" Type="http://schemas.openxmlformats.org/officeDocument/2006/relationships/slideLayout" Target="../slideLayouts/slideLayout332.xml"/><Relationship Id="rId24" Type="http://schemas.openxmlformats.org/officeDocument/2006/relationships/slideLayout" Target="../slideLayouts/slideLayout345.xml"/><Relationship Id="rId32" Type="http://schemas.openxmlformats.org/officeDocument/2006/relationships/slideLayout" Target="../slideLayouts/slideLayout353.xml"/><Relationship Id="rId37" Type="http://schemas.openxmlformats.org/officeDocument/2006/relationships/slideLayout" Target="../slideLayouts/slideLayout358.xml"/><Relationship Id="rId40" Type="http://schemas.openxmlformats.org/officeDocument/2006/relationships/slideLayout" Target="../slideLayouts/slideLayout361.xml"/><Relationship Id="rId45" Type="http://schemas.openxmlformats.org/officeDocument/2006/relationships/slideLayout" Target="../slideLayouts/slideLayout366.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23" Type="http://schemas.openxmlformats.org/officeDocument/2006/relationships/slideLayout" Target="../slideLayouts/slideLayout344.xml"/><Relationship Id="rId28" Type="http://schemas.openxmlformats.org/officeDocument/2006/relationships/slideLayout" Target="../slideLayouts/slideLayout349.xml"/><Relationship Id="rId36" Type="http://schemas.openxmlformats.org/officeDocument/2006/relationships/slideLayout" Target="../slideLayouts/slideLayout357.xml"/><Relationship Id="rId49" Type="http://schemas.openxmlformats.org/officeDocument/2006/relationships/oleObject" Target="../embeddings/oleObject3.bin"/><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31" Type="http://schemas.openxmlformats.org/officeDocument/2006/relationships/slideLayout" Target="../slideLayouts/slideLayout352.xml"/><Relationship Id="rId44" Type="http://schemas.openxmlformats.org/officeDocument/2006/relationships/slideLayout" Target="../slideLayouts/slideLayout365.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slideLayout" Target="../slideLayouts/slideLayout343.xml"/><Relationship Id="rId27" Type="http://schemas.openxmlformats.org/officeDocument/2006/relationships/slideLayout" Target="../slideLayouts/slideLayout348.xml"/><Relationship Id="rId30" Type="http://schemas.openxmlformats.org/officeDocument/2006/relationships/slideLayout" Target="../slideLayouts/slideLayout351.xml"/><Relationship Id="rId35" Type="http://schemas.openxmlformats.org/officeDocument/2006/relationships/slideLayout" Target="../slideLayouts/slideLayout356.xml"/><Relationship Id="rId43" Type="http://schemas.openxmlformats.org/officeDocument/2006/relationships/slideLayout" Target="../slideLayouts/slideLayout364.xml"/><Relationship Id="rId48" Type="http://schemas.openxmlformats.org/officeDocument/2006/relationships/tags" Target="../tags/tag3.xml"/><Relationship Id="rId8" Type="http://schemas.openxmlformats.org/officeDocument/2006/relationships/slideLayout" Target="../slideLayouts/slideLayout329.xml"/><Relationship Id="rId51" Type="http://schemas.openxmlformats.org/officeDocument/2006/relationships/image" Target="../media/image19.png"/><Relationship Id="rId3" Type="http://schemas.openxmlformats.org/officeDocument/2006/relationships/slideLayout" Target="../slideLayouts/slideLayout324.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5" Type="http://schemas.openxmlformats.org/officeDocument/2006/relationships/slideLayout" Target="../slideLayouts/slideLayout346.xml"/><Relationship Id="rId33" Type="http://schemas.openxmlformats.org/officeDocument/2006/relationships/slideLayout" Target="../slideLayouts/slideLayout354.xml"/><Relationship Id="rId38" Type="http://schemas.openxmlformats.org/officeDocument/2006/relationships/slideLayout" Target="../slideLayouts/slideLayout359.xml"/><Relationship Id="rId46" Type="http://schemas.openxmlformats.org/officeDocument/2006/relationships/theme" Target="../theme/theme9.xml"/><Relationship Id="rId20" Type="http://schemas.openxmlformats.org/officeDocument/2006/relationships/slideLayout" Target="../slideLayouts/slideLayout341.xml"/><Relationship Id="rId41" Type="http://schemas.openxmlformats.org/officeDocument/2006/relationships/slideLayout" Target="../slideLayouts/slideLayout362.xml"/><Relationship Id="rId1" Type="http://schemas.openxmlformats.org/officeDocument/2006/relationships/slideLayout" Target="../slideLayouts/slideLayout322.xml"/><Relationship Id="rId6" Type="http://schemas.openxmlformats.org/officeDocument/2006/relationships/slideLayout" Target="../slideLayouts/slideLayout3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0C0">
            <a:alpha val="28000"/>
          </a:srgbClr>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11351429" y="6323883"/>
            <a:ext cx="294071" cy="206023"/>
          </a:xfrm>
          <a:prstGeom prst="rect">
            <a:avLst/>
          </a:prstGeom>
          <a:noFill/>
          <a:ln w="9525" algn="ctr">
            <a:noFill/>
            <a:miter lim="800000"/>
            <a:headEnd/>
            <a:tailEnd/>
          </a:ln>
          <a:effectLst/>
        </p:spPr>
        <p:txBody>
          <a:bodyPr wrap="none" lIns="82107" tIns="41054" rIns="82107" bIns="41054" anchor="b">
            <a:spAutoFit/>
          </a:bodyPr>
          <a:lstStyle/>
          <a:p>
            <a:pPr algn="r" defTabSz="814225" fontAlgn="auto">
              <a:spcBef>
                <a:spcPts val="0"/>
              </a:spcBef>
              <a:spcAft>
                <a:spcPts val="0"/>
              </a:spcAft>
              <a:defRPr/>
            </a:pPr>
            <a:fld id="{4ABDCABE-3F10-B64C-92F1-862014417034}" type="slidenum">
              <a:rPr lang="en-US" sz="800">
                <a:solidFill>
                  <a:srgbClr val="000000">
                    <a:alpha val="25000"/>
                  </a:srgbClr>
                </a:solidFill>
                <a:latin typeface="+mn-lt"/>
                <a:ea typeface="+mn-ea"/>
                <a:cs typeface="CiscoSans Thin"/>
              </a:rPr>
              <a:pPr algn="r" defTabSz="814225" fontAlgn="auto">
                <a:spcBef>
                  <a:spcPts val="0"/>
                </a:spcBef>
                <a:spcAft>
                  <a:spcPts val="0"/>
                </a:spcAft>
                <a:defRPr/>
              </a:pPr>
              <a:t>‹#›</a:t>
            </a:fld>
            <a:endParaRPr lang="en-US" sz="800" dirty="0">
              <a:solidFill>
                <a:srgbClr val="000000">
                  <a:alpha val="25000"/>
                </a:srgbClr>
              </a:solidFill>
              <a:latin typeface="+mn-lt"/>
              <a:ea typeface="+mn-ea"/>
              <a:cs typeface="CiscoSans Thin"/>
            </a:endParaRPr>
          </a:p>
        </p:txBody>
      </p:sp>
      <p:pic>
        <p:nvPicPr>
          <p:cNvPr id="7" name="Picture 2" descr="C:\Users\spius\Pictures\cisco logo blue gradient.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632233" y="6167697"/>
            <a:ext cx="575083" cy="35356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
          <p:cNvSpPr>
            <a:spLocks noChangeArrowheads="1"/>
          </p:cNvSpPr>
          <p:nvPr userDrawn="1"/>
        </p:nvSpPr>
        <p:spPr bwMode="ltGray">
          <a:xfrm>
            <a:off x="8463280" y="6366747"/>
            <a:ext cx="2646126" cy="154518"/>
          </a:xfrm>
          <a:prstGeom prst="rect">
            <a:avLst/>
          </a:prstGeom>
          <a:noFill/>
          <a:ln w="9525">
            <a:noFill/>
            <a:miter lim="800000"/>
            <a:headEnd/>
            <a:tailEnd/>
          </a:ln>
          <a:effectLst/>
        </p:spPr>
        <p:txBody>
          <a:bodyPr wrap="square" lIns="61586" tIns="30792" rIns="61586" bIns="30792" anchor="b">
            <a:spAutoFit/>
          </a:bodyPr>
          <a:lstStyle/>
          <a:p>
            <a:pPr algn="r" defTabSz="610744"/>
            <a:r>
              <a:rPr lang="en-US" sz="600" b="1" dirty="0">
                <a:solidFill>
                  <a:srgbClr val="000000"/>
                </a:solidFill>
                <a:ea typeface="ＭＳ Ｐゴシック" charset="0"/>
                <a:cs typeface="CiscoSans Thin"/>
              </a:rPr>
              <a:t>© 2017  Cisco and/or its affiliates. All rights reserved.   Cisco Public</a:t>
            </a:r>
          </a:p>
        </p:txBody>
      </p:sp>
    </p:spTree>
    <p:extLst>
      <p:ext uri="{BB962C8B-B14F-4D97-AF65-F5344CB8AC3E}">
        <p14:creationId xmlns:p14="http://schemas.microsoft.com/office/powerpoint/2010/main" val="42331356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4004" r:id="rId39"/>
  </p:sldLayoutIdLst>
  <p:transition spd="slow">
    <p:wipe/>
  </p:transition>
  <p:txStyles>
    <p:titleStyle>
      <a:lvl1pPr algn="l" defTabSz="912171" rtl="0" eaLnBrk="1" fontAlgn="base" hangingPunct="1">
        <a:lnSpc>
          <a:spcPct val="80000"/>
        </a:lnSpc>
        <a:spcBef>
          <a:spcPct val="0"/>
        </a:spcBef>
        <a:spcAft>
          <a:spcPct val="0"/>
        </a:spcAft>
        <a:defRPr lang="en-US" sz="4300" kern="1200" dirty="0">
          <a:solidFill>
            <a:srgbClr val="676767"/>
          </a:solidFill>
          <a:latin typeface="+mj-lt"/>
          <a:ea typeface="ＭＳ Ｐゴシック" charset="0"/>
          <a:cs typeface="CiscoSans"/>
        </a:defRPr>
      </a:lvl1pPr>
      <a:lvl2pPr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523"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9050"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573"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8098"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9pPr>
    </p:titleStyle>
    <p:bodyStyle>
      <a:lvl1pPr marL="226457" indent="-226457" algn="l" defTabSz="91217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07" indent="-287827" algn="l" defTabSz="912171"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62" indent="-226457" algn="l" defTabSz="91217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02" indent="-226457" algn="l" defTabSz="912171"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40" indent="-226457" algn="l" defTabSz="912171"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666" indent="-228566" algn="l" defTabSz="91425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35" indent="-228536" algn="l" defTabSz="914256"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199893" indent="0" algn="l" defTabSz="91425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590" indent="-228566" algn="l" defTabSz="9142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56" rtl="0" eaLnBrk="1" latinLnBrk="0" hangingPunct="1">
        <a:defRPr sz="1900" kern="1200">
          <a:solidFill>
            <a:schemeClr val="tx1"/>
          </a:solidFill>
          <a:latin typeface="+mn-lt"/>
          <a:ea typeface="+mn-ea"/>
          <a:cs typeface="+mn-cs"/>
        </a:defRPr>
      </a:lvl1pPr>
      <a:lvl2pPr marL="457123" algn="l" defTabSz="914256" rtl="0" eaLnBrk="1" latinLnBrk="0" hangingPunct="1">
        <a:defRPr sz="1900" kern="1200">
          <a:solidFill>
            <a:schemeClr val="tx1"/>
          </a:solidFill>
          <a:latin typeface="+mn-lt"/>
          <a:ea typeface="+mn-ea"/>
          <a:cs typeface="+mn-cs"/>
        </a:defRPr>
      </a:lvl2pPr>
      <a:lvl3pPr marL="914256" algn="l" defTabSz="914256" rtl="0" eaLnBrk="1" latinLnBrk="0" hangingPunct="1">
        <a:defRPr sz="1900" kern="1200">
          <a:solidFill>
            <a:schemeClr val="tx1"/>
          </a:solidFill>
          <a:latin typeface="+mn-lt"/>
          <a:ea typeface="+mn-ea"/>
          <a:cs typeface="+mn-cs"/>
        </a:defRPr>
      </a:lvl3pPr>
      <a:lvl4pPr marL="1371382" algn="l" defTabSz="914256" rtl="0" eaLnBrk="1" latinLnBrk="0" hangingPunct="1">
        <a:defRPr sz="1900" kern="1200">
          <a:solidFill>
            <a:schemeClr val="tx1"/>
          </a:solidFill>
          <a:latin typeface="+mn-lt"/>
          <a:ea typeface="+mn-ea"/>
          <a:cs typeface="+mn-cs"/>
        </a:defRPr>
      </a:lvl4pPr>
      <a:lvl5pPr marL="1828513" algn="l" defTabSz="914256" rtl="0" eaLnBrk="1" latinLnBrk="0" hangingPunct="1">
        <a:defRPr sz="1900" kern="1200">
          <a:solidFill>
            <a:schemeClr val="tx1"/>
          </a:solidFill>
          <a:latin typeface="+mn-lt"/>
          <a:ea typeface="+mn-ea"/>
          <a:cs typeface="+mn-cs"/>
        </a:defRPr>
      </a:lvl5pPr>
      <a:lvl6pPr marL="2285638" algn="l" defTabSz="914256" rtl="0" eaLnBrk="1" latinLnBrk="0" hangingPunct="1">
        <a:defRPr sz="1900" kern="1200">
          <a:solidFill>
            <a:schemeClr val="tx1"/>
          </a:solidFill>
          <a:latin typeface="+mn-lt"/>
          <a:ea typeface="+mn-ea"/>
          <a:cs typeface="+mn-cs"/>
        </a:defRPr>
      </a:lvl6pPr>
      <a:lvl7pPr marL="2742769" algn="l" defTabSz="914256" rtl="0" eaLnBrk="1" latinLnBrk="0" hangingPunct="1">
        <a:defRPr sz="1900" kern="1200">
          <a:solidFill>
            <a:schemeClr val="tx1"/>
          </a:solidFill>
          <a:latin typeface="+mn-lt"/>
          <a:ea typeface="+mn-ea"/>
          <a:cs typeface="+mn-cs"/>
        </a:defRPr>
      </a:lvl7pPr>
      <a:lvl8pPr marL="3199893" algn="l" defTabSz="914256" rtl="0" eaLnBrk="1" latinLnBrk="0" hangingPunct="1">
        <a:defRPr sz="1900" kern="1200">
          <a:solidFill>
            <a:schemeClr val="tx1"/>
          </a:solidFill>
          <a:latin typeface="+mn-lt"/>
          <a:ea typeface="+mn-ea"/>
          <a:cs typeface="+mn-cs"/>
        </a:defRPr>
      </a:lvl8pPr>
      <a:lvl9pPr marL="3657023" algn="l" defTabSz="914256"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70C0">
            <a:alpha val="28000"/>
          </a:srgbClr>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16" tIns="45710" rIns="91416" bIns="45710"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11351429" y="6323883"/>
            <a:ext cx="294071" cy="206023"/>
          </a:xfrm>
          <a:prstGeom prst="rect">
            <a:avLst/>
          </a:prstGeom>
          <a:noFill/>
          <a:ln w="9525" algn="ctr">
            <a:noFill/>
            <a:miter lim="800000"/>
            <a:headEnd/>
            <a:tailEnd/>
          </a:ln>
          <a:effectLst/>
        </p:spPr>
        <p:txBody>
          <a:bodyPr wrap="none" lIns="82107" tIns="41054" rIns="82107" bIns="41054" anchor="b">
            <a:spAutoFit/>
          </a:bodyPr>
          <a:lstStyle/>
          <a:p>
            <a:pPr algn="r" defTabSz="814225">
              <a:defRPr/>
            </a:pPr>
            <a:fld id="{4ABDCABE-3F10-B64C-92F1-862014417034}" type="slidenum">
              <a:rPr lang="en-US" sz="800">
                <a:solidFill>
                  <a:srgbClr val="000000">
                    <a:alpha val="25000"/>
                  </a:srgbClr>
                </a:solidFill>
                <a:latin typeface="Arial"/>
                <a:cs typeface="CiscoSans Thin"/>
              </a:rPr>
              <a:pPr algn="r" defTabSz="814225">
                <a:defRPr/>
              </a:pPr>
              <a:t>‹#›</a:t>
            </a:fld>
            <a:endParaRPr lang="en-US" sz="800" dirty="0">
              <a:solidFill>
                <a:srgbClr val="000000">
                  <a:alpha val="25000"/>
                </a:srgbClr>
              </a:solidFill>
              <a:latin typeface="Arial"/>
              <a:cs typeface="CiscoSans Thin"/>
            </a:endParaRPr>
          </a:p>
        </p:txBody>
      </p:sp>
      <p:sp>
        <p:nvSpPr>
          <p:cNvPr id="13" name="Rectangle 4"/>
          <p:cNvSpPr>
            <a:spLocks noChangeArrowheads="1"/>
          </p:cNvSpPr>
          <p:nvPr/>
        </p:nvSpPr>
        <p:spPr bwMode="ltGray">
          <a:xfrm>
            <a:off x="7823344" y="6322210"/>
            <a:ext cx="3544024" cy="206025"/>
          </a:xfrm>
          <a:prstGeom prst="rect">
            <a:avLst/>
          </a:prstGeom>
          <a:noFill/>
          <a:ln w="9525">
            <a:noFill/>
            <a:miter lim="800000"/>
            <a:headEnd/>
            <a:tailEnd/>
          </a:ln>
          <a:effectLst/>
        </p:spPr>
        <p:txBody>
          <a:bodyPr lIns="82107" tIns="41054" rIns="82107" bIns="41054" anchor="b">
            <a:spAutoFit/>
          </a:bodyPr>
          <a:lstStyle/>
          <a:p>
            <a:pPr defTabSz="814225">
              <a:defRPr/>
            </a:pPr>
            <a:r>
              <a:rPr lang="en-US" sz="800" dirty="0">
                <a:solidFill>
                  <a:srgbClr val="000000">
                    <a:alpha val="25000"/>
                  </a:srgbClr>
                </a:solidFill>
                <a:latin typeface="Arial"/>
                <a:cs typeface="CiscoSans Thin"/>
              </a:rPr>
              <a:t>© 2015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43" cstate="print">
            <a:extLst>
              <a:ext uri="{28A0092B-C50C-407E-A947-70E740481C1C}">
                <a14:useLocalDpi xmlns:a14="http://schemas.microsoft.com/office/drawing/2010/main"/>
              </a:ext>
            </a:extLst>
          </a:blip>
          <a:srcRect/>
          <a:stretch>
            <a:fillRect/>
          </a:stretch>
        </p:blipFill>
        <p:spPr bwMode="auto">
          <a:xfrm>
            <a:off x="632233" y="6167697"/>
            <a:ext cx="575083" cy="35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440576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7" r:id="rId29"/>
    <p:sldLayoutId id="2147483738" r:id="rId30"/>
    <p:sldLayoutId id="2147483739" r:id="rId31"/>
    <p:sldLayoutId id="2147483740" r:id="rId32"/>
    <p:sldLayoutId id="2147483741" r:id="rId33"/>
    <p:sldLayoutId id="2147483742" r:id="rId34"/>
    <p:sldLayoutId id="2147483743" r:id="rId35"/>
    <p:sldLayoutId id="2147483744" r:id="rId36"/>
    <p:sldLayoutId id="2147483745" r:id="rId37"/>
    <p:sldLayoutId id="2147483746" r:id="rId38"/>
    <p:sldLayoutId id="2147483747" r:id="rId39"/>
    <p:sldLayoutId id="2147483748" r:id="rId40"/>
    <p:sldLayoutId id="2147483749" r:id="rId41"/>
  </p:sldLayoutIdLst>
  <p:transition spd="slow">
    <p:wipe/>
  </p:transition>
  <p:txStyles>
    <p:titleStyle>
      <a:lvl1pPr algn="l" defTabSz="912171" rtl="0" eaLnBrk="1" fontAlgn="base" hangingPunct="1">
        <a:lnSpc>
          <a:spcPct val="80000"/>
        </a:lnSpc>
        <a:spcBef>
          <a:spcPct val="0"/>
        </a:spcBef>
        <a:spcAft>
          <a:spcPct val="0"/>
        </a:spcAft>
        <a:defRPr lang="en-US" sz="4300" kern="1200" dirty="0">
          <a:solidFill>
            <a:srgbClr val="676767"/>
          </a:solidFill>
          <a:latin typeface="+mj-lt"/>
          <a:ea typeface="ＭＳ Ｐゴシック" charset="0"/>
          <a:cs typeface="CiscoSans"/>
        </a:defRPr>
      </a:lvl1pPr>
      <a:lvl2pPr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523"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9050"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573"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8098"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9pPr>
    </p:titleStyle>
    <p:bodyStyle>
      <a:lvl1pPr marL="226457" indent="-226457" algn="l" defTabSz="91217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07" indent="-287827" algn="l" defTabSz="912171"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62" indent="-226457" algn="l" defTabSz="91217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02" indent="-226457" algn="l" defTabSz="912171"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40" indent="-226457" algn="l" defTabSz="912171"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666" indent="-228566" algn="l" defTabSz="91425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35" indent="-228536" algn="l" defTabSz="914256"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199893" indent="0" algn="l" defTabSz="91425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590" indent="-228566" algn="l" defTabSz="9142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56" rtl="0" eaLnBrk="1" latinLnBrk="0" hangingPunct="1">
        <a:defRPr sz="1900" kern="1200">
          <a:solidFill>
            <a:schemeClr val="tx1"/>
          </a:solidFill>
          <a:latin typeface="+mn-lt"/>
          <a:ea typeface="+mn-ea"/>
          <a:cs typeface="+mn-cs"/>
        </a:defRPr>
      </a:lvl1pPr>
      <a:lvl2pPr marL="457123" algn="l" defTabSz="914256" rtl="0" eaLnBrk="1" latinLnBrk="0" hangingPunct="1">
        <a:defRPr sz="1900" kern="1200">
          <a:solidFill>
            <a:schemeClr val="tx1"/>
          </a:solidFill>
          <a:latin typeface="+mn-lt"/>
          <a:ea typeface="+mn-ea"/>
          <a:cs typeface="+mn-cs"/>
        </a:defRPr>
      </a:lvl2pPr>
      <a:lvl3pPr marL="914256" algn="l" defTabSz="914256" rtl="0" eaLnBrk="1" latinLnBrk="0" hangingPunct="1">
        <a:defRPr sz="1900" kern="1200">
          <a:solidFill>
            <a:schemeClr val="tx1"/>
          </a:solidFill>
          <a:latin typeface="+mn-lt"/>
          <a:ea typeface="+mn-ea"/>
          <a:cs typeface="+mn-cs"/>
        </a:defRPr>
      </a:lvl3pPr>
      <a:lvl4pPr marL="1371382" algn="l" defTabSz="914256" rtl="0" eaLnBrk="1" latinLnBrk="0" hangingPunct="1">
        <a:defRPr sz="1900" kern="1200">
          <a:solidFill>
            <a:schemeClr val="tx1"/>
          </a:solidFill>
          <a:latin typeface="+mn-lt"/>
          <a:ea typeface="+mn-ea"/>
          <a:cs typeface="+mn-cs"/>
        </a:defRPr>
      </a:lvl4pPr>
      <a:lvl5pPr marL="1828513" algn="l" defTabSz="914256" rtl="0" eaLnBrk="1" latinLnBrk="0" hangingPunct="1">
        <a:defRPr sz="1900" kern="1200">
          <a:solidFill>
            <a:schemeClr val="tx1"/>
          </a:solidFill>
          <a:latin typeface="+mn-lt"/>
          <a:ea typeface="+mn-ea"/>
          <a:cs typeface="+mn-cs"/>
        </a:defRPr>
      </a:lvl5pPr>
      <a:lvl6pPr marL="2285638" algn="l" defTabSz="914256" rtl="0" eaLnBrk="1" latinLnBrk="0" hangingPunct="1">
        <a:defRPr sz="1900" kern="1200">
          <a:solidFill>
            <a:schemeClr val="tx1"/>
          </a:solidFill>
          <a:latin typeface="+mn-lt"/>
          <a:ea typeface="+mn-ea"/>
          <a:cs typeface="+mn-cs"/>
        </a:defRPr>
      </a:lvl6pPr>
      <a:lvl7pPr marL="2742769" algn="l" defTabSz="914256" rtl="0" eaLnBrk="1" latinLnBrk="0" hangingPunct="1">
        <a:defRPr sz="1900" kern="1200">
          <a:solidFill>
            <a:schemeClr val="tx1"/>
          </a:solidFill>
          <a:latin typeface="+mn-lt"/>
          <a:ea typeface="+mn-ea"/>
          <a:cs typeface="+mn-cs"/>
        </a:defRPr>
      </a:lvl7pPr>
      <a:lvl8pPr marL="3199893" algn="l" defTabSz="914256" rtl="0" eaLnBrk="1" latinLnBrk="0" hangingPunct="1">
        <a:defRPr sz="1900" kern="1200">
          <a:solidFill>
            <a:schemeClr val="tx1"/>
          </a:solidFill>
          <a:latin typeface="+mn-lt"/>
          <a:ea typeface="+mn-ea"/>
          <a:cs typeface="+mn-cs"/>
        </a:defRPr>
      </a:lvl8pPr>
      <a:lvl9pPr marL="3657023" algn="l" defTabSz="914256"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70C0">
            <a:alpha val="28000"/>
          </a:srgbClr>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91"/>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0" tIns="60940" rIns="121880" bIns="60940"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11351438" y="6334145"/>
            <a:ext cx="294063" cy="195761"/>
          </a:xfrm>
          <a:prstGeom prst="rect">
            <a:avLst/>
          </a:prstGeom>
          <a:noFill/>
          <a:ln w="9525" algn="ctr">
            <a:noFill/>
            <a:miter lim="800000"/>
            <a:headEnd/>
            <a:tailEnd/>
          </a:ln>
          <a:effectLst/>
        </p:spPr>
        <p:txBody>
          <a:bodyPr wrap="none" lIns="82101" tIns="41054" rIns="82101" bIns="41054" anchor="b">
            <a:spAutoFit/>
          </a:bodyPr>
          <a:lstStyle/>
          <a:p>
            <a:pPr algn="r" defTabSz="814192" eaLnBrk="0" hangingPunct="0">
              <a:lnSpc>
                <a:spcPct val="90000"/>
              </a:lnSpc>
              <a:defRPr/>
            </a:pPr>
            <a:fld id="{4ABDCABE-3F10-B64C-92F1-862014417034}" type="slidenum">
              <a:rPr lang="en-US" sz="800">
                <a:solidFill>
                  <a:srgbClr val="000000">
                    <a:alpha val="25000"/>
                  </a:srgbClr>
                </a:solidFill>
                <a:latin typeface="Arial"/>
                <a:cs typeface="CiscoSans Thin"/>
              </a:rPr>
              <a:pPr algn="r" defTabSz="814192" eaLnBrk="0" hangingPunct="0">
                <a:lnSpc>
                  <a:spcPct val="90000"/>
                </a:lnSpc>
                <a:defRPr/>
              </a:pPr>
              <a:t>‹#›</a:t>
            </a:fld>
            <a:endParaRPr lang="en-US" sz="800" dirty="0">
              <a:solidFill>
                <a:srgbClr val="000000">
                  <a:alpha val="25000"/>
                </a:srgbClr>
              </a:solidFill>
              <a:latin typeface="Arial"/>
              <a:cs typeface="CiscoSans Thin"/>
            </a:endParaRPr>
          </a:p>
        </p:txBody>
      </p:sp>
      <p:sp>
        <p:nvSpPr>
          <p:cNvPr id="13" name="Rectangle 4"/>
          <p:cNvSpPr>
            <a:spLocks noChangeArrowheads="1"/>
          </p:cNvSpPr>
          <p:nvPr/>
        </p:nvSpPr>
        <p:spPr bwMode="ltGray">
          <a:xfrm>
            <a:off x="7823345" y="6332473"/>
            <a:ext cx="3544024" cy="195761"/>
          </a:xfrm>
          <a:prstGeom prst="rect">
            <a:avLst/>
          </a:prstGeom>
          <a:noFill/>
          <a:ln w="9525">
            <a:noFill/>
            <a:miter lim="800000"/>
            <a:headEnd/>
            <a:tailEnd/>
          </a:ln>
          <a:effectLst/>
        </p:spPr>
        <p:txBody>
          <a:bodyPr lIns="82101" tIns="41054" rIns="82101" bIns="41054" anchor="b">
            <a:spAutoFit/>
          </a:bodyPr>
          <a:lstStyle/>
          <a:p>
            <a:pPr algn="ctr" defTabSz="814192" eaLnBrk="0" hangingPunct="0">
              <a:lnSpc>
                <a:spcPct val="90000"/>
              </a:lnSpc>
              <a:defRPr/>
            </a:pPr>
            <a:r>
              <a:rPr lang="en-US" sz="800" dirty="0">
                <a:solidFill>
                  <a:srgbClr val="000000">
                    <a:alpha val="25000"/>
                  </a:srgbClr>
                </a:solidFill>
                <a:latin typeface="Arial"/>
                <a:cs typeface="CiscoSans Thin"/>
              </a:rPr>
              <a:t>© 2015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632237" y="6167697"/>
            <a:ext cx="575083" cy="35356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7"/>
          <p:cNvSpPr>
            <a:spLocks noChangeArrowheads="1"/>
          </p:cNvSpPr>
          <p:nvPr userDrawn="1"/>
        </p:nvSpPr>
        <p:spPr bwMode="ltGray">
          <a:xfrm>
            <a:off x="11797318" y="6522031"/>
            <a:ext cx="347239" cy="233676"/>
          </a:xfrm>
          <a:prstGeom prst="rect">
            <a:avLst/>
          </a:prstGeom>
          <a:noFill/>
          <a:ln w="9525" algn="ctr">
            <a:noFill/>
            <a:miter lim="800000"/>
            <a:headEnd/>
            <a:tailEnd/>
          </a:ln>
          <a:effectLst/>
        </p:spPr>
        <p:txBody>
          <a:bodyPr wrap="none" lIns="109485" tIns="54741" rIns="109485" bIns="54741" anchor="b">
            <a:spAutoFit/>
          </a:bodyPr>
          <a:lstStyle/>
          <a:p>
            <a:pPr algn="r" defTabSz="1085717" eaLnBrk="0" fontAlgn="base" hangingPunct="0">
              <a:spcBef>
                <a:spcPct val="0"/>
              </a:spcBef>
              <a:spcAft>
                <a:spcPct val="0"/>
              </a:spcAft>
            </a:pPr>
            <a:fld id="{DFCF27A5-1A5B-48D3-A060-2758FFBB1ADD}" type="slidenum">
              <a:rPr lang="en-US" sz="800">
                <a:solidFill>
                  <a:srgbClr val="C0C0C0"/>
                </a:solidFill>
                <a:latin typeface="Arial"/>
              </a:rPr>
              <a:pPr algn="r" defTabSz="1085717" eaLnBrk="0" fontAlgn="base" hangingPunct="0">
                <a:spcBef>
                  <a:spcPct val="0"/>
                </a:spcBef>
                <a:spcAft>
                  <a:spcPct val="0"/>
                </a:spcAft>
              </a:pPr>
              <a:t>‹#›</a:t>
            </a:fld>
            <a:endParaRPr lang="en-US" sz="800" dirty="0">
              <a:solidFill>
                <a:srgbClr val="C0C0C0"/>
              </a:solidFill>
              <a:latin typeface="Arial"/>
            </a:endParaRPr>
          </a:p>
        </p:txBody>
      </p:sp>
    </p:spTree>
    <p:extLst>
      <p:ext uri="{BB962C8B-B14F-4D97-AF65-F5344CB8AC3E}">
        <p14:creationId xmlns:p14="http://schemas.microsoft.com/office/powerpoint/2010/main" val="2604476173"/>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 id="2147483789" r:id="rId39"/>
    <p:sldLayoutId id="2147483790" r:id="rId40"/>
  </p:sldLayoutIdLst>
  <p:transition spd="slow">
    <p:wipe/>
  </p:transition>
  <p:txStyles>
    <p:titleStyle>
      <a:lvl1pPr algn="l" defTabSz="912132" rtl="0" eaLnBrk="1" fontAlgn="base" hangingPunct="1">
        <a:lnSpc>
          <a:spcPct val="80000"/>
        </a:lnSpc>
        <a:spcBef>
          <a:spcPct val="0"/>
        </a:spcBef>
        <a:spcAft>
          <a:spcPct val="0"/>
        </a:spcAft>
        <a:defRPr lang="en-US" sz="4300" kern="1200" dirty="0">
          <a:solidFill>
            <a:srgbClr val="676767"/>
          </a:solidFill>
          <a:latin typeface="+mj-lt"/>
          <a:ea typeface="ＭＳ Ｐゴシック" charset="0"/>
          <a:cs typeface="CiscoSans"/>
        </a:defRPr>
      </a:lvl1pPr>
      <a:lvl2pPr algn="l" defTabSz="912132"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132"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132"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132"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495" algn="l" defTabSz="912132"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8998" algn="l" defTabSz="912132"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497" algn="l" defTabSz="912132"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7998" algn="l" defTabSz="912132" rtl="0" eaLnBrk="1" fontAlgn="base" hangingPunct="1">
        <a:lnSpc>
          <a:spcPct val="80000"/>
        </a:lnSpc>
        <a:spcBef>
          <a:spcPct val="0"/>
        </a:spcBef>
        <a:spcAft>
          <a:spcPct val="0"/>
        </a:spcAft>
        <a:defRPr sz="4300">
          <a:solidFill>
            <a:srgbClr val="676767"/>
          </a:solidFill>
          <a:latin typeface="Arial" charset="0"/>
          <a:ea typeface="ＭＳ Ｐゴシック" charset="0"/>
        </a:defRPr>
      </a:lvl9pPr>
    </p:titleStyle>
    <p:bodyStyle>
      <a:lvl1pPr marL="226448" indent="-226448" algn="l" defTabSz="912132"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287" indent="-287815" algn="l" defTabSz="912132"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38" indent="-226448" algn="l" defTabSz="912132"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874" indent="-226448" algn="l" defTabSz="912132"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08" indent="-226448" algn="l" defTabSz="912132"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618" indent="-228557" algn="l" defTabSz="914217"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583" indent="-228526" algn="l" defTabSz="914217"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199760" indent="0" algn="l" defTabSz="914217" rtl="0" eaLnBrk="1" latinLnBrk="0" hangingPunct="1">
        <a:spcBef>
          <a:spcPct val="20000"/>
        </a:spcBef>
        <a:buFont typeface="Arial" pitchFamily="34" charset="0"/>
        <a:buNone/>
        <a:defRPr sz="2000" kern="1200">
          <a:solidFill>
            <a:schemeClr val="tx1"/>
          </a:solidFill>
          <a:latin typeface="+mn-lt"/>
          <a:ea typeface="+mn-ea"/>
          <a:cs typeface="+mn-cs"/>
        </a:defRPr>
      </a:lvl8pPr>
      <a:lvl9pPr marL="3885426" indent="-228557" algn="l" defTabSz="91421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7" rtl="0" eaLnBrk="1" latinLnBrk="0" hangingPunct="1">
        <a:defRPr sz="1900" kern="1200">
          <a:solidFill>
            <a:schemeClr val="tx1"/>
          </a:solidFill>
          <a:latin typeface="+mn-lt"/>
          <a:ea typeface="+mn-ea"/>
          <a:cs typeface="+mn-cs"/>
        </a:defRPr>
      </a:lvl1pPr>
      <a:lvl2pPr marL="457103" algn="l" defTabSz="914217" rtl="0" eaLnBrk="1" latinLnBrk="0" hangingPunct="1">
        <a:defRPr sz="1900" kern="1200">
          <a:solidFill>
            <a:schemeClr val="tx1"/>
          </a:solidFill>
          <a:latin typeface="+mn-lt"/>
          <a:ea typeface="+mn-ea"/>
          <a:cs typeface="+mn-cs"/>
        </a:defRPr>
      </a:lvl2pPr>
      <a:lvl3pPr marL="914217" algn="l" defTabSz="914217" rtl="0" eaLnBrk="1" latinLnBrk="0" hangingPunct="1">
        <a:defRPr sz="1900" kern="1200">
          <a:solidFill>
            <a:schemeClr val="tx1"/>
          </a:solidFill>
          <a:latin typeface="+mn-lt"/>
          <a:ea typeface="+mn-ea"/>
          <a:cs typeface="+mn-cs"/>
        </a:defRPr>
      </a:lvl3pPr>
      <a:lvl4pPr marL="1371326" algn="l" defTabSz="914217" rtl="0" eaLnBrk="1" latinLnBrk="0" hangingPunct="1">
        <a:defRPr sz="1900" kern="1200">
          <a:solidFill>
            <a:schemeClr val="tx1"/>
          </a:solidFill>
          <a:latin typeface="+mn-lt"/>
          <a:ea typeface="+mn-ea"/>
          <a:cs typeface="+mn-cs"/>
        </a:defRPr>
      </a:lvl4pPr>
      <a:lvl5pPr marL="1828437" algn="l" defTabSz="914217" rtl="0" eaLnBrk="1" latinLnBrk="0" hangingPunct="1">
        <a:defRPr sz="1900" kern="1200">
          <a:solidFill>
            <a:schemeClr val="tx1"/>
          </a:solidFill>
          <a:latin typeface="+mn-lt"/>
          <a:ea typeface="+mn-ea"/>
          <a:cs typeface="+mn-cs"/>
        </a:defRPr>
      </a:lvl5pPr>
      <a:lvl6pPr marL="2285542" algn="l" defTabSz="914217" rtl="0" eaLnBrk="1" latinLnBrk="0" hangingPunct="1">
        <a:defRPr sz="1900" kern="1200">
          <a:solidFill>
            <a:schemeClr val="tx1"/>
          </a:solidFill>
          <a:latin typeface="+mn-lt"/>
          <a:ea typeface="+mn-ea"/>
          <a:cs typeface="+mn-cs"/>
        </a:defRPr>
      </a:lvl6pPr>
      <a:lvl7pPr marL="2742654" algn="l" defTabSz="914217" rtl="0" eaLnBrk="1" latinLnBrk="0" hangingPunct="1">
        <a:defRPr sz="1900" kern="1200">
          <a:solidFill>
            <a:schemeClr val="tx1"/>
          </a:solidFill>
          <a:latin typeface="+mn-lt"/>
          <a:ea typeface="+mn-ea"/>
          <a:cs typeface="+mn-cs"/>
        </a:defRPr>
      </a:lvl7pPr>
      <a:lvl8pPr marL="3199760" algn="l" defTabSz="914217" rtl="0" eaLnBrk="1" latinLnBrk="0" hangingPunct="1">
        <a:defRPr sz="1900" kern="1200">
          <a:solidFill>
            <a:schemeClr val="tx1"/>
          </a:solidFill>
          <a:latin typeface="+mn-lt"/>
          <a:ea typeface="+mn-ea"/>
          <a:cs typeface="+mn-cs"/>
        </a:defRPr>
      </a:lvl8pPr>
      <a:lvl9pPr marL="3656871" algn="l" defTabSz="914217"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70C0">
            <a:alpha val="28000"/>
          </a:srgbClr>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9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2" tIns="60941" rIns="121882" bIns="60941"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11351437" y="6334144"/>
            <a:ext cx="294063" cy="195761"/>
          </a:xfrm>
          <a:prstGeom prst="rect">
            <a:avLst/>
          </a:prstGeom>
          <a:noFill/>
          <a:ln w="9525" algn="ctr">
            <a:noFill/>
            <a:miter lim="800000"/>
            <a:headEnd/>
            <a:tailEnd/>
          </a:ln>
          <a:effectLst/>
        </p:spPr>
        <p:txBody>
          <a:bodyPr wrap="none" lIns="82103" tIns="41054" rIns="82103" bIns="41054" anchor="b">
            <a:spAutoFit/>
          </a:bodyPr>
          <a:lstStyle/>
          <a:p>
            <a:pPr algn="r" defTabSz="814212" eaLnBrk="0" hangingPunct="0">
              <a:lnSpc>
                <a:spcPct val="90000"/>
              </a:lnSpc>
              <a:defRPr/>
            </a:pPr>
            <a:fld id="{4ABDCABE-3F10-B64C-92F1-862014417034}" type="slidenum">
              <a:rPr lang="en-US" sz="800">
                <a:solidFill>
                  <a:srgbClr val="000000">
                    <a:alpha val="25000"/>
                  </a:srgbClr>
                </a:solidFill>
                <a:latin typeface="Arial"/>
                <a:cs typeface="CiscoSans Thin"/>
              </a:rPr>
              <a:pPr algn="r" defTabSz="814212" eaLnBrk="0" hangingPunct="0">
                <a:lnSpc>
                  <a:spcPct val="90000"/>
                </a:lnSpc>
                <a:defRPr/>
              </a:pPr>
              <a:t>‹#›</a:t>
            </a:fld>
            <a:endParaRPr lang="en-US" sz="800" dirty="0">
              <a:solidFill>
                <a:srgbClr val="000000">
                  <a:alpha val="25000"/>
                </a:srgbClr>
              </a:solidFill>
              <a:latin typeface="Arial"/>
              <a:cs typeface="CiscoSans Thin"/>
            </a:endParaRPr>
          </a:p>
        </p:txBody>
      </p:sp>
      <p:sp>
        <p:nvSpPr>
          <p:cNvPr id="13" name="Rectangle 4"/>
          <p:cNvSpPr>
            <a:spLocks noChangeArrowheads="1"/>
          </p:cNvSpPr>
          <p:nvPr/>
        </p:nvSpPr>
        <p:spPr bwMode="ltGray">
          <a:xfrm>
            <a:off x="7823345" y="6332472"/>
            <a:ext cx="3544024" cy="195761"/>
          </a:xfrm>
          <a:prstGeom prst="rect">
            <a:avLst/>
          </a:prstGeom>
          <a:noFill/>
          <a:ln w="9525">
            <a:noFill/>
            <a:miter lim="800000"/>
            <a:headEnd/>
            <a:tailEnd/>
          </a:ln>
          <a:effectLst/>
        </p:spPr>
        <p:txBody>
          <a:bodyPr lIns="82103" tIns="41054" rIns="82103" bIns="41054" anchor="b">
            <a:spAutoFit/>
          </a:bodyPr>
          <a:lstStyle/>
          <a:p>
            <a:pPr algn="ctr" defTabSz="814212" eaLnBrk="0" hangingPunct="0">
              <a:lnSpc>
                <a:spcPct val="90000"/>
              </a:lnSpc>
              <a:defRPr/>
            </a:pPr>
            <a:r>
              <a:rPr lang="en-US" sz="800" dirty="0">
                <a:solidFill>
                  <a:srgbClr val="000000">
                    <a:alpha val="25000"/>
                  </a:srgbClr>
                </a:solidFill>
                <a:latin typeface="Arial"/>
                <a:cs typeface="CiscoSans Thin"/>
              </a:rPr>
              <a:t>© 2015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632237" y="6167697"/>
            <a:ext cx="575083" cy="35356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7"/>
          <p:cNvSpPr>
            <a:spLocks noChangeArrowheads="1"/>
          </p:cNvSpPr>
          <p:nvPr userDrawn="1"/>
        </p:nvSpPr>
        <p:spPr bwMode="ltGray">
          <a:xfrm>
            <a:off x="11797317" y="6522031"/>
            <a:ext cx="347239" cy="233676"/>
          </a:xfrm>
          <a:prstGeom prst="rect">
            <a:avLst/>
          </a:prstGeom>
          <a:noFill/>
          <a:ln w="9525" algn="ctr">
            <a:noFill/>
            <a:miter lim="800000"/>
            <a:headEnd/>
            <a:tailEnd/>
          </a:ln>
          <a:effectLst/>
        </p:spPr>
        <p:txBody>
          <a:bodyPr wrap="none" lIns="109488" tIns="54743" rIns="109488" bIns="54743" anchor="b">
            <a:spAutoFit/>
          </a:bodyPr>
          <a:lstStyle/>
          <a:p>
            <a:pPr algn="r" defTabSz="1085744" eaLnBrk="0" fontAlgn="base" hangingPunct="0">
              <a:spcBef>
                <a:spcPct val="0"/>
              </a:spcBef>
              <a:spcAft>
                <a:spcPct val="0"/>
              </a:spcAft>
            </a:pPr>
            <a:fld id="{DFCF27A5-1A5B-48D3-A060-2758FFBB1ADD}" type="slidenum">
              <a:rPr lang="en-US" sz="800">
                <a:solidFill>
                  <a:srgbClr val="C0C0C0"/>
                </a:solidFill>
                <a:latin typeface="Arial"/>
              </a:rPr>
              <a:pPr algn="r" defTabSz="1085744" eaLnBrk="0" fontAlgn="base" hangingPunct="0">
                <a:spcBef>
                  <a:spcPct val="0"/>
                </a:spcBef>
                <a:spcAft>
                  <a:spcPct val="0"/>
                </a:spcAft>
              </a:pPr>
              <a:t>‹#›</a:t>
            </a:fld>
            <a:endParaRPr lang="en-US" sz="800" dirty="0">
              <a:solidFill>
                <a:srgbClr val="C0C0C0"/>
              </a:solidFill>
              <a:latin typeface="Arial"/>
            </a:endParaRPr>
          </a:p>
        </p:txBody>
      </p:sp>
    </p:spTree>
    <p:extLst>
      <p:ext uri="{BB962C8B-B14F-4D97-AF65-F5344CB8AC3E}">
        <p14:creationId xmlns:p14="http://schemas.microsoft.com/office/powerpoint/2010/main" val="2784520427"/>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 id="2147483813" r:id="rId22"/>
    <p:sldLayoutId id="2147483814" r:id="rId23"/>
    <p:sldLayoutId id="2147483815" r:id="rId24"/>
    <p:sldLayoutId id="2147483816" r:id="rId25"/>
    <p:sldLayoutId id="2147483817" r:id="rId26"/>
    <p:sldLayoutId id="2147483818" r:id="rId27"/>
    <p:sldLayoutId id="2147483819" r:id="rId28"/>
    <p:sldLayoutId id="2147483820" r:id="rId29"/>
    <p:sldLayoutId id="2147483821" r:id="rId30"/>
    <p:sldLayoutId id="2147483822" r:id="rId31"/>
    <p:sldLayoutId id="2147483823" r:id="rId32"/>
    <p:sldLayoutId id="2147483824" r:id="rId33"/>
    <p:sldLayoutId id="2147483825" r:id="rId34"/>
    <p:sldLayoutId id="2147483826" r:id="rId35"/>
    <p:sldLayoutId id="2147483827" r:id="rId36"/>
    <p:sldLayoutId id="2147483828" r:id="rId37"/>
    <p:sldLayoutId id="2147483829" r:id="rId38"/>
    <p:sldLayoutId id="2147483830" r:id="rId39"/>
  </p:sldLayoutIdLst>
  <p:transition spd="slow">
    <p:wipe/>
  </p:transition>
  <p:txStyles>
    <p:titleStyle>
      <a:lvl1pPr algn="l" defTabSz="912155" rtl="0" eaLnBrk="1" fontAlgn="base" hangingPunct="1">
        <a:lnSpc>
          <a:spcPct val="80000"/>
        </a:lnSpc>
        <a:spcBef>
          <a:spcPct val="0"/>
        </a:spcBef>
        <a:spcAft>
          <a:spcPct val="0"/>
        </a:spcAft>
        <a:defRPr lang="en-US" sz="4300" kern="1200" dirty="0">
          <a:solidFill>
            <a:srgbClr val="676767"/>
          </a:solidFill>
          <a:latin typeface="+mj-lt"/>
          <a:ea typeface="ＭＳ Ｐゴシック" charset="0"/>
          <a:cs typeface="CiscoSans"/>
        </a:defRPr>
      </a:lvl1pPr>
      <a:lvl2pPr algn="l" defTabSz="912155"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155"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155"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155"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511" algn="l" defTabSz="912155"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9028" algn="l" defTabSz="912155"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542" algn="l" defTabSz="912155"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8058" algn="l" defTabSz="912155" rtl="0" eaLnBrk="1" fontAlgn="base" hangingPunct="1">
        <a:lnSpc>
          <a:spcPct val="80000"/>
        </a:lnSpc>
        <a:spcBef>
          <a:spcPct val="0"/>
        </a:spcBef>
        <a:spcAft>
          <a:spcPct val="0"/>
        </a:spcAft>
        <a:defRPr sz="4300">
          <a:solidFill>
            <a:srgbClr val="676767"/>
          </a:solidFill>
          <a:latin typeface="Arial" charset="0"/>
          <a:ea typeface="ＭＳ Ｐゴシック" charset="0"/>
        </a:defRPr>
      </a:lvl9pPr>
    </p:titleStyle>
    <p:bodyStyle>
      <a:lvl1pPr marL="226453" indent="-226453" algn="l" defTabSz="912155"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299" indent="-287823" algn="l" defTabSz="912155"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52" indent="-226453" algn="l" defTabSz="912155"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890" indent="-226453" algn="l" defTabSz="912155"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26" indent="-226453" algn="l" defTabSz="912155"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646" indent="-228562" algn="l" defTabSz="914240"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15" indent="-228532" algn="l" defTabSz="914240"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199840" indent="0" algn="l" defTabSz="914240" rtl="0" eaLnBrk="1" latinLnBrk="0" hangingPunct="1">
        <a:spcBef>
          <a:spcPct val="20000"/>
        </a:spcBef>
        <a:buFont typeface="Arial" pitchFamily="34" charset="0"/>
        <a:buNone/>
        <a:defRPr sz="2000" kern="1200">
          <a:solidFill>
            <a:schemeClr val="tx1"/>
          </a:solidFill>
          <a:latin typeface="+mn-lt"/>
          <a:ea typeface="+mn-ea"/>
          <a:cs typeface="+mn-cs"/>
        </a:defRPr>
      </a:lvl8pPr>
      <a:lvl9pPr marL="3885522" indent="-228562"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0" rtl="0" eaLnBrk="1" latinLnBrk="0" hangingPunct="1">
        <a:defRPr sz="1900" kern="1200">
          <a:solidFill>
            <a:schemeClr val="tx1"/>
          </a:solidFill>
          <a:latin typeface="+mn-lt"/>
          <a:ea typeface="+mn-ea"/>
          <a:cs typeface="+mn-cs"/>
        </a:defRPr>
      </a:lvl1pPr>
      <a:lvl2pPr marL="457115" algn="l" defTabSz="914240" rtl="0" eaLnBrk="1" latinLnBrk="0" hangingPunct="1">
        <a:defRPr sz="1900" kern="1200">
          <a:solidFill>
            <a:schemeClr val="tx1"/>
          </a:solidFill>
          <a:latin typeface="+mn-lt"/>
          <a:ea typeface="+mn-ea"/>
          <a:cs typeface="+mn-cs"/>
        </a:defRPr>
      </a:lvl2pPr>
      <a:lvl3pPr marL="914240" algn="l" defTabSz="914240" rtl="0" eaLnBrk="1" latinLnBrk="0" hangingPunct="1">
        <a:defRPr sz="1900" kern="1200">
          <a:solidFill>
            <a:schemeClr val="tx1"/>
          </a:solidFill>
          <a:latin typeface="+mn-lt"/>
          <a:ea typeface="+mn-ea"/>
          <a:cs typeface="+mn-cs"/>
        </a:defRPr>
      </a:lvl3pPr>
      <a:lvl4pPr marL="1371360" algn="l" defTabSz="914240" rtl="0" eaLnBrk="1" latinLnBrk="0" hangingPunct="1">
        <a:defRPr sz="1900" kern="1200">
          <a:solidFill>
            <a:schemeClr val="tx1"/>
          </a:solidFill>
          <a:latin typeface="+mn-lt"/>
          <a:ea typeface="+mn-ea"/>
          <a:cs typeface="+mn-cs"/>
        </a:defRPr>
      </a:lvl4pPr>
      <a:lvl5pPr marL="1828482" algn="l" defTabSz="914240" rtl="0" eaLnBrk="1" latinLnBrk="0" hangingPunct="1">
        <a:defRPr sz="1900" kern="1200">
          <a:solidFill>
            <a:schemeClr val="tx1"/>
          </a:solidFill>
          <a:latin typeface="+mn-lt"/>
          <a:ea typeface="+mn-ea"/>
          <a:cs typeface="+mn-cs"/>
        </a:defRPr>
      </a:lvl5pPr>
      <a:lvl6pPr marL="2285598" algn="l" defTabSz="914240" rtl="0" eaLnBrk="1" latinLnBrk="0" hangingPunct="1">
        <a:defRPr sz="1900" kern="1200">
          <a:solidFill>
            <a:schemeClr val="tx1"/>
          </a:solidFill>
          <a:latin typeface="+mn-lt"/>
          <a:ea typeface="+mn-ea"/>
          <a:cs typeface="+mn-cs"/>
        </a:defRPr>
      </a:lvl6pPr>
      <a:lvl7pPr marL="2742722" algn="l" defTabSz="914240" rtl="0" eaLnBrk="1" latinLnBrk="0" hangingPunct="1">
        <a:defRPr sz="1900" kern="1200">
          <a:solidFill>
            <a:schemeClr val="tx1"/>
          </a:solidFill>
          <a:latin typeface="+mn-lt"/>
          <a:ea typeface="+mn-ea"/>
          <a:cs typeface="+mn-cs"/>
        </a:defRPr>
      </a:lvl7pPr>
      <a:lvl8pPr marL="3199840" algn="l" defTabSz="914240" rtl="0" eaLnBrk="1" latinLnBrk="0" hangingPunct="1">
        <a:defRPr sz="1900" kern="1200">
          <a:solidFill>
            <a:schemeClr val="tx1"/>
          </a:solidFill>
          <a:latin typeface="+mn-lt"/>
          <a:ea typeface="+mn-ea"/>
          <a:cs typeface="+mn-cs"/>
        </a:defRPr>
      </a:lvl8pPr>
      <a:lvl9pPr marL="3656963" algn="l" defTabSz="914240"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70C0">
            <a:alpha val="28000"/>
          </a:srgb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1"/>
            </p:custDataLst>
            <p:extLst>
              <p:ext uri="{D42A27DB-BD31-4B8C-83A1-F6EECF244321}">
                <p14:modId xmlns:p14="http://schemas.microsoft.com/office/powerpoint/2010/main" val="66568411"/>
              </p:ex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2650"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2119" y="2119"/>
                        <a:ext cx="2116" cy="2116"/>
                      </a:xfrm>
                      <a:prstGeom prst="rect">
                        <a:avLst/>
                      </a:prstGeom>
                    </p:spPr>
                  </p:pic>
                </p:oleObj>
              </mc:Fallback>
            </mc:AlternateContent>
          </a:graphicData>
        </a:graphic>
      </p:graphicFrame>
      <p:sp>
        <p:nvSpPr>
          <p:cNvPr id="1026" name="Title Placeholder 5"/>
          <p:cNvSpPr>
            <a:spLocks noGrp="1"/>
          </p:cNvSpPr>
          <p:nvPr>
            <p:ph type="title"/>
          </p:nvPr>
        </p:nvSpPr>
        <p:spPr bwMode="auto">
          <a:xfrm>
            <a:off x="583688" y="45509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85" tIns="60942" rIns="121885" bIns="60942"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11354277" y="6323876"/>
            <a:ext cx="291219" cy="206024"/>
          </a:xfrm>
          <a:prstGeom prst="rect">
            <a:avLst/>
          </a:prstGeom>
          <a:noFill/>
          <a:ln w="9525" algn="ctr">
            <a:noFill/>
            <a:miter lim="800000"/>
            <a:headEnd/>
            <a:tailEnd/>
          </a:ln>
          <a:effectLst/>
        </p:spPr>
        <p:txBody>
          <a:bodyPr wrap="none" lIns="82105" tIns="41054" rIns="82105" bIns="41054" anchor="b">
            <a:spAutoFit/>
          </a:bodyPr>
          <a:lstStyle/>
          <a:p>
            <a:pPr algn="r" defTabSz="814225">
              <a:defRPr/>
            </a:pPr>
            <a:fld id="{4ABDCABE-3F10-B64C-92F1-862014417034}" type="slidenum">
              <a:rPr lang="en-US" sz="800">
                <a:solidFill>
                  <a:srgbClr val="000000">
                    <a:alpha val="25000"/>
                  </a:srgbClr>
                </a:solidFill>
                <a:ea typeface="ＭＳ Ｐゴシック" charset="0"/>
                <a:cs typeface="CiscoSans Thin"/>
              </a:rPr>
              <a:pPr algn="r" defTabSz="814225">
                <a:defRPr/>
              </a:pPr>
              <a:t>‹#›</a:t>
            </a:fld>
            <a:endParaRPr lang="en-US" sz="800" dirty="0">
              <a:solidFill>
                <a:srgbClr val="000000">
                  <a:alpha val="25000"/>
                </a:srgbClr>
              </a:solidFill>
              <a:ea typeface="ＭＳ Ｐゴシック" charset="0"/>
              <a:cs typeface="CiscoSans Thin"/>
            </a:endParaRPr>
          </a:p>
        </p:txBody>
      </p:sp>
      <p:sp>
        <p:nvSpPr>
          <p:cNvPr id="13" name="Rectangle 4"/>
          <p:cNvSpPr>
            <a:spLocks noChangeArrowheads="1"/>
          </p:cNvSpPr>
          <p:nvPr/>
        </p:nvSpPr>
        <p:spPr bwMode="ltGray">
          <a:xfrm>
            <a:off x="7823344" y="6322204"/>
            <a:ext cx="3544024" cy="206024"/>
          </a:xfrm>
          <a:prstGeom prst="rect">
            <a:avLst/>
          </a:prstGeom>
          <a:noFill/>
          <a:ln w="9525">
            <a:noFill/>
            <a:miter lim="800000"/>
            <a:headEnd/>
            <a:tailEnd/>
          </a:ln>
          <a:effectLst/>
        </p:spPr>
        <p:txBody>
          <a:bodyPr lIns="82105" tIns="41054" rIns="82105" bIns="41054" anchor="b">
            <a:spAutoFit/>
          </a:bodyPr>
          <a:lstStyle/>
          <a:p>
            <a:pPr defTabSz="814225">
              <a:defRPr/>
            </a:pPr>
            <a:r>
              <a:rPr lang="en-US" sz="800" dirty="0">
                <a:solidFill>
                  <a:srgbClr val="000000">
                    <a:alpha val="25000"/>
                  </a:srgbClr>
                </a:solidFill>
                <a:ea typeface="ＭＳ Ｐゴシック" charset="0"/>
                <a:cs typeface="CiscoSans Thin"/>
              </a:rPr>
              <a:t>© 2015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44" cstate="print">
            <a:extLst>
              <a:ext uri="{28A0092B-C50C-407E-A947-70E740481C1C}">
                <a14:useLocalDpi xmlns:a14="http://schemas.microsoft.com/office/drawing/2010/main"/>
              </a:ext>
            </a:extLst>
          </a:blip>
          <a:srcRect/>
          <a:stretch>
            <a:fillRect/>
          </a:stretch>
        </p:blipFill>
        <p:spPr bwMode="auto">
          <a:xfrm>
            <a:off x="632233" y="6167697"/>
            <a:ext cx="575083" cy="35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7922852"/>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 id="2147483858" r:id="rId27"/>
    <p:sldLayoutId id="2147483859" r:id="rId28"/>
    <p:sldLayoutId id="2147483860" r:id="rId29"/>
    <p:sldLayoutId id="2147483861" r:id="rId30"/>
    <p:sldLayoutId id="2147483862" r:id="rId31"/>
    <p:sldLayoutId id="2147483863" r:id="rId32"/>
    <p:sldLayoutId id="2147483864" r:id="rId33"/>
    <p:sldLayoutId id="2147483865" r:id="rId34"/>
    <p:sldLayoutId id="2147483866" r:id="rId35"/>
    <p:sldLayoutId id="2147483867" r:id="rId36"/>
    <p:sldLayoutId id="2147483868" r:id="rId37"/>
    <p:sldLayoutId id="2147483869" r:id="rId38"/>
  </p:sldLayoutIdLst>
  <p:transition spd="slow">
    <p:wipe/>
  </p:transition>
  <p:txStyles>
    <p:titleStyle>
      <a:lvl1pPr algn="l" defTabSz="912171" rtl="0" eaLnBrk="1" fontAlgn="base" hangingPunct="1">
        <a:lnSpc>
          <a:spcPct val="80000"/>
        </a:lnSpc>
        <a:spcBef>
          <a:spcPct val="0"/>
        </a:spcBef>
        <a:spcAft>
          <a:spcPct val="0"/>
        </a:spcAft>
        <a:defRPr lang="en-US" sz="4300" kern="1200" dirty="0">
          <a:solidFill>
            <a:srgbClr val="676767"/>
          </a:solidFill>
          <a:latin typeface="+mj-lt"/>
          <a:ea typeface="ＭＳ Ｐゴシック" charset="0"/>
          <a:cs typeface="CiscoSans"/>
        </a:defRPr>
      </a:lvl1pPr>
      <a:lvl2pPr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523"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9050"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573"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8098" algn="l" defTabSz="912171" rtl="0" eaLnBrk="1" fontAlgn="base" hangingPunct="1">
        <a:lnSpc>
          <a:spcPct val="80000"/>
        </a:lnSpc>
        <a:spcBef>
          <a:spcPct val="0"/>
        </a:spcBef>
        <a:spcAft>
          <a:spcPct val="0"/>
        </a:spcAft>
        <a:defRPr sz="4300">
          <a:solidFill>
            <a:srgbClr val="676767"/>
          </a:solidFill>
          <a:latin typeface="Arial" charset="0"/>
          <a:ea typeface="ＭＳ Ｐゴシック" charset="0"/>
        </a:defRPr>
      </a:lvl9pPr>
    </p:titleStyle>
    <p:bodyStyle>
      <a:lvl1pPr marL="226457" indent="-226457" algn="l" defTabSz="91217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07" indent="-287827" algn="l" defTabSz="912171"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62" indent="-226457" algn="l" defTabSz="91217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02" indent="-226457" algn="l" defTabSz="912171"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40" indent="-226457" algn="l" defTabSz="912171"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666" indent="-228566" algn="l" defTabSz="91425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35" indent="-228536" algn="l" defTabSz="914256"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199893" indent="0" algn="l" defTabSz="91425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590" indent="-228566" algn="l" defTabSz="9142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56" rtl="0" eaLnBrk="1" latinLnBrk="0" hangingPunct="1">
        <a:defRPr sz="1900" kern="1200">
          <a:solidFill>
            <a:schemeClr val="tx1"/>
          </a:solidFill>
          <a:latin typeface="+mn-lt"/>
          <a:ea typeface="+mn-ea"/>
          <a:cs typeface="+mn-cs"/>
        </a:defRPr>
      </a:lvl1pPr>
      <a:lvl2pPr marL="457123" algn="l" defTabSz="914256" rtl="0" eaLnBrk="1" latinLnBrk="0" hangingPunct="1">
        <a:defRPr sz="1900" kern="1200">
          <a:solidFill>
            <a:schemeClr val="tx1"/>
          </a:solidFill>
          <a:latin typeface="+mn-lt"/>
          <a:ea typeface="+mn-ea"/>
          <a:cs typeface="+mn-cs"/>
        </a:defRPr>
      </a:lvl2pPr>
      <a:lvl3pPr marL="914256" algn="l" defTabSz="914256" rtl="0" eaLnBrk="1" latinLnBrk="0" hangingPunct="1">
        <a:defRPr sz="1900" kern="1200">
          <a:solidFill>
            <a:schemeClr val="tx1"/>
          </a:solidFill>
          <a:latin typeface="+mn-lt"/>
          <a:ea typeface="+mn-ea"/>
          <a:cs typeface="+mn-cs"/>
        </a:defRPr>
      </a:lvl3pPr>
      <a:lvl4pPr marL="1371382" algn="l" defTabSz="914256" rtl="0" eaLnBrk="1" latinLnBrk="0" hangingPunct="1">
        <a:defRPr sz="1900" kern="1200">
          <a:solidFill>
            <a:schemeClr val="tx1"/>
          </a:solidFill>
          <a:latin typeface="+mn-lt"/>
          <a:ea typeface="+mn-ea"/>
          <a:cs typeface="+mn-cs"/>
        </a:defRPr>
      </a:lvl4pPr>
      <a:lvl5pPr marL="1828513" algn="l" defTabSz="914256" rtl="0" eaLnBrk="1" latinLnBrk="0" hangingPunct="1">
        <a:defRPr sz="1900" kern="1200">
          <a:solidFill>
            <a:schemeClr val="tx1"/>
          </a:solidFill>
          <a:latin typeface="+mn-lt"/>
          <a:ea typeface="+mn-ea"/>
          <a:cs typeface="+mn-cs"/>
        </a:defRPr>
      </a:lvl5pPr>
      <a:lvl6pPr marL="2285638" algn="l" defTabSz="914256" rtl="0" eaLnBrk="1" latinLnBrk="0" hangingPunct="1">
        <a:defRPr sz="1900" kern="1200">
          <a:solidFill>
            <a:schemeClr val="tx1"/>
          </a:solidFill>
          <a:latin typeface="+mn-lt"/>
          <a:ea typeface="+mn-ea"/>
          <a:cs typeface="+mn-cs"/>
        </a:defRPr>
      </a:lvl6pPr>
      <a:lvl7pPr marL="2742769" algn="l" defTabSz="914256" rtl="0" eaLnBrk="1" latinLnBrk="0" hangingPunct="1">
        <a:defRPr sz="1900" kern="1200">
          <a:solidFill>
            <a:schemeClr val="tx1"/>
          </a:solidFill>
          <a:latin typeface="+mn-lt"/>
          <a:ea typeface="+mn-ea"/>
          <a:cs typeface="+mn-cs"/>
        </a:defRPr>
      </a:lvl7pPr>
      <a:lvl8pPr marL="3199893" algn="l" defTabSz="914256" rtl="0" eaLnBrk="1" latinLnBrk="0" hangingPunct="1">
        <a:defRPr sz="1900" kern="1200">
          <a:solidFill>
            <a:schemeClr val="tx1"/>
          </a:solidFill>
          <a:latin typeface="+mn-lt"/>
          <a:ea typeface="+mn-ea"/>
          <a:cs typeface="+mn-cs"/>
        </a:defRPr>
      </a:lvl8pPr>
      <a:lvl9pPr marL="3657023" algn="l" defTabSz="914256"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70C0">
            <a:alpha val="28000"/>
          </a:srgb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8"/>
            </p:custDataLst>
            <p:extLst>
              <p:ext uri="{D42A27DB-BD31-4B8C-83A1-F6EECF244321}">
                <p14:modId xmlns:p14="http://schemas.microsoft.com/office/powerpoint/2010/main" val="779190449"/>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8657"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2118" y="2118"/>
                        <a:ext cx="2116" cy="2116"/>
                      </a:xfrm>
                      <a:prstGeom prst="rect">
                        <a:avLst/>
                      </a:prstGeom>
                    </p:spPr>
                  </p:pic>
                </p:oleObj>
              </mc:Fallback>
            </mc:AlternateContent>
          </a:graphicData>
        </a:graphic>
      </p:graphicFrame>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6" tIns="60948" rIns="121896" bIns="60948"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11354276" y="6323876"/>
            <a:ext cx="291219" cy="206024"/>
          </a:xfrm>
          <a:prstGeom prst="rect">
            <a:avLst/>
          </a:prstGeom>
          <a:noFill/>
          <a:ln w="9525" algn="ctr">
            <a:noFill/>
            <a:miter lim="800000"/>
            <a:headEnd/>
            <a:tailEnd/>
          </a:ln>
          <a:effectLst/>
        </p:spPr>
        <p:txBody>
          <a:bodyPr wrap="none" lIns="82113" tIns="41055" rIns="82113" bIns="41055" anchor="b">
            <a:spAutoFit/>
          </a:bodyPr>
          <a:lstStyle/>
          <a:p>
            <a:pPr algn="r" defTabSz="814305">
              <a:defRPr/>
            </a:pPr>
            <a:fld id="{4ABDCABE-3F10-B64C-92F1-862014417034}" type="slidenum">
              <a:rPr lang="en-US" sz="800">
                <a:solidFill>
                  <a:srgbClr val="000000">
                    <a:alpha val="25000"/>
                  </a:srgbClr>
                </a:solidFill>
                <a:ea typeface="ＭＳ Ｐゴシック" charset="0"/>
                <a:cs typeface="CiscoSans Thin"/>
              </a:rPr>
              <a:pPr algn="r" defTabSz="814305">
                <a:defRPr/>
              </a:pPr>
              <a:t>‹#›</a:t>
            </a:fld>
            <a:endParaRPr lang="en-US" sz="800" dirty="0">
              <a:solidFill>
                <a:srgbClr val="000000">
                  <a:alpha val="25000"/>
                </a:srgbClr>
              </a:solidFill>
              <a:ea typeface="ＭＳ Ｐゴシック" charset="0"/>
              <a:cs typeface="CiscoSans Thin"/>
            </a:endParaRPr>
          </a:p>
        </p:txBody>
      </p:sp>
      <p:sp>
        <p:nvSpPr>
          <p:cNvPr id="13" name="Rectangle 4"/>
          <p:cNvSpPr>
            <a:spLocks noChangeArrowheads="1"/>
          </p:cNvSpPr>
          <p:nvPr/>
        </p:nvSpPr>
        <p:spPr bwMode="ltGray">
          <a:xfrm>
            <a:off x="7823344" y="6322204"/>
            <a:ext cx="3544024" cy="206024"/>
          </a:xfrm>
          <a:prstGeom prst="rect">
            <a:avLst/>
          </a:prstGeom>
          <a:noFill/>
          <a:ln w="9525">
            <a:noFill/>
            <a:miter lim="800000"/>
            <a:headEnd/>
            <a:tailEnd/>
          </a:ln>
          <a:effectLst/>
        </p:spPr>
        <p:txBody>
          <a:bodyPr lIns="82113" tIns="41055" rIns="82113" bIns="41055" anchor="b">
            <a:spAutoFit/>
          </a:bodyPr>
          <a:lstStyle/>
          <a:p>
            <a:pPr defTabSz="814305">
              <a:defRPr/>
            </a:pPr>
            <a:r>
              <a:rPr lang="en-US" sz="800" dirty="0">
                <a:solidFill>
                  <a:srgbClr val="000000">
                    <a:alpha val="25000"/>
                  </a:srgbClr>
                </a:solidFill>
                <a:ea typeface="ＭＳ Ｐゴシック" charset="0"/>
                <a:cs typeface="CiscoSans Thin"/>
              </a:rPr>
              <a:t>© 2015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632233" y="6167697"/>
            <a:ext cx="575083" cy="35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3012378"/>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 id="2147483896" r:id="rId24"/>
    <p:sldLayoutId id="2147483897" r:id="rId25"/>
    <p:sldLayoutId id="2147483898" r:id="rId26"/>
    <p:sldLayoutId id="2147483899" r:id="rId27"/>
    <p:sldLayoutId id="2147483900" r:id="rId28"/>
    <p:sldLayoutId id="2147483901" r:id="rId29"/>
    <p:sldLayoutId id="2147483902" r:id="rId30"/>
    <p:sldLayoutId id="2147483903" r:id="rId31"/>
    <p:sldLayoutId id="2147483904" r:id="rId32"/>
    <p:sldLayoutId id="2147483905" r:id="rId33"/>
    <p:sldLayoutId id="2147483906" r:id="rId34"/>
    <p:sldLayoutId id="2147483907" r:id="rId35"/>
  </p:sldLayoutIdLst>
  <p:transition spd="slow">
    <p:wipe/>
  </p:transition>
  <p:txStyles>
    <p:titleStyle>
      <a:lvl1pPr algn="l" defTabSz="912261" rtl="0" eaLnBrk="1" fontAlgn="base" hangingPunct="1">
        <a:lnSpc>
          <a:spcPct val="80000"/>
        </a:lnSpc>
        <a:spcBef>
          <a:spcPct val="0"/>
        </a:spcBef>
        <a:spcAft>
          <a:spcPct val="0"/>
        </a:spcAft>
        <a:defRPr lang="en-US" sz="4300" kern="1200" dirty="0">
          <a:solidFill>
            <a:srgbClr val="676767"/>
          </a:solidFill>
          <a:latin typeface="+mj-lt"/>
          <a:ea typeface="ＭＳ Ｐゴシック" charset="0"/>
          <a:cs typeface="CiscoSans"/>
        </a:defRPr>
      </a:lvl1pPr>
      <a:lvl2pPr algn="l" defTabSz="912261"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300">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900" kern="1200">
          <a:solidFill>
            <a:schemeClr val="tx1"/>
          </a:solidFill>
          <a:latin typeface="+mn-lt"/>
          <a:ea typeface="+mn-ea"/>
          <a:cs typeface="+mn-cs"/>
        </a:defRPr>
      </a:lvl1pPr>
      <a:lvl2pPr marL="457170" algn="l" defTabSz="914346" rtl="0" eaLnBrk="1" latinLnBrk="0" hangingPunct="1">
        <a:defRPr sz="1900" kern="1200">
          <a:solidFill>
            <a:schemeClr val="tx1"/>
          </a:solidFill>
          <a:latin typeface="+mn-lt"/>
          <a:ea typeface="+mn-ea"/>
          <a:cs typeface="+mn-cs"/>
        </a:defRPr>
      </a:lvl2pPr>
      <a:lvl3pPr marL="914346" algn="l" defTabSz="914346" rtl="0" eaLnBrk="1" latinLnBrk="0" hangingPunct="1">
        <a:defRPr sz="1900" kern="1200">
          <a:solidFill>
            <a:schemeClr val="tx1"/>
          </a:solidFill>
          <a:latin typeface="+mn-lt"/>
          <a:ea typeface="+mn-ea"/>
          <a:cs typeface="+mn-cs"/>
        </a:defRPr>
      </a:lvl3pPr>
      <a:lvl4pPr marL="1371519" algn="l" defTabSz="914346" rtl="0" eaLnBrk="1" latinLnBrk="0" hangingPunct="1">
        <a:defRPr sz="1900" kern="1200">
          <a:solidFill>
            <a:schemeClr val="tx1"/>
          </a:solidFill>
          <a:latin typeface="+mn-lt"/>
          <a:ea typeface="+mn-ea"/>
          <a:cs typeface="+mn-cs"/>
        </a:defRPr>
      </a:lvl4pPr>
      <a:lvl5pPr marL="1828694" algn="l" defTabSz="914346" rtl="0" eaLnBrk="1" latinLnBrk="0" hangingPunct="1">
        <a:defRPr sz="1900" kern="1200">
          <a:solidFill>
            <a:schemeClr val="tx1"/>
          </a:solidFill>
          <a:latin typeface="+mn-lt"/>
          <a:ea typeface="+mn-ea"/>
          <a:cs typeface="+mn-cs"/>
        </a:defRPr>
      </a:lvl5pPr>
      <a:lvl6pPr marL="2285864" algn="l" defTabSz="914346" rtl="0" eaLnBrk="1" latinLnBrk="0" hangingPunct="1">
        <a:defRPr sz="1900" kern="1200">
          <a:solidFill>
            <a:schemeClr val="tx1"/>
          </a:solidFill>
          <a:latin typeface="+mn-lt"/>
          <a:ea typeface="+mn-ea"/>
          <a:cs typeface="+mn-cs"/>
        </a:defRPr>
      </a:lvl6pPr>
      <a:lvl7pPr marL="2743041" algn="l" defTabSz="914346" rtl="0" eaLnBrk="1" latinLnBrk="0" hangingPunct="1">
        <a:defRPr sz="1900" kern="1200">
          <a:solidFill>
            <a:schemeClr val="tx1"/>
          </a:solidFill>
          <a:latin typeface="+mn-lt"/>
          <a:ea typeface="+mn-ea"/>
          <a:cs typeface="+mn-cs"/>
        </a:defRPr>
      </a:lvl7pPr>
      <a:lvl8pPr marL="3200213" algn="l" defTabSz="914346" rtl="0" eaLnBrk="1" latinLnBrk="0" hangingPunct="1">
        <a:defRPr sz="1900" kern="1200">
          <a:solidFill>
            <a:schemeClr val="tx1"/>
          </a:solidFill>
          <a:latin typeface="+mn-lt"/>
          <a:ea typeface="+mn-ea"/>
          <a:cs typeface="+mn-cs"/>
        </a:defRPr>
      </a:lvl8pPr>
      <a:lvl9pPr marL="3657389" algn="l" defTabSz="914346"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070C0">
            <a:alpha val="28000"/>
          </a:srgbClr>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4200"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sp>
        <p:nvSpPr>
          <p:cNvPr id="12" name="Rectangle 7"/>
          <p:cNvSpPr>
            <a:spLocks noChangeArrowheads="1"/>
          </p:cNvSpPr>
          <p:nvPr/>
        </p:nvSpPr>
        <p:spPr bwMode="ltGray">
          <a:xfrm>
            <a:off x="11354627" y="6323876"/>
            <a:ext cx="290868" cy="206025"/>
          </a:xfrm>
          <a:prstGeom prst="rect">
            <a:avLst/>
          </a:prstGeom>
          <a:noFill/>
          <a:ln w="9525" algn="ctr">
            <a:noFill/>
            <a:miter lim="800000"/>
            <a:headEnd/>
            <a:tailEnd/>
          </a:ln>
          <a:effectLst/>
        </p:spPr>
        <p:txBody>
          <a:bodyPr wrap="none" lIns="82115" tIns="41056" rIns="82115" bIns="41056" anchor="b">
            <a:spAutoFit/>
          </a:bodyPr>
          <a:lstStyle/>
          <a:p>
            <a:pPr algn="r" defTabSz="814305">
              <a:defRPr/>
            </a:pPr>
            <a:fld id="{6A1E46DC-7EF6-4EA2-B285-14272867D133}" type="slidenum">
              <a:rPr lang="en-US" sz="800">
                <a:solidFill>
                  <a:srgbClr val="000000">
                    <a:alpha val="25000"/>
                  </a:srgbClr>
                </a:solidFill>
                <a:cs typeface="CiscoSans Thin"/>
              </a:rPr>
              <a:pPr algn="r" defTabSz="814305">
                <a:defRPr/>
              </a:pPr>
              <a:t>‹#›</a:t>
            </a:fld>
            <a:endParaRPr lang="en-US" sz="800" dirty="0">
              <a:solidFill>
                <a:srgbClr val="000000">
                  <a:alpha val="25000"/>
                </a:srgbClr>
              </a:solidFill>
              <a:cs typeface="CiscoSans Thin"/>
            </a:endParaRPr>
          </a:p>
        </p:txBody>
      </p:sp>
      <p:sp>
        <p:nvSpPr>
          <p:cNvPr id="13" name="Rectangle 4"/>
          <p:cNvSpPr>
            <a:spLocks noChangeArrowheads="1"/>
          </p:cNvSpPr>
          <p:nvPr/>
        </p:nvSpPr>
        <p:spPr bwMode="ltGray">
          <a:xfrm>
            <a:off x="7823344" y="6322205"/>
            <a:ext cx="3544024" cy="206025"/>
          </a:xfrm>
          <a:prstGeom prst="rect">
            <a:avLst/>
          </a:prstGeom>
          <a:noFill/>
          <a:ln w="9525">
            <a:noFill/>
            <a:miter lim="800000"/>
            <a:headEnd/>
            <a:tailEnd/>
          </a:ln>
          <a:effectLst/>
        </p:spPr>
        <p:txBody>
          <a:bodyPr lIns="82115" tIns="41056" rIns="82115" bIns="41056" anchor="b">
            <a:spAutoFit/>
          </a:bodyPr>
          <a:lstStyle/>
          <a:p>
            <a:pPr defTabSz="814305">
              <a:defRPr/>
            </a:pPr>
            <a:r>
              <a:rPr lang="en-US" sz="800" dirty="0">
                <a:solidFill>
                  <a:srgbClr val="000000">
                    <a:alpha val="25000"/>
                  </a:srgbClr>
                </a:solidFill>
                <a:cs typeface="CiscoSans Thin"/>
              </a:rPr>
              <a:t>© 2016  Cisco and/or its affiliates. All rights reserved.   Cisco Confidential</a:t>
            </a:r>
          </a:p>
        </p:txBody>
      </p:sp>
      <p:pic>
        <p:nvPicPr>
          <p:cNvPr id="1029" name="Picture 2"/>
          <p:cNvPicPr>
            <a:picLocks noChangeAspect="1" noChangeArrowheads="1"/>
          </p:cNvPicPr>
          <p:nvPr/>
        </p:nvPicPr>
        <p:blipFill>
          <a:blip r:embed="rId48">
            <a:extLst>
              <a:ext uri="{28A0092B-C50C-407E-A947-70E740481C1C}">
                <a14:useLocalDpi xmlns:a14="http://schemas.microsoft.com/office/drawing/2010/main"/>
              </a:ext>
            </a:extLst>
          </a:blip>
          <a:stretch>
            <a:fillRect/>
          </a:stretch>
        </p:blipFill>
        <p:spPr bwMode="auto">
          <a:xfrm>
            <a:off x="636905" y="6167967"/>
            <a:ext cx="565573" cy="3534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56204741"/>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 id="2147483925" r:id="rId14"/>
    <p:sldLayoutId id="2147483926" r:id="rId15"/>
    <p:sldLayoutId id="2147483927" r:id="rId16"/>
    <p:sldLayoutId id="2147483928" r:id="rId17"/>
    <p:sldLayoutId id="2147483929" r:id="rId18"/>
    <p:sldLayoutId id="2147483930" r:id="rId19"/>
    <p:sldLayoutId id="2147483931" r:id="rId20"/>
    <p:sldLayoutId id="2147483932" r:id="rId21"/>
    <p:sldLayoutId id="2147483933" r:id="rId22"/>
    <p:sldLayoutId id="2147483934" r:id="rId23"/>
    <p:sldLayoutId id="2147483935" r:id="rId24"/>
    <p:sldLayoutId id="2147483936" r:id="rId25"/>
    <p:sldLayoutId id="2147483937" r:id="rId26"/>
    <p:sldLayoutId id="2147483938" r:id="rId27"/>
    <p:sldLayoutId id="2147483939" r:id="rId28"/>
    <p:sldLayoutId id="2147483940" r:id="rId29"/>
    <p:sldLayoutId id="2147483941" r:id="rId30"/>
    <p:sldLayoutId id="2147483942" r:id="rId31"/>
    <p:sldLayoutId id="2147483943" r:id="rId32"/>
    <p:sldLayoutId id="2147483944" r:id="rId33"/>
    <p:sldLayoutId id="2147483945" r:id="rId34"/>
    <p:sldLayoutId id="2147483946" r:id="rId35"/>
    <p:sldLayoutId id="2147483947" r:id="rId36"/>
    <p:sldLayoutId id="2147483948" r:id="rId37"/>
    <p:sldLayoutId id="2147483949" r:id="rId38"/>
    <p:sldLayoutId id="2147483950" r:id="rId39"/>
    <p:sldLayoutId id="2147483951" r:id="rId40"/>
    <p:sldLayoutId id="2147483952" r:id="rId41"/>
    <p:sldLayoutId id="2147483953" r:id="rId42"/>
    <p:sldLayoutId id="2147483954" r:id="rId43"/>
    <p:sldLayoutId id="2147483955" r:id="rId44"/>
    <p:sldLayoutId id="2147483956" r:id="rId45"/>
    <p:sldLayoutId id="2147483957" r:id="rId46"/>
  </p:sldLayoutIdLst>
  <p:transition spd="slow">
    <p:wipe/>
  </p:transition>
  <p:txStyles>
    <p:titleStyle>
      <a:lvl1pPr algn="l" defTabSz="912261" rtl="0" eaLnBrk="1" fontAlgn="base" hangingPunct="1">
        <a:lnSpc>
          <a:spcPct val="80000"/>
        </a:lnSpc>
        <a:spcBef>
          <a:spcPct val="0"/>
        </a:spcBef>
        <a:spcAft>
          <a:spcPct val="0"/>
        </a:spcAft>
        <a:defRPr lang="en-US" sz="4267" kern="1200" dirty="0">
          <a:solidFill>
            <a:schemeClr val="tx2"/>
          </a:solidFill>
          <a:latin typeface="+mj-lt"/>
          <a:ea typeface="ＭＳ Ｐゴシック" charset="0"/>
          <a:cs typeface="CiscoSans"/>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cs typeface="CiscoSans" pitchFamily="34"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cs typeface="CiscoSans" pitchFamily="34"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cs typeface="CiscoSans" pitchFamily="34"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cs typeface="CiscoSans" pitchFamily="34"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0070C0">
            <a:alpha val="28000"/>
          </a:srgbClr>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107"/>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8" tIns="45694" rIns="91388" bIns="45694" numCol="1" anchor="ctr"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11354723" y="6323908"/>
            <a:ext cx="290795" cy="206014"/>
          </a:xfrm>
          <a:prstGeom prst="rect">
            <a:avLst/>
          </a:prstGeom>
          <a:noFill/>
          <a:ln w="9525" algn="ctr">
            <a:noFill/>
            <a:miter lim="800000"/>
            <a:headEnd/>
            <a:tailEnd/>
          </a:ln>
          <a:effectLst/>
        </p:spPr>
        <p:txBody>
          <a:bodyPr wrap="none" lIns="82079" tIns="41051" rIns="82079" bIns="41051" anchor="b">
            <a:spAutoFit/>
          </a:bodyPr>
          <a:lstStyle/>
          <a:p>
            <a:pPr algn="r" defTabSz="813952">
              <a:defRPr/>
            </a:pPr>
            <a:fld id="{4ABDCABE-3F10-B64C-92F1-862014417034}" type="slidenum">
              <a:rPr lang="en-US" sz="800">
                <a:solidFill>
                  <a:srgbClr val="000000">
                    <a:alpha val="25000"/>
                  </a:srgbClr>
                </a:solidFill>
                <a:cs typeface="CiscoSans Thin"/>
              </a:rPr>
              <a:pPr algn="r" defTabSz="813952">
                <a:defRPr/>
              </a:pPr>
              <a:t>‹#›</a:t>
            </a:fld>
            <a:endParaRPr lang="en-US" sz="800" dirty="0">
              <a:solidFill>
                <a:srgbClr val="000000">
                  <a:alpha val="25000"/>
                </a:srgbClr>
              </a:solidFill>
              <a:cs typeface="CiscoSans Thin"/>
            </a:endParaRPr>
          </a:p>
        </p:txBody>
      </p:sp>
      <p:sp>
        <p:nvSpPr>
          <p:cNvPr id="13" name="Rectangle 4"/>
          <p:cNvSpPr>
            <a:spLocks noChangeArrowheads="1"/>
          </p:cNvSpPr>
          <p:nvPr/>
        </p:nvSpPr>
        <p:spPr bwMode="ltGray">
          <a:xfrm>
            <a:off x="7823345" y="6322215"/>
            <a:ext cx="3544024" cy="206014"/>
          </a:xfrm>
          <a:prstGeom prst="rect">
            <a:avLst/>
          </a:prstGeom>
          <a:noFill/>
          <a:ln w="9525">
            <a:noFill/>
            <a:miter lim="800000"/>
            <a:headEnd/>
            <a:tailEnd/>
          </a:ln>
          <a:effectLst/>
        </p:spPr>
        <p:txBody>
          <a:bodyPr lIns="82079" tIns="41051" rIns="82079" bIns="41051" anchor="b">
            <a:spAutoFit/>
          </a:bodyPr>
          <a:lstStyle/>
          <a:p>
            <a:pPr defTabSz="813952">
              <a:defRPr/>
            </a:pPr>
            <a:r>
              <a:rPr lang="en-US" sz="800" dirty="0">
                <a:solidFill>
                  <a:srgbClr val="000000">
                    <a:alpha val="25000"/>
                  </a:srgbClr>
                </a:solidFill>
                <a:cs typeface="CiscoSans Thin"/>
              </a:rPr>
              <a:t>© 2015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45" cstate="print">
            <a:extLst>
              <a:ext uri="{28A0092B-C50C-407E-A947-70E740481C1C}">
                <a14:useLocalDpi xmlns:a14="http://schemas.microsoft.com/office/drawing/2010/main"/>
              </a:ext>
            </a:extLst>
          </a:blip>
          <a:srcRect/>
          <a:stretch>
            <a:fillRect/>
          </a:stretch>
        </p:blipFill>
        <p:spPr bwMode="auto">
          <a:xfrm>
            <a:off x="632236" y="6167697"/>
            <a:ext cx="575083" cy="35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7584388"/>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 id="2147483977" r:id="rId17"/>
    <p:sldLayoutId id="2147483978" r:id="rId18"/>
    <p:sldLayoutId id="2147483979" r:id="rId19"/>
    <p:sldLayoutId id="2147483980" r:id="rId20"/>
    <p:sldLayoutId id="2147483981" r:id="rId21"/>
    <p:sldLayoutId id="2147483982" r:id="rId22"/>
    <p:sldLayoutId id="2147483983" r:id="rId23"/>
    <p:sldLayoutId id="2147483984" r:id="rId24"/>
    <p:sldLayoutId id="2147483985" r:id="rId25"/>
    <p:sldLayoutId id="2147483986" r:id="rId26"/>
    <p:sldLayoutId id="2147483987" r:id="rId27"/>
    <p:sldLayoutId id="2147483988" r:id="rId28"/>
    <p:sldLayoutId id="2147483989" r:id="rId29"/>
    <p:sldLayoutId id="2147483990" r:id="rId30"/>
    <p:sldLayoutId id="2147483991" r:id="rId31"/>
    <p:sldLayoutId id="2147483992" r:id="rId32"/>
    <p:sldLayoutId id="2147483993" r:id="rId33"/>
    <p:sldLayoutId id="2147483994" r:id="rId34"/>
    <p:sldLayoutId id="2147483995" r:id="rId35"/>
    <p:sldLayoutId id="2147483996" r:id="rId36"/>
    <p:sldLayoutId id="2147483997" r:id="rId37"/>
    <p:sldLayoutId id="2147483998" r:id="rId38"/>
    <p:sldLayoutId id="2147483999" r:id="rId39"/>
    <p:sldLayoutId id="2147484000" r:id="rId40"/>
    <p:sldLayoutId id="2147484001" r:id="rId41"/>
    <p:sldLayoutId id="2147484002" r:id="rId42"/>
    <p:sldLayoutId id="2147484003" r:id="rId43"/>
  </p:sldLayoutIdLst>
  <p:transition spd="slow">
    <p:wipe/>
  </p:transition>
  <p:txStyles>
    <p:titleStyle>
      <a:lvl1pPr algn="l" defTabSz="911860" rtl="0" eaLnBrk="1" fontAlgn="base" hangingPunct="1">
        <a:lnSpc>
          <a:spcPct val="80000"/>
        </a:lnSpc>
        <a:spcBef>
          <a:spcPct val="0"/>
        </a:spcBef>
        <a:spcAft>
          <a:spcPct val="0"/>
        </a:spcAft>
        <a:defRPr lang="en-US" sz="4267" kern="1200" dirty="0">
          <a:solidFill>
            <a:srgbClr val="676767"/>
          </a:solidFill>
          <a:latin typeface="+mj-lt"/>
          <a:ea typeface="ＭＳ Ｐゴシック" charset="0"/>
          <a:cs typeface="CiscoSans"/>
        </a:defRPr>
      </a:lvl1pPr>
      <a:lvl2pPr algn="l" defTabSz="911860"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1860"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1860"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1860"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307" algn="l" defTabSz="911860"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8640" algn="l" defTabSz="911860"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7953" algn="l" defTabSz="911860"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7275" algn="l" defTabSz="911860"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384" indent="-226384" algn="l" defTabSz="911860"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143" indent="-287719" algn="l" defTabSz="911860"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470" indent="-226384" algn="l" defTabSz="911860"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682" indent="-226384" algn="l" defTabSz="911860"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5884" indent="-226384" algn="l" defTabSz="911860"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282" indent="-228493" algn="l" defTabSz="913945"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199" indent="-228462" algn="l" defTabSz="913945"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198800" indent="0" algn="l" defTabSz="913945" rtl="0" eaLnBrk="1" latinLnBrk="0" hangingPunct="1">
        <a:spcBef>
          <a:spcPct val="20000"/>
        </a:spcBef>
        <a:buFont typeface="Arial" pitchFamily="34" charset="0"/>
        <a:buNone/>
        <a:defRPr sz="2000" kern="1200">
          <a:solidFill>
            <a:schemeClr val="tx1"/>
          </a:solidFill>
          <a:latin typeface="+mn-lt"/>
          <a:ea typeface="+mn-ea"/>
          <a:cs typeface="+mn-cs"/>
        </a:defRPr>
      </a:lvl8pPr>
      <a:lvl9pPr marL="3884275" indent="-228493" algn="l" defTabSz="91394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45" rtl="0" eaLnBrk="1" latinLnBrk="0" hangingPunct="1">
        <a:defRPr sz="1867" kern="1200">
          <a:solidFill>
            <a:schemeClr val="tx1"/>
          </a:solidFill>
          <a:latin typeface="+mn-lt"/>
          <a:ea typeface="+mn-ea"/>
          <a:cs typeface="+mn-cs"/>
        </a:defRPr>
      </a:lvl1pPr>
      <a:lvl2pPr marL="456962" algn="l" defTabSz="913945" rtl="0" eaLnBrk="1" latinLnBrk="0" hangingPunct="1">
        <a:defRPr sz="1867" kern="1200">
          <a:solidFill>
            <a:schemeClr val="tx1"/>
          </a:solidFill>
          <a:latin typeface="+mn-lt"/>
          <a:ea typeface="+mn-ea"/>
          <a:cs typeface="+mn-cs"/>
        </a:defRPr>
      </a:lvl2pPr>
      <a:lvl3pPr marL="913945" algn="l" defTabSz="913945" rtl="0" eaLnBrk="1" latinLnBrk="0" hangingPunct="1">
        <a:defRPr sz="1867" kern="1200">
          <a:solidFill>
            <a:schemeClr val="tx1"/>
          </a:solidFill>
          <a:latin typeface="+mn-lt"/>
          <a:ea typeface="+mn-ea"/>
          <a:cs typeface="+mn-cs"/>
        </a:defRPr>
      </a:lvl3pPr>
      <a:lvl4pPr marL="1370916" algn="l" defTabSz="913945" rtl="0" eaLnBrk="1" latinLnBrk="0" hangingPunct="1">
        <a:defRPr sz="1867" kern="1200">
          <a:solidFill>
            <a:schemeClr val="tx1"/>
          </a:solidFill>
          <a:latin typeface="+mn-lt"/>
          <a:ea typeface="+mn-ea"/>
          <a:cs typeface="+mn-cs"/>
        </a:defRPr>
      </a:lvl4pPr>
      <a:lvl5pPr marL="1827893" algn="l" defTabSz="913945" rtl="0" eaLnBrk="1" latinLnBrk="0" hangingPunct="1">
        <a:defRPr sz="1867" kern="1200">
          <a:solidFill>
            <a:schemeClr val="tx1"/>
          </a:solidFill>
          <a:latin typeface="+mn-lt"/>
          <a:ea typeface="+mn-ea"/>
          <a:cs typeface="+mn-cs"/>
        </a:defRPr>
      </a:lvl5pPr>
      <a:lvl6pPr marL="2284870" algn="l" defTabSz="913945" rtl="0" eaLnBrk="1" latinLnBrk="0" hangingPunct="1">
        <a:defRPr sz="1867" kern="1200">
          <a:solidFill>
            <a:schemeClr val="tx1"/>
          </a:solidFill>
          <a:latin typeface="+mn-lt"/>
          <a:ea typeface="+mn-ea"/>
          <a:cs typeface="+mn-cs"/>
        </a:defRPr>
      </a:lvl6pPr>
      <a:lvl7pPr marL="2741838" algn="l" defTabSz="913945" rtl="0" eaLnBrk="1" latinLnBrk="0" hangingPunct="1">
        <a:defRPr sz="1867" kern="1200">
          <a:solidFill>
            <a:schemeClr val="tx1"/>
          </a:solidFill>
          <a:latin typeface="+mn-lt"/>
          <a:ea typeface="+mn-ea"/>
          <a:cs typeface="+mn-cs"/>
        </a:defRPr>
      </a:lvl7pPr>
      <a:lvl8pPr marL="3198800" algn="l" defTabSz="913945" rtl="0" eaLnBrk="1" latinLnBrk="0" hangingPunct="1">
        <a:defRPr sz="1867" kern="1200">
          <a:solidFill>
            <a:schemeClr val="tx1"/>
          </a:solidFill>
          <a:latin typeface="+mn-lt"/>
          <a:ea typeface="+mn-ea"/>
          <a:cs typeface="+mn-cs"/>
        </a:defRPr>
      </a:lvl8pPr>
      <a:lvl9pPr marL="3655767" algn="l" defTabSz="913945" rtl="0" eaLnBrk="1" latinLnBrk="0" hangingPunct="1">
        <a:defRPr sz="1867"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70C0">
            <a:alpha val="28000"/>
          </a:srgb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48"/>
            </p:custData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spid="_x0000_s5674" name="think-cell Slide" r:id="rId49" imgW="381" imgH="286" progId="TCLayout.ActiveDocument.1">
                  <p:embed/>
                </p:oleObj>
              </mc:Choice>
              <mc:Fallback>
                <p:oleObj name="think-cell Slide" r:id="rId49" imgW="381" imgH="286" progId="TCLayout.ActiveDocument.1">
                  <p:embed/>
                  <p:pic>
                    <p:nvPicPr>
                      <p:cNvPr id="0" name=""/>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le Placeholder 5"/>
          <p:cNvSpPr>
            <a:spLocks noGrp="1"/>
          </p:cNvSpPr>
          <p:nvPr>
            <p:ph type="title"/>
          </p:nvPr>
        </p:nvSpPr>
        <p:spPr bwMode="auto">
          <a:xfrm>
            <a:off x="584200"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pic>
        <p:nvPicPr>
          <p:cNvPr id="1029" name="Picture 2"/>
          <p:cNvPicPr>
            <a:picLocks noChangeAspect="1" noChangeArrowheads="1"/>
          </p:cNvPicPr>
          <p:nvPr/>
        </p:nvPicPr>
        <p:blipFill>
          <a:blip r:embed="rId51" cstate="print">
            <a:extLst>
              <a:ext uri="{28A0092B-C50C-407E-A947-70E740481C1C}">
                <a14:useLocalDpi xmlns:a14="http://schemas.microsoft.com/office/drawing/2010/main" val="0"/>
              </a:ext>
            </a:extLst>
          </a:blip>
          <a:stretch>
            <a:fillRect/>
          </a:stretch>
        </p:blipFill>
        <p:spPr bwMode="auto">
          <a:xfrm>
            <a:off x="636905" y="6403177"/>
            <a:ext cx="565573" cy="35348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7"/>
          <p:cNvSpPr>
            <a:spLocks noChangeArrowheads="1"/>
          </p:cNvSpPr>
          <p:nvPr/>
        </p:nvSpPr>
        <p:spPr bwMode="ltGray">
          <a:xfrm>
            <a:off x="11354627" y="6559271"/>
            <a:ext cx="290868" cy="206025"/>
          </a:xfrm>
          <a:prstGeom prst="rect">
            <a:avLst/>
          </a:prstGeom>
          <a:noFill/>
          <a:ln w="9525" algn="ctr">
            <a:noFill/>
            <a:miter lim="800000"/>
            <a:headEnd/>
            <a:tailEnd/>
          </a:ln>
          <a:effectLst/>
        </p:spPr>
        <p:txBody>
          <a:bodyPr wrap="none" lIns="82115" tIns="41056" rIns="82115" bIns="41056" anchor="b">
            <a:spAutoFit/>
          </a:bodyPr>
          <a:lstStyle/>
          <a:p>
            <a:pPr algn="r" defTabSz="814305">
              <a:defRPr/>
            </a:pPr>
            <a:fld id="{4ABDCABE-3F10-B64C-92F1-862014417034}" type="slidenum">
              <a:rPr lang="en-US" sz="800">
                <a:solidFill>
                  <a:srgbClr val="000000">
                    <a:alpha val="25000"/>
                  </a:srgbClr>
                </a:solidFill>
                <a:cs typeface="CiscoSans Thin"/>
              </a:rPr>
              <a:pPr algn="r" defTabSz="814305">
                <a:defRPr/>
              </a:pPr>
              <a:t>‹#›</a:t>
            </a:fld>
            <a:endParaRPr lang="en-US" sz="800" dirty="0">
              <a:solidFill>
                <a:srgbClr val="000000">
                  <a:alpha val="25000"/>
                </a:srgbClr>
              </a:solidFill>
              <a:cs typeface="CiscoSans Thin"/>
            </a:endParaRPr>
          </a:p>
        </p:txBody>
      </p:sp>
      <p:sp>
        <p:nvSpPr>
          <p:cNvPr id="8" name="Rectangle 4"/>
          <p:cNvSpPr>
            <a:spLocks noChangeArrowheads="1"/>
          </p:cNvSpPr>
          <p:nvPr/>
        </p:nvSpPr>
        <p:spPr bwMode="ltGray">
          <a:xfrm>
            <a:off x="7048501" y="6556986"/>
            <a:ext cx="4223620" cy="206025"/>
          </a:xfrm>
          <a:prstGeom prst="rect">
            <a:avLst/>
          </a:prstGeom>
          <a:noFill/>
          <a:ln w="9525">
            <a:noFill/>
            <a:miter lim="800000"/>
            <a:headEnd/>
            <a:tailEnd/>
          </a:ln>
          <a:effectLst/>
        </p:spPr>
        <p:txBody>
          <a:bodyPr wrap="square" lIns="82115" tIns="41056" rIns="82115" bIns="41056" anchor="b">
            <a:spAutoFit/>
          </a:bodyPr>
          <a:lstStyle/>
          <a:p>
            <a:pPr algn="r" defTabSz="814305">
              <a:defRPr/>
            </a:pPr>
            <a:r>
              <a:rPr lang="en-US" sz="800" dirty="0">
                <a:solidFill>
                  <a:srgbClr val="000000">
                    <a:alpha val="25000"/>
                  </a:srgbClr>
                </a:solidFill>
                <a:ea typeface="ＭＳ Ｐゴシック" pitchFamily="34" charset="-128"/>
                <a:cs typeface="CiscoSans Thin"/>
              </a:rPr>
              <a:t>C97-738306-01 © 2017  Cisco and/or its affiliates. All rights reserved.   Cisco Confidential</a:t>
            </a:r>
          </a:p>
        </p:txBody>
      </p:sp>
    </p:spTree>
    <p:extLst>
      <p:ext uri="{BB962C8B-B14F-4D97-AF65-F5344CB8AC3E}">
        <p14:creationId xmlns:p14="http://schemas.microsoft.com/office/powerpoint/2010/main" val="1315889939"/>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 id="2147484018" r:id="rId13"/>
    <p:sldLayoutId id="2147484019" r:id="rId14"/>
    <p:sldLayoutId id="2147484020" r:id="rId15"/>
    <p:sldLayoutId id="2147484021" r:id="rId16"/>
    <p:sldLayoutId id="2147484022" r:id="rId17"/>
    <p:sldLayoutId id="2147484023" r:id="rId18"/>
    <p:sldLayoutId id="2147484024" r:id="rId19"/>
    <p:sldLayoutId id="2147484025" r:id="rId20"/>
    <p:sldLayoutId id="2147484026" r:id="rId21"/>
    <p:sldLayoutId id="2147484027" r:id="rId22"/>
    <p:sldLayoutId id="2147484028" r:id="rId23"/>
    <p:sldLayoutId id="2147484029" r:id="rId24"/>
    <p:sldLayoutId id="2147484030" r:id="rId25"/>
    <p:sldLayoutId id="2147484031" r:id="rId26"/>
    <p:sldLayoutId id="2147484032" r:id="rId27"/>
    <p:sldLayoutId id="2147484033" r:id="rId28"/>
    <p:sldLayoutId id="2147484034" r:id="rId29"/>
    <p:sldLayoutId id="2147484035" r:id="rId30"/>
    <p:sldLayoutId id="2147484036" r:id="rId31"/>
    <p:sldLayoutId id="2147484037" r:id="rId32"/>
    <p:sldLayoutId id="2147484038" r:id="rId33"/>
    <p:sldLayoutId id="2147484039" r:id="rId34"/>
    <p:sldLayoutId id="2147484040" r:id="rId35"/>
    <p:sldLayoutId id="2147484041" r:id="rId36"/>
    <p:sldLayoutId id="2147484042" r:id="rId37"/>
    <p:sldLayoutId id="2147484043" r:id="rId38"/>
    <p:sldLayoutId id="2147484044" r:id="rId39"/>
    <p:sldLayoutId id="2147484045" r:id="rId40"/>
    <p:sldLayoutId id="2147484046" r:id="rId41"/>
    <p:sldLayoutId id="2147484047" r:id="rId42"/>
    <p:sldLayoutId id="2147484048" r:id="rId43"/>
    <p:sldLayoutId id="2147484051" r:id="rId44"/>
    <p:sldLayoutId id="2147484052" r:id="rId45"/>
  </p:sldLayoutIdLst>
  <p:transition spd="slow">
    <p:wipe/>
  </p:transition>
  <p:txStyles>
    <p:titleStyle>
      <a:lvl1pPr algn="l" defTabSz="912261" rtl="0" eaLnBrk="1" fontAlgn="base" hangingPunct="1">
        <a:lnSpc>
          <a:spcPct val="80000"/>
        </a:lnSpc>
        <a:spcBef>
          <a:spcPct val="0"/>
        </a:spcBef>
        <a:spcAft>
          <a:spcPct val="0"/>
        </a:spcAft>
        <a:defRPr lang="en-US" sz="4000" kern="1200" dirty="0">
          <a:solidFill>
            <a:schemeClr val="tx2"/>
          </a:solidFill>
          <a:latin typeface="+mj-lt"/>
          <a:ea typeface="ＭＳ Ｐゴシック" charset="0"/>
          <a:cs typeface="CiscoSans"/>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cs typeface="CiscoSans" pitchFamily="34"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cs typeface="CiscoSans" pitchFamily="34"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cs typeface="CiscoSans" pitchFamily="34"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cs typeface="CiscoSans" pitchFamily="34"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6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bwMode="auto">
          <a:xfrm>
            <a:off x="270934" y="2476501"/>
            <a:ext cx="11275484" cy="9715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nchor="ctr"/>
          <a:lstStyle>
            <a:lvl1pPr marL="6251" indent="-6251" algn="l" rtl="0" eaLnBrk="0" fontAlgn="base" hangingPunct="0">
              <a:lnSpc>
                <a:spcPct val="90000"/>
              </a:lnSpc>
              <a:spcBef>
                <a:spcPct val="0"/>
              </a:spcBef>
              <a:spcAft>
                <a:spcPct val="0"/>
              </a:spcAft>
              <a:defRPr sz="2800" b="0" baseline="0">
                <a:solidFill>
                  <a:schemeClr val="accent1"/>
                </a:solidFill>
                <a:latin typeface="+mj-lt"/>
                <a:ea typeface="+mj-ea"/>
                <a:cs typeface="+mj-cs"/>
                <a:sym typeface="Arial" pitchFamily="34" charset="0"/>
              </a:defRPr>
            </a:lvl1pPr>
            <a:lvl2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marL="8334" indent="-8334" algn="ctr" defTabSz="914377">
              <a:lnSpc>
                <a:spcPct val="150000"/>
              </a:lnSpc>
              <a:defRPr/>
            </a:pPr>
            <a:endParaRPr lang="en-US" sz="4267" kern="0" dirty="0">
              <a:solidFill>
                <a:srgbClr val="FFFFFF"/>
              </a:solidFill>
              <a:latin typeface="CiscoSans Thin"/>
            </a:endParaRPr>
          </a:p>
        </p:txBody>
      </p:sp>
      <p:sp>
        <p:nvSpPr>
          <p:cNvPr id="4" name="Footer Placeholder 3"/>
          <p:cNvSpPr>
            <a:spLocks noGrp="1"/>
          </p:cNvSpPr>
          <p:nvPr>
            <p:ph type="ftr" sz="quarter" idx="3"/>
          </p:nvPr>
        </p:nvSpPr>
        <p:spPr/>
        <p:txBody>
          <a:bodyPr/>
          <a:lstStyle/>
          <a:p>
            <a:pPr defTabSz="814305">
              <a:defRPr/>
            </a:pPr>
            <a:r>
              <a:rPr lang="en-US">
                <a:solidFill>
                  <a:srgbClr val="FFFFFF">
                    <a:alpha val="60000"/>
                  </a:srgbClr>
                </a:solidFill>
                <a:latin typeface="Arial"/>
                <a:ea typeface="ＭＳ Ｐゴシック" charset="0"/>
              </a:rPr>
              <a:t>BRKSDN-2901</a:t>
            </a:r>
            <a:endParaRPr lang="en-US" dirty="0">
              <a:solidFill>
                <a:srgbClr val="FFFFFF">
                  <a:alpha val="60000"/>
                </a:srgbClr>
              </a:solidFill>
              <a:latin typeface="Arial"/>
              <a:ea typeface="ＭＳ Ｐゴシック" charset="0"/>
            </a:endParaRPr>
          </a:p>
        </p:txBody>
      </p:sp>
      <p:sp>
        <p:nvSpPr>
          <p:cNvPr id="7" name="Slide Number Placeholder 6"/>
          <p:cNvSpPr>
            <a:spLocks noGrp="1"/>
          </p:cNvSpPr>
          <p:nvPr>
            <p:ph type="sldNum" sz="quarter" idx="4"/>
          </p:nvPr>
        </p:nvSpPr>
        <p:spPr/>
        <p:txBody>
          <a:bodyPr/>
          <a:lstStyle/>
          <a:p>
            <a:pPr defTabSz="914377">
              <a:defRPr/>
            </a:pPr>
            <a:fld id="{96A97DD0-5BE7-4856-A2A9-C42C6688E607}" type="slidenum">
              <a:rPr lang="en-US">
                <a:solidFill>
                  <a:srgbClr val="FFFFFF">
                    <a:alpha val="60000"/>
                  </a:srgbClr>
                </a:solidFill>
                <a:latin typeface="Arial"/>
              </a:rPr>
              <a:pPr defTabSz="914377">
                <a:defRPr/>
              </a:pPr>
              <a:t>1</a:t>
            </a:fld>
            <a:endParaRPr lang="en-US" dirty="0">
              <a:solidFill>
                <a:srgbClr val="FFFFFF">
                  <a:alpha val="60000"/>
                </a:srgbClr>
              </a:solidFill>
              <a:latin typeface="Arial"/>
            </a:endParaRPr>
          </a:p>
        </p:txBody>
      </p:sp>
      <p:sp>
        <p:nvSpPr>
          <p:cNvPr id="6" name="Title 1"/>
          <p:cNvSpPr>
            <a:spLocks noGrp="1"/>
          </p:cNvSpPr>
          <p:nvPr>
            <p:ph type="title"/>
          </p:nvPr>
        </p:nvSpPr>
        <p:spPr>
          <a:xfrm>
            <a:off x="448833" y="1985911"/>
            <a:ext cx="11222524" cy="1666011"/>
          </a:xfrm>
        </p:spPr>
        <p:txBody>
          <a:bodyPr/>
          <a:lstStyle/>
          <a:p>
            <a:r>
              <a:rPr lang="en-US" dirty="0" err="1"/>
              <a:t>Inband</a:t>
            </a:r>
            <a:r>
              <a:rPr lang="en-US" dirty="0"/>
              <a:t> Network Telemetry (INT)</a:t>
            </a:r>
            <a:br>
              <a:rPr lang="en-US" dirty="0"/>
            </a:br>
            <a:r>
              <a:rPr lang="en-US" dirty="0"/>
              <a:t>Version 2.0</a:t>
            </a:r>
          </a:p>
        </p:txBody>
      </p:sp>
    </p:spTree>
    <p:extLst>
      <p:ext uri="{BB962C8B-B14F-4D97-AF65-F5344CB8AC3E}">
        <p14:creationId xmlns:p14="http://schemas.microsoft.com/office/powerpoint/2010/main" val="23574982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latin typeface="Courier" charset="0"/>
                <a:ea typeface="Courier" charset="0"/>
                <a:cs typeface="Courier" charset="0"/>
              </a:rPr>
              <a:t>INT Domain Specific Instruction Handling</a:t>
            </a:r>
            <a:endParaRPr lang="en-US" sz="3600" dirty="0"/>
          </a:p>
        </p:txBody>
      </p:sp>
      <p:sp>
        <p:nvSpPr>
          <p:cNvPr id="6" name="Content Placeholder 4"/>
          <p:cNvSpPr txBox="1">
            <a:spLocks/>
          </p:cNvSpPr>
          <p:nvPr/>
        </p:nvSpPr>
        <p:spPr bwMode="auto">
          <a:xfrm>
            <a:off x="470567" y="1248754"/>
            <a:ext cx="10146632" cy="27516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187325" indent="-185738" algn="l" rtl="0" eaLnBrk="0" fontAlgn="base" hangingPunct="0">
              <a:lnSpc>
                <a:spcPct val="90000"/>
              </a:lnSpc>
              <a:spcBef>
                <a:spcPts val="1200"/>
              </a:spcBef>
              <a:spcAft>
                <a:spcPct val="0"/>
              </a:spcAft>
              <a:buSzPct val="80000"/>
              <a:buFont typeface="Arial" panose="020B0604020202020204" pitchFamily="34" charset="0"/>
              <a:buChar char="•"/>
              <a:defRPr>
                <a:solidFill>
                  <a:schemeClr val="tx1"/>
                </a:solidFill>
                <a:latin typeface="+mn-lt"/>
                <a:ea typeface="+mn-ea"/>
                <a:cs typeface="+mn-cs"/>
                <a:sym typeface="Arial" panose="020B0604020202020204" pitchFamily="34" charset="0"/>
              </a:defRPr>
            </a:lvl1pPr>
            <a:lvl2pPr marL="385763" indent="-193675" algn="l" rtl="0" eaLnBrk="0" fontAlgn="base" hangingPunct="0">
              <a:lnSpc>
                <a:spcPct val="90000"/>
              </a:lnSpc>
              <a:spcBef>
                <a:spcPts val="400"/>
              </a:spcBef>
              <a:spcAft>
                <a:spcPct val="0"/>
              </a:spcAft>
              <a:buSzPct val="80000"/>
              <a:buFont typeface="Arial" panose="020B0604020202020204" pitchFamily="34" charset="0"/>
              <a:buChar char="•"/>
              <a:defRPr sz="1600">
                <a:solidFill>
                  <a:schemeClr val="tx1"/>
                </a:solidFill>
                <a:latin typeface="+mn-lt"/>
                <a:ea typeface="+mn-ea"/>
                <a:cs typeface="+mn-cs"/>
                <a:sym typeface="Arial" panose="020B0604020202020204" pitchFamily="34" charset="0"/>
              </a:defRPr>
            </a:lvl2pPr>
            <a:lvl3pPr marL="54610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3pPr>
            <a:lvl4pPr marL="70485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4pPr>
            <a:lvl5pPr marL="773113" indent="-66675"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anose="020B0604020202020204"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a:buFont typeface="Wingdings" charset="2"/>
              <a:buChar char="Ø"/>
            </a:pPr>
            <a:r>
              <a:rPr lang="en-US" sz="1600" dirty="0">
                <a:latin typeface="Courier" charset="0"/>
                <a:ea typeface="Courier" charset="0"/>
                <a:cs typeface="Courier" charset="0"/>
              </a:rPr>
              <a:t>Each INT Transit device adds its own metadata values as specified in Domain Specific Instruction Bitmap if Domain Specific ID matches one of its configured Device Specific ID(s).</a:t>
            </a:r>
          </a:p>
          <a:p>
            <a:pPr>
              <a:buFont typeface="Wingdings" charset="2"/>
              <a:buChar char="Ø"/>
            </a:pPr>
            <a:endParaRPr lang="en-US" sz="1600" dirty="0">
              <a:latin typeface="Courier" charset="0"/>
              <a:ea typeface="Courier" charset="0"/>
              <a:cs typeface="Courier" charset="0"/>
            </a:endParaRPr>
          </a:p>
          <a:p>
            <a:pPr lvl="1">
              <a:buFont typeface="Wingdings" charset="2"/>
              <a:buChar char="q"/>
            </a:pPr>
            <a:r>
              <a:rPr lang="en-US" dirty="0">
                <a:latin typeface="Courier" charset="0"/>
                <a:ea typeface="Courier" charset="0"/>
                <a:cs typeface="Courier" charset="0"/>
              </a:rPr>
              <a:t>Each instruction metadata is 4 bytes.</a:t>
            </a:r>
          </a:p>
          <a:p>
            <a:pPr lvl="1">
              <a:buFont typeface="Wingdings" charset="2"/>
              <a:buChar char="q"/>
            </a:pPr>
            <a:r>
              <a:rPr lang="en-US" dirty="0">
                <a:latin typeface="Courier" charset="0"/>
                <a:ea typeface="Courier" charset="0"/>
                <a:cs typeface="Courier" charset="0"/>
              </a:rPr>
              <a:t>Metadata size  = Instruction Count * 4 bytes.</a:t>
            </a:r>
          </a:p>
          <a:p>
            <a:pPr lvl="1">
              <a:buFont typeface="Wingdings" charset="2"/>
              <a:buChar char="q"/>
            </a:pPr>
            <a:r>
              <a:rPr lang="en-US" dirty="0">
                <a:latin typeface="Courier" charset="0"/>
                <a:ea typeface="Courier" charset="0"/>
                <a:cs typeface="Courier" charset="0"/>
              </a:rPr>
              <a:t>Metadata prepended at the top of the Metadata Stack.</a:t>
            </a:r>
          </a:p>
          <a:p>
            <a:pPr lvl="1">
              <a:buFont typeface="Wingdings" charset="2"/>
              <a:buChar char="q"/>
            </a:pPr>
            <a:r>
              <a:rPr lang="en-US" dirty="0">
                <a:latin typeface="Courier" charset="0"/>
                <a:ea typeface="Courier" charset="0"/>
                <a:cs typeface="Courier" charset="0"/>
              </a:rPr>
              <a:t>If unable to provide metadata specified in instruction bitmap, indicate  invalid metadata (reserved value 0xFFFF_FFFF).</a:t>
            </a:r>
          </a:p>
          <a:p>
            <a:pPr lvl="1">
              <a:buFont typeface="Wingdings" charset="2"/>
              <a:buChar char="q"/>
            </a:pPr>
            <a:r>
              <a:rPr lang="en-US" dirty="0">
                <a:latin typeface="Courier" charset="0"/>
                <a:ea typeface="Courier" charset="0"/>
                <a:cs typeface="Courier" charset="0"/>
              </a:rPr>
              <a:t>If Metadata size cannot be prepended, skip INT handling.</a:t>
            </a:r>
          </a:p>
          <a:p>
            <a:pPr>
              <a:buFont typeface="Wingdings" charset="2"/>
              <a:buChar char="Ø"/>
            </a:pPr>
            <a:endParaRPr lang="en-US" sz="1600" dirty="0">
              <a:latin typeface="Courier" charset="0"/>
              <a:ea typeface="Courier" charset="0"/>
              <a:cs typeface="Courier" charset="0"/>
            </a:endParaRPr>
          </a:p>
          <a:p>
            <a:pPr>
              <a:buFont typeface="Wingdings" charset="2"/>
              <a:buChar char="Ø"/>
            </a:pPr>
            <a:endParaRPr lang="en-US" sz="1600" dirty="0">
              <a:latin typeface="Courier" charset="0"/>
              <a:ea typeface="Courier" charset="0"/>
              <a:cs typeface="Courier" charset="0"/>
            </a:endParaRPr>
          </a:p>
        </p:txBody>
      </p:sp>
      <p:sp>
        <p:nvSpPr>
          <p:cNvPr id="5" name="Rectangle 4">
            <a:extLst>
              <a:ext uri="{FF2B5EF4-FFF2-40B4-BE49-F238E27FC236}">
                <a16:creationId xmlns:a16="http://schemas.microsoft.com/office/drawing/2014/main" id="{ABCA18AF-4D70-444E-A16F-58007324D72D}"/>
              </a:ext>
            </a:extLst>
          </p:cNvPr>
          <p:cNvSpPr/>
          <p:nvPr/>
        </p:nvSpPr>
        <p:spPr>
          <a:xfrm>
            <a:off x="1439247" y="4000384"/>
            <a:ext cx="5748632" cy="2970044"/>
          </a:xfrm>
          <a:prstGeom prst="rect">
            <a:avLst/>
          </a:prstGeom>
        </p:spPr>
        <p:txBody>
          <a:bodyPr wrap="square">
            <a:spAutoFit/>
          </a:bodyPr>
          <a:lstStyle/>
          <a:p>
            <a:r>
              <a:rPr lang="en-US" sz="1100" dirty="0">
                <a:latin typeface="Courier" charset="0"/>
                <a:ea typeface="Courier" charset="0"/>
                <a:cs typeface="Courier" charset="0"/>
              </a:rPr>
              <a:t> </a:t>
            </a:r>
          </a:p>
          <a:p>
            <a:r>
              <a:rPr lang="en-US" sz="1100" dirty="0">
                <a:latin typeface="Courier" charset="0"/>
                <a:ea typeface="Courier" charset="0"/>
                <a:cs typeface="Courier" charset="0"/>
              </a:rPr>
              <a:t> 0                   1                   2                   3</a:t>
            </a:r>
          </a:p>
          <a:p>
            <a:r>
              <a:rPr lang="en-US" sz="1100" dirty="0">
                <a:latin typeface="Courier" charset="0"/>
                <a:ea typeface="Courier" charset="0"/>
                <a:cs typeface="Courier" charset="0"/>
              </a:rPr>
              <a:t> 0 1 2 3 4 5 6 7 8 9 0 1 2 3 4 5 6 7 8 9 0 1 2 3 4 5 6 7 8 9 0 1</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Ver  |</a:t>
            </a:r>
            <a:r>
              <a:rPr lang="en-US" sz="1100" dirty="0" err="1">
                <a:latin typeface="Courier" charset="0"/>
                <a:ea typeface="Courier" charset="0"/>
                <a:cs typeface="Courier" charset="0"/>
              </a:rPr>
              <a:t>Rep|C|E|M</a:t>
            </a:r>
            <a:r>
              <a:rPr lang="en-US" sz="1100" dirty="0">
                <a:latin typeface="Courier" charset="0"/>
                <a:ea typeface="Courier" charset="0"/>
                <a:cs typeface="Courier" charset="0"/>
              </a:rPr>
              <a:t>|      Reserved   | Hop ML  |</a:t>
            </a:r>
            <a:r>
              <a:rPr lang="en-US" sz="1100" dirty="0" err="1">
                <a:latin typeface="Courier" charset="0"/>
                <a:ea typeface="Courier" charset="0"/>
                <a:cs typeface="Courier" charset="0"/>
              </a:rPr>
              <a:t>RemainingHop</a:t>
            </a:r>
            <a:r>
              <a:rPr lang="en-US" sz="1100" dirty="0">
                <a:latin typeface="Courier" charset="0"/>
                <a:ea typeface="Courier" charset="0"/>
                <a:cs typeface="Courier" charset="0"/>
              </a:rPr>
              <a:t> </a:t>
            </a:r>
            <a:r>
              <a:rPr lang="en-US" sz="1100" dirty="0" err="1">
                <a:latin typeface="Courier" charset="0"/>
                <a:ea typeface="Courier" charset="0"/>
                <a:cs typeface="Courier" charset="0"/>
              </a:rPr>
              <a:t>Cnt</a:t>
            </a:r>
            <a:r>
              <a:rPr lang="en-US" sz="1100" dirty="0">
                <a:latin typeface="Courier" charset="0"/>
                <a:ea typeface="Courier" charset="0"/>
                <a:cs typeface="Courier" charset="0"/>
              </a:rPr>
              <a:t> |</a:t>
            </a:r>
          </a:p>
          <a:p>
            <a:r>
              <a:rPr lang="en-US" sz="1100" dirty="0">
                <a:latin typeface="Courier" charset="0"/>
                <a:ea typeface="Courier" charset="0"/>
                <a:cs typeface="Courier" charset="0"/>
              </a:rPr>
              <a:t>​+-+-+-+-+-+-+-+-+-+-+-+-+-+-+-+-+-+-+-+-+-+-+-+-+-+-+-+-+-+-+-+-+ </a:t>
            </a:r>
          </a:p>
          <a:p>
            <a:r>
              <a:rPr lang="en-US" sz="1100" dirty="0">
                <a:latin typeface="Courier" charset="0"/>
                <a:ea typeface="Courier" charset="0"/>
                <a:cs typeface="Courier" charset="0"/>
              </a:rPr>
              <a:t>|      Instruction Bitmap       |     Domain Specific ID        |</a:t>
            </a:r>
          </a:p>
          <a:p>
            <a:r>
              <a:rPr lang="en-US" sz="1100" dirty="0">
                <a:latin typeface="Courier" charset="0"/>
                <a:ea typeface="Courier" charset="0"/>
                <a:cs typeface="Courier" charset="0"/>
              </a:rPr>
              <a:t>+-+-+-+-+-+-+-+-+-+-+-+-+-+-+-+-+-+-+-+-+-+-+-+-+-+-+-+-+-+-+-+-+ </a:t>
            </a:r>
          </a:p>
          <a:p>
            <a:r>
              <a:rPr lang="en-US" sz="1100" dirty="0">
                <a:latin typeface="Courier" charset="0"/>
                <a:ea typeface="Courier" charset="0"/>
                <a:cs typeface="Courier" charset="0"/>
              </a:rPr>
              <a:t>|            DS Instruction     |            DS Flags       </a:t>
            </a:r>
            <a:r>
              <a:rPr lang="en-US" sz="1100" b="1" dirty="0">
                <a:latin typeface="Courier" charset="0"/>
                <a:ea typeface="Courier" charset="0"/>
                <a:cs typeface="Courier" charset="0"/>
              </a:rPr>
              <a:t>    </a:t>
            </a:r>
            <a:r>
              <a:rPr lang="en-US" sz="1100" dirty="0">
                <a:latin typeface="Courier" charset="0"/>
                <a:ea typeface="Courier" charset="0"/>
                <a:cs typeface="Courier" charset="0"/>
              </a:rPr>
              <a:t>|</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INT Metadata Stack (Each hop inserts HOP ML * 4B of metadata) |</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 . .                            |</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Last INT Metadata                        |</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a:t>
            </a:r>
          </a:p>
        </p:txBody>
      </p:sp>
    </p:spTree>
    <p:extLst>
      <p:ext uri="{BB962C8B-B14F-4D97-AF65-F5344CB8AC3E}">
        <p14:creationId xmlns:p14="http://schemas.microsoft.com/office/powerpoint/2010/main" val="977237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bwMode="auto">
          <a:xfrm>
            <a:off x="270934" y="2476501"/>
            <a:ext cx="11275484" cy="9715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nchor="ctr"/>
          <a:lstStyle>
            <a:lvl1pPr marL="6251" indent="-6251" algn="l" rtl="0" eaLnBrk="0" fontAlgn="base" hangingPunct="0">
              <a:lnSpc>
                <a:spcPct val="90000"/>
              </a:lnSpc>
              <a:spcBef>
                <a:spcPct val="0"/>
              </a:spcBef>
              <a:spcAft>
                <a:spcPct val="0"/>
              </a:spcAft>
              <a:defRPr sz="2800" b="0" baseline="0">
                <a:solidFill>
                  <a:schemeClr val="accent1"/>
                </a:solidFill>
                <a:latin typeface="+mj-lt"/>
                <a:ea typeface="+mj-ea"/>
                <a:cs typeface="+mj-cs"/>
                <a:sym typeface="Arial" pitchFamily="34" charset="0"/>
              </a:defRPr>
            </a:lvl1pPr>
            <a:lvl2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marL="8334" indent="-8334" algn="ctr" defTabSz="914377">
              <a:lnSpc>
                <a:spcPct val="150000"/>
              </a:lnSpc>
              <a:defRPr/>
            </a:pPr>
            <a:endParaRPr lang="en-US" sz="4267" kern="0" dirty="0">
              <a:solidFill>
                <a:srgbClr val="FFFFFF"/>
              </a:solidFill>
              <a:latin typeface="CiscoSans Thin"/>
            </a:endParaRPr>
          </a:p>
        </p:txBody>
      </p:sp>
      <p:sp>
        <p:nvSpPr>
          <p:cNvPr id="4" name="Footer Placeholder 3"/>
          <p:cNvSpPr>
            <a:spLocks noGrp="1"/>
          </p:cNvSpPr>
          <p:nvPr>
            <p:ph type="ftr" sz="quarter" idx="3"/>
          </p:nvPr>
        </p:nvSpPr>
        <p:spPr/>
        <p:txBody>
          <a:bodyPr/>
          <a:lstStyle/>
          <a:p>
            <a:pPr defTabSz="814305">
              <a:defRPr/>
            </a:pPr>
            <a:r>
              <a:rPr lang="en-US">
                <a:solidFill>
                  <a:srgbClr val="FFFFFF">
                    <a:alpha val="60000"/>
                  </a:srgbClr>
                </a:solidFill>
                <a:latin typeface="Arial"/>
                <a:ea typeface="ＭＳ Ｐゴシック" charset="0"/>
              </a:rPr>
              <a:t>BRKSDN-2901</a:t>
            </a:r>
            <a:endParaRPr lang="en-US" dirty="0">
              <a:solidFill>
                <a:srgbClr val="FFFFFF">
                  <a:alpha val="60000"/>
                </a:srgbClr>
              </a:solidFill>
              <a:latin typeface="Arial"/>
              <a:ea typeface="ＭＳ Ｐゴシック" charset="0"/>
            </a:endParaRPr>
          </a:p>
        </p:txBody>
      </p:sp>
      <p:sp>
        <p:nvSpPr>
          <p:cNvPr id="7" name="Slide Number Placeholder 6"/>
          <p:cNvSpPr>
            <a:spLocks noGrp="1"/>
          </p:cNvSpPr>
          <p:nvPr>
            <p:ph type="sldNum" sz="quarter" idx="4"/>
          </p:nvPr>
        </p:nvSpPr>
        <p:spPr/>
        <p:txBody>
          <a:bodyPr/>
          <a:lstStyle/>
          <a:p>
            <a:pPr defTabSz="914377">
              <a:defRPr/>
            </a:pPr>
            <a:fld id="{96A97DD0-5BE7-4856-A2A9-C42C6688E607}" type="slidenum">
              <a:rPr lang="en-US">
                <a:solidFill>
                  <a:srgbClr val="FFFFFF">
                    <a:alpha val="60000"/>
                  </a:srgbClr>
                </a:solidFill>
                <a:latin typeface="Arial"/>
              </a:rPr>
              <a:pPr defTabSz="914377">
                <a:defRPr/>
              </a:pPr>
              <a:t>11</a:t>
            </a:fld>
            <a:endParaRPr lang="en-US" dirty="0">
              <a:solidFill>
                <a:srgbClr val="FFFFFF">
                  <a:alpha val="60000"/>
                </a:srgbClr>
              </a:solidFill>
              <a:latin typeface="Arial"/>
            </a:endParaRPr>
          </a:p>
        </p:txBody>
      </p:sp>
      <p:sp>
        <p:nvSpPr>
          <p:cNvPr id="6" name="Title 1"/>
          <p:cNvSpPr>
            <a:spLocks noGrp="1"/>
          </p:cNvSpPr>
          <p:nvPr>
            <p:ph type="title"/>
          </p:nvPr>
        </p:nvSpPr>
        <p:spPr>
          <a:xfrm>
            <a:off x="448833" y="1985911"/>
            <a:ext cx="11222524" cy="1666011"/>
          </a:xfrm>
        </p:spPr>
        <p:txBody>
          <a:bodyPr/>
          <a:lstStyle/>
          <a:p>
            <a:r>
              <a:rPr lang="en-US" dirty="0"/>
              <a:t>INT-MX Functionality</a:t>
            </a:r>
          </a:p>
        </p:txBody>
      </p:sp>
    </p:spTree>
    <p:extLst>
      <p:ext uri="{BB962C8B-B14F-4D97-AF65-F5344CB8AC3E}">
        <p14:creationId xmlns:p14="http://schemas.microsoft.com/office/powerpoint/2010/main" val="1864505470"/>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0567" y="291929"/>
            <a:ext cx="11462932" cy="1020576"/>
          </a:xfrm>
        </p:spPr>
        <p:txBody>
          <a:bodyPr/>
          <a:lstStyle/>
          <a:p>
            <a:r>
              <a:rPr lang="en-US" sz="3600" dirty="0">
                <a:latin typeface="Courier" charset="0"/>
                <a:ea typeface="Courier" charset="0"/>
                <a:cs typeface="Courier" charset="0"/>
              </a:rPr>
              <a:t>INT-MX Metadata Header</a:t>
            </a:r>
            <a:endParaRPr lang="en-US" sz="3600" dirty="0"/>
          </a:p>
        </p:txBody>
      </p:sp>
      <p:sp>
        <p:nvSpPr>
          <p:cNvPr id="5" name="Rectangle 4"/>
          <p:cNvSpPr/>
          <p:nvPr/>
        </p:nvSpPr>
        <p:spPr>
          <a:xfrm>
            <a:off x="1844594" y="1590297"/>
            <a:ext cx="8502811" cy="2554545"/>
          </a:xfrm>
          <a:prstGeom prst="rect">
            <a:avLst/>
          </a:prstGeom>
        </p:spPr>
        <p:txBody>
          <a:bodyPr wrap="square">
            <a:spAutoFit/>
          </a:bodyPr>
          <a:lstStyle/>
          <a:p>
            <a:r>
              <a:rPr lang="en-US" sz="1600" dirty="0">
                <a:latin typeface="Courier" charset="0"/>
                <a:ea typeface="Courier" charset="0"/>
                <a:cs typeface="Courier" charset="0"/>
              </a:rPr>
              <a:t> </a:t>
            </a:r>
          </a:p>
          <a:p>
            <a:r>
              <a:rPr lang="en-US" sz="1600" dirty="0">
                <a:latin typeface="Courier" charset="0"/>
                <a:ea typeface="Courier" charset="0"/>
                <a:cs typeface="Courier" charset="0"/>
              </a:rPr>
              <a:t> 0                   1                   2                   3</a:t>
            </a:r>
          </a:p>
          <a:p>
            <a:r>
              <a:rPr lang="en-US" sz="1600" dirty="0">
                <a:latin typeface="Courier" charset="0"/>
                <a:ea typeface="Courier" charset="0"/>
                <a:cs typeface="Courier" charset="0"/>
              </a:rPr>
              <a:t> 0 1 2 3 4 5 6 7 8 9 0 1 2 3 4 5 6 7 8 9 0 1 2 3 4 5 6 7 8 9 0 1</a:t>
            </a:r>
          </a:p>
          <a:p>
            <a:r>
              <a:rPr lang="en-US" sz="1600" dirty="0">
                <a:latin typeface="Courier" charset="0"/>
                <a:ea typeface="Courier" charset="0"/>
                <a:cs typeface="Courier" charset="0"/>
              </a:rPr>
              <a:t>+-+-+-+-+-+-+-+-+-+-+-+-+-+-+-+-+-+-+-+-+-+-+-+-+-+-+-+-+-+-+-+-+</a:t>
            </a:r>
          </a:p>
          <a:p>
            <a:r>
              <a:rPr lang="en-US" sz="1600" dirty="0">
                <a:latin typeface="Courier" charset="0"/>
                <a:ea typeface="Courier" charset="0"/>
                <a:cs typeface="Courier" charset="0"/>
              </a:rPr>
              <a:t>|Ver = 2|Rep|C|E|M|     Reserved    | Hop ML  |</a:t>
            </a:r>
            <a:r>
              <a:rPr lang="en-US" sz="1600" dirty="0" err="1">
                <a:latin typeface="Courier" charset="0"/>
                <a:ea typeface="Courier" charset="0"/>
                <a:cs typeface="Courier" charset="0"/>
              </a:rPr>
              <a:t>RemainingHop</a:t>
            </a:r>
            <a:r>
              <a:rPr lang="en-US" sz="1600" dirty="0">
                <a:latin typeface="Courier" charset="0"/>
                <a:ea typeface="Courier" charset="0"/>
                <a:cs typeface="Courier" charset="0"/>
              </a:rPr>
              <a:t> </a:t>
            </a:r>
            <a:r>
              <a:rPr lang="en-US" sz="1600" dirty="0" err="1">
                <a:latin typeface="Courier" charset="0"/>
                <a:ea typeface="Courier" charset="0"/>
                <a:cs typeface="Courier" charset="0"/>
              </a:rPr>
              <a:t>Cnt</a:t>
            </a:r>
            <a:r>
              <a:rPr lang="en-US" sz="1600" dirty="0">
                <a:latin typeface="Courier" charset="0"/>
                <a:ea typeface="Courier" charset="0"/>
                <a:cs typeface="Courier" charset="0"/>
              </a:rPr>
              <a:t> |</a:t>
            </a:r>
          </a:p>
          <a:p>
            <a:r>
              <a:rPr lang="en-US" sz="1600" dirty="0">
                <a:latin typeface="Courier" charset="0"/>
                <a:ea typeface="Courier" charset="0"/>
                <a:cs typeface="Courier" charset="0"/>
              </a:rPr>
              <a:t>​+-+-+-+-+-+-+-+-+-+-+-+-+-+-+-+-+-+-+-+-+-+-+-+-+-+-+-+-+-+-+-+-+ </a:t>
            </a:r>
          </a:p>
          <a:p>
            <a:r>
              <a:rPr lang="en-US" sz="1600" dirty="0">
                <a:latin typeface="Courier" charset="0"/>
                <a:ea typeface="Courier" charset="0"/>
                <a:cs typeface="Courier" charset="0"/>
              </a:rPr>
              <a:t>|      Instruction Bitmap       |     </a:t>
            </a:r>
            <a:r>
              <a:rPr lang="en-US" sz="1600" dirty="0">
                <a:solidFill>
                  <a:srgbClr val="FF0000"/>
                </a:solidFill>
                <a:latin typeface="Courier" charset="0"/>
                <a:ea typeface="Courier" charset="0"/>
                <a:cs typeface="Courier" charset="0"/>
              </a:rPr>
              <a:t>Domain Specific ID        |</a:t>
            </a:r>
          </a:p>
          <a:p>
            <a:r>
              <a:rPr lang="en-US" sz="1600" dirty="0">
                <a:latin typeface="Courier" charset="0"/>
                <a:ea typeface="Courier" charset="0"/>
                <a:cs typeface="Courier" charset="0"/>
              </a:rPr>
              <a:t>+-+-+-+-+-+-+-+-+-+-+-+-+-+-+-+-+-+-+-+-+-+-+-+-+-+-+-+-+-+-+-+-+</a:t>
            </a:r>
            <a:r>
              <a:rPr lang="en-US" sz="1600" dirty="0">
                <a:solidFill>
                  <a:srgbClr val="FF0000"/>
                </a:solidFill>
                <a:latin typeface="Courier" charset="0"/>
                <a:ea typeface="Courier" charset="0"/>
                <a:cs typeface="Courier" charset="0"/>
              </a:rPr>
              <a:t> </a:t>
            </a:r>
          </a:p>
          <a:p>
            <a:r>
              <a:rPr lang="en-US" sz="1600" b="1" dirty="0">
                <a:latin typeface="Courier" charset="0"/>
                <a:ea typeface="Courier" charset="0"/>
                <a:cs typeface="Courier" charset="0"/>
              </a:rPr>
              <a:t>|</a:t>
            </a:r>
            <a:r>
              <a:rPr lang="en-US" sz="1600" b="1" dirty="0">
                <a:solidFill>
                  <a:srgbClr val="FF0000"/>
                </a:solidFill>
                <a:latin typeface="Courier" charset="0"/>
                <a:ea typeface="Courier" charset="0"/>
                <a:cs typeface="Courier" charset="0"/>
              </a:rPr>
              <a:t>            DS Instruction     |            DS Flags           </a:t>
            </a:r>
            <a:r>
              <a:rPr lang="en-US" sz="1600" dirty="0">
                <a:latin typeface="Courier" charset="0"/>
                <a:ea typeface="Courier" charset="0"/>
                <a:cs typeface="Courier" charset="0"/>
              </a:rPr>
              <a:t>|</a:t>
            </a:r>
          </a:p>
          <a:p>
            <a:r>
              <a:rPr lang="en-US" sz="1600" dirty="0">
                <a:latin typeface="Courier" charset="0"/>
                <a:ea typeface="Courier" charset="0"/>
                <a:cs typeface="Courier" charset="0"/>
              </a:rPr>
              <a:t>+-+-+-+-+-+-+-+-+-+-+-+-+-+-+-+-+-+-+-+-+-+-+-+-+-+-+-+-+-+-+-+-+</a:t>
            </a:r>
            <a:r>
              <a:rPr lang="en-US" sz="1200" dirty="0">
                <a:latin typeface="Courier" charset="0"/>
                <a:ea typeface="Courier" charset="0"/>
                <a:cs typeface="Courier" charset="0"/>
              </a:rPr>
              <a:t> </a:t>
            </a:r>
          </a:p>
        </p:txBody>
      </p:sp>
    </p:spTree>
    <p:extLst>
      <p:ext uri="{BB962C8B-B14F-4D97-AF65-F5344CB8AC3E}">
        <p14:creationId xmlns:p14="http://schemas.microsoft.com/office/powerpoint/2010/main" val="907614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0567" y="291929"/>
            <a:ext cx="11350752" cy="856152"/>
          </a:xfrm>
        </p:spPr>
        <p:txBody>
          <a:bodyPr/>
          <a:lstStyle/>
          <a:p>
            <a:r>
              <a:rPr lang="en-US" sz="3600" dirty="0">
                <a:latin typeface="Courier" charset="0"/>
                <a:ea typeface="Courier" charset="0"/>
                <a:cs typeface="Courier" charset="0"/>
              </a:rPr>
              <a:t>INT-MX Metadata Header</a:t>
            </a:r>
            <a:endParaRPr lang="en-US" sz="3600" dirty="0"/>
          </a:p>
        </p:txBody>
      </p:sp>
      <p:sp>
        <p:nvSpPr>
          <p:cNvPr id="7" name="Content Placeholder 4">
            <a:extLst>
              <a:ext uri="{FF2B5EF4-FFF2-40B4-BE49-F238E27FC236}">
                <a16:creationId xmlns:a16="http://schemas.microsoft.com/office/drawing/2014/main" id="{CEDF1A33-ABF3-8741-AFDF-44C032BEB68F}"/>
              </a:ext>
            </a:extLst>
          </p:cNvPr>
          <p:cNvSpPr txBox="1">
            <a:spLocks/>
          </p:cNvSpPr>
          <p:nvPr/>
        </p:nvSpPr>
        <p:spPr bwMode="auto">
          <a:xfrm>
            <a:off x="470567" y="1164830"/>
            <a:ext cx="4707075" cy="53180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187325" indent="-185738" algn="l" rtl="0" eaLnBrk="0" fontAlgn="base" hangingPunct="0">
              <a:lnSpc>
                <a:spcPct val="90000"/>
              </a:lnSpc>
              <a:spcBef>
                <a:spcPts val="1200"/>
              </a:spcBef>
              <a:spcAft>
                <a:spcPct val="0"/>
              </a:spcAft>
              <a:buSzPct val="80000"/>
              <a:buFont typeface="Arial" panose="020B0604020202020204" pitchFamily="34" charset="0"/>
              <a:buChar char="•"/>
              <a:defRPr>
                <a:solidFill>
                  <a:schemeClr val="tx1"/>
                </a:solidFill>
                <a:latin typeface="+mn-lt"/>
                <a:ea typeface="+mn-ea"/>
                <a:cs typeface="+mn-cs"/>
                <a:sym typeface="Arial" panose="020B0604020202020204" pitchFamily="34" charset="0"/>
              </a:defRPr>
            </a:lvl1pPr>
            <a:lvl2pPr marL="385763" indent="-193675" algn="l" rtl="0" eaLnBrk="0" fontAlgn="base" hangingPunct="0">
              <a:lnSpc>
                <a:spcPct val="90000"/>
              </a:lnSpc>
              <a:spcBef>
                <a:spcPts val="400"/>
              </a:spcBef>
              <a:spcAft>
                <a:spcPct val="0"/>
              </a:spcAft>
              <a:buSzPct val="80000"/>
              <a:buFont typeface="Arial" panose="020B0604020202020204" pitchFamily="34" charset="0"/>
              <a:buChar char="•"/>
              <a:defRPr sz="1600">
                <a:solidFill>
                  <a:schemeClr val="tx1"/>
                </a:solidFill>
                <a:latin typeface="+mn-lt"/>
                <a:ea typeface="+mn-ea"/>
                <a:cs typeface="+mn-cs"/>
                <a:sym typeface="Arial" panose="020B0604020202020204" pitchFamily="34" charset="0"/>
              </a:defRPr>
            </a:lvl2pPr>
            <a:lvl3pPr marL="54610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3pPr>
            <a:lvl4pPr marL="70485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4pPr>
            <a:lvl5pPr marL="773113" indent="-66675"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anose="020B0604020202020204"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r>
              <a:rPr lang="en-US" sz="1200" b="1" dirty="0" err="1">
                <a:latin typeface="Courier" charset="0"/>
                <a:ea typeface="Courier" charset="0"/>
                <a:cs typeface="Courier" charset="0"/>
              </a:rPr>
              <a:t>Ver</a:t>
            </a:r>
            <a:r>
              <a:rPr lang="en-US" sz="1200" b="1" dirty="0">
                <a:latin typeface="Courier" charset="0"/>
                <a:ea typeface="Courier" charset="0"/>
                <a:cs typeface="Courier" charset="0"/>
              </a:rPr>
              <a:t> (4b)</a:t>
            </a:r>
            <a:r>
              <a:rPr lang="en-US" sz="1200" dirty="0">
                <a:latin typeface="Courier" charset="0"/>
                <a:ea typeface="Courier" charset="0"/>
                <a:cs typeface="Courier" charset="0"/>
              </a:rPr>
              <a:t>: INT Metadata header version. Should be 2 for this version.</a:t>
            </a:r>
          </a:p>
          <a:p>
            <a:r>
              <a:rPr lang="en-US" sz="1200" b="1" dirty="0">
                <a:solidFill>
                  <a:srgbClr val="FF0000"/>
                </a:solidFill>
                <a:latin typeface="Courier" charset="0"/>
                <a:ea typeface="Courier" charset="0"/>
                <a:cs typeface="Courier" charset="0"/>
              </a:rPr>
              <a:t>Rep</a:t>
            </a:r>
            <a:r>
              <a:rPr lang="en-US" sz="1200" dirty="0">
                <a:solidFill>
                  <a:srgbClr val="FF0000"/>
                </a:solidFill>
                <a:latin typeface="Courier" charset="0"/>
                <a:ea typeface="Courier" charset="0"/>
                <a:cs typeface="Courier" charset="0"/>
              </a:rPr>
              <a:t> </a:t>
            </a:r>
            <a:r>
              <a:rPr lang="en-US" sz="1200" b="1" dirty="0">
                <a:solidFill>
                  <a:srgbClr val="FF0000"/>
                </a:solidFill>
                <a:latin typeface="Courier" charset="0"/>
                <a:ea typeface="Courier" charset="0"/>
                <a:cs typeface="Courier" charset="0"/>
              </a:rPr>
              <a:t>(2b): </a:t>
            </a:r>
            <a:r>
              <a:rPr lang="en-US" sz="1200" dirty="0">
                <a:solidFill>
                  <a:srgbClr val="FF0000"/>
                </a:solidFill>
                <a:latin typeface="Courier" charset="0"/>
                <a:ea typeface="Courier" charset="0"/>
                <a:cs typeface="Courier" charset="0"/>
              </a:rPr>
              <a:t>Replication Requested. Support is optional. Useful to explore all the valid physical forwarding paths (ECMP, LAG).</a:t>
            </a:r>
          </a:p>
          <a:p>
            <a:r>
              <a:rPr lang="en-US" sz="1200" b="1" dirty="0">
                <a:solidFill>
                  <a:srgbClr val="FF0000"/>
                </a:solidFill>
                <a:latin typeface="Courier" charset="0"/>
                <a:ea typeface="Courier" charset="0"/>
                <a:cs typeface="Courier" charset="0"/>
              </a:rPr>
              <a:t>C (1b</a:t>
            </a:r>
            <a:r>
              <a:rPr lang="en-US" sz="1200" b="1" dirty="0">
                <a:solidFill>
                  <a:srgbClr val="FF0000"/>
                </a:solidFill>
                <a:latin typeface="Courier" charset="0"/>
                <a:ea typeface="Courier" charset="0"/>
                <a:cs typeface="Courier" charset="0"/>
                <a:sym typeface="Wingdings" pitchFamily="2" charset="2"/>
              </a:rPr>
              <a:t>): </a:t>
            </a:r>
            <a:r>
              <a:rPr lang="en-US" sz="1200" dirty="0">
                <a:solidFill>
                  <a:srgbClr val="FF0000"/>
                </a:solidFill>
                <a:latin typeface="Courier" charset="0"/>
                <a:ea typeface="Courier" charset="0"/>
                <a:cs typeface="Courier" charset="0"/>
                <a:sym typeface="Wingdings" pitchFamily="2" charset="2"/>
              </a:rPr>
              <a:t>Copy. If replication requested for data packets, the INT sink must be able to distinguish original packets from replicas.</a:t>
            </a:r>
          </a:p>
          <a:p>
            <a:r>
              <a:rPr lang="en-US" sz="1200" b="1" dirty="0">
                <a:solidFill>
                  <a:srgbClr val="FF0000"/>
                </a:solidFill>
                <a:latin typeface="Courier" charset="0"/>
                <a:ea typeface="Courier" charset="0"/>
                <a:cs typeface="Courier" charset="0"/>
                <a:sym typeface="Wingdings" pitchFamily="2" charset="2"/>
              </a:rPr>
              <a:t>E (1b): </a:t>
            </a:r>
            <a:r>
              <a:rPr lang="en-US" sz="1200" dirty="0">
                <a:solidFill>
                  <a:srgbClr val="FF0000"/>
                </a:solidFill>
                <a:latin typeface="Courier" charset="0"/>
                <a:ea typeface="Courier" charset="0"/>
                <a:cs typeface="Courier" charset="0"/>
                <a:sym typeface="Wingdings" pitchFamily="2" charset="2"/>
              </a:rPr>
              <a:t>Max Hop Count Exceeded. This flag is set if a device cannot prepend its own metadata due to Remaining Hop Count reaching zero.</a:t>
            </a:r>
          </a:p>
          <a:p>
            <a:r>
              <a:rPr lang="en-US" sz="1200" b="1" dirty="0">
                <a:solidFill>
                  <a:srgbClr val="FF0000"/>
                </a:solidFill>
                <a:latin typeface="Courier" charset="0"/>
                <a:ea typeface="Courier" charset="0"/>
                <a:cs typeface="Courier" charset="0"/>
                <a:sym typeface="Wingdings" pitchFamily="2" charset="2"/>
              </a:rPr>
              <a:t>M (1b): </a:t>
            </a:r>
            <a:r>
              <a:rPr lang="en-US" sz="1200" dirty="0">
                <a:solidFill>
                  <a:srgbClr val="FF0000"/>
                </a:solidFill>
                <a:latin typeface="Courier" charset="0"/>
                <a:ea typeface="Courier" charset="0"/>
                <a:cs typeface="Courier" charset="0"/>
                <a:sym typeface="Wingdings" pitchFamily="2" charset="2"/>
              </a:rPr>
              <a:t>MTU Exceed. This flag must be set if a device cannot add all of the requested metadata because doing so will cause the packet length to exceed egress link MTU.</a:t>
            </a:r>
          </a:p>
          <a:p>
            <a:r>
              <a:rPr lang="en-US" sz="1200" b="1" dirty="0">
                <a:solidFill>
                  <a:srgbClr val="FF0000"/>
                </a:solidFill>
                <a:latin typeface="Courier" charset="0"/>
                <a:ea typeface="Courier" charset="0"/>
                <a:cs typeface="Courier" charset="0"/>
                <a:sym typeface="Wingdings" pitchFamily="2" charset="2"/>
              </a:rPr>
              <a:t>R (10b): </a:t>
            </a:r>
            <a:r>
              <a:rPr lang="en-US" sz="1200" dirty="0">
                <a:solidFill>
                  <a:srgbClr val="FF0000"/>
                </a:solidFill>
                <a:latin typeface="Courier" charset="0"/>
                <a:ea typeface="Courier" charset="0"/>
                <a:cs typeface="Courier" charset="0"/>
                <a:sym typeface="Wingdings" pitchFamily="2" charset="2"/>
              </a:rPr>
              <a:t>Reserved.</a:t>
            </a:r>
            <a:endParaRPr lang="en-US" sz="1200" dirty="0">
              <a:solidFill>
                <a:srgbClr val="FF0000"/>
              </a:solidFill>
              <a:latin typeface="Courier" charset="0"/>
              <a:ea typeface="Courier" charset="0"/>
              <a:cs typeface="Courier" charset="0"/>
            </a:endParaRPr>
          </a:p>
          <a:p>
            <a:r>
              <a:rPr lang="en-US" sz="1200" b="1" dirty="0">
                <a:solidFill>
                  <a:srgbClr val="FF0000"/>
                </a:solidFill>
                <a:latin typeface="Courier" charset="0"/>
                <a:ea typeface="Courier" charset="0"/>
                <a:cs typeface="Courier" charset="0"/>
                <a:sym typeface="Wingdings" pitchFamily="2" charset="2"/>
              </a:rPr>
              <a:t>Hop ML (5b): </a:t>
            </a:r>
            <a:r>
              <a:rPr lang="en-US" sz="1200" dirty="0">
                <a:solidFill>
                  <a:srgbClr val="FF0000"/>
                </a:solidFill>
                <a:latin typeface="Courier" charset="0"/>
                <a:ea typeface="Courier" charset="0"/>
                <a:cs typeface="Courier" charset="0"/>
                <a:sym typeface="Wingdings" pitchFamily="2" charset="2"/>
              </a:rPr>
              <a:t>Per-hop Metadata Length, the length of metadata in 4-Byte words to be inserted at each INT hop.</a:t>
            </a:r>
          </a:p>
          <a:p>
            <a:r>
              <a:rPr lang="en-US" sz="1200" b="1" dirty="0" err="1">
                <a:solidFill>
                  <a:srgbClr val="FF0000"/>
                </a:solidFill>
                <a:latin typeface="Courier" charset="0"/>
                <a:ea typeface="Courier" charset="0"/>
                <a:cs typeface="Courier" charset="0"/>
                <a:sym typeface="Wingdings" pitchFamily="2" charset="2"/>
              </a:rPr>
              <a:t>RemainingHopCnt</a:t>
            </a:r>
            <a:r>
              <a:rPr lang="en-US" sz="1200" b="1" dirty="0">
                <a:solidFill>
                  <a:srgbClr val="FF0000"/>
                </a:solidFill>
                <a:latin typeface="Courier" charset="0"/>
                <a:ea typeface="Courier" charset="0"/>
                <a:cs typeface="Courier" charset="0"/>
                <a:sym typeface="Wingdings" pitchFamily="2" charset="2"/>
              </a:rPr>
              <a:t> (8b): </a:t>
            </a:r>
            <a:r>
              <a:rPr lang="en-US" sz="1200" dirty="0">
                <a:solidFill>
                  <a:srgbClr val="FF0000"/>
                </a:solidFill>
                <a:latin typeface="Courier" charset="0"/>
                <a:ea typeface="Courier" charset="0"/>
                <a:cs typeface="Courier" charset="0"/>
                <a:sym typeface="Wingdings" pitchFamily="2" charset="2"/>
              </a:rPr>
              <a:t>The remaining number of hops that allowed to add their metadata to the packet.</a:t>
            </a:r>
          </a:p>
          <a:p>
            <a:endParaRPr lang="en-US" sz="1200" dirty="0">
              <a:latin typeface="Courier" charset="0"/>
              <a:ea typeface="Courier" charset="0"/>
              <a:cs typeface="Courier" charset="0"/>
              <a:sym typeface="Wingdings" pitchFamily="2" charset="2"/>
            </a:endParaRPr>
          </a:p>
        </p:txBody>
      </p:sp>
      <p:sp>
        <p:nvSpPr>
          <p:cNvPr id="8" name="Oval 7">
            <a:extLst>
              <a:ext uri="{FF2B5EF4-FFF2-40B4-BE49-F238E27FC236}">
                <a16:creationId xmlns:a16="http://schemas.microsoft.com/office/drawing/2014/main" id="{3D114E0D-0956-3E4E-AF83-D5DA217CE661}"/>
              </a:ext>
            </a:extLst>
          </p:cNvPr>
          <p:cNvSpPr/>
          <p:nvPr/>
        </p:nvSpPr>
        <p:spPr>
          <a:xfrm>
            <a:off x="5749051" y="1935942"/>
            <a:ext cx="5902960" cy="426720"/>
          </a:xfrm>
          <a:prstGeom prst="ellipse">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348A339-C990-4F4E-9AA0-A9AD7A45021F}"/>
              </a:ext>
            </a:extLst>
          </p:cNvPr>
          <p:cNvSpPr/>
          <p:nvPr/>
        </p:nvSpPr>
        <p:spPr>
          <a:xfrm>
            <a:off x="5848785" y="1367924"/>
            <a:ext cx="5703492" cy="1954381"/>
          </a:xfrm>
          <a:prstGeom prst="rect">
            <a:avLst/>
          </a:prstGeom>
        </p:spPr>
        <p:txBody>
          <a:bodyPr wrap="square">
            <a:spAutoFit/>
          </a:bodyPr>
          <a:lstStyle/>
          <a:p>
            <a:r>
              <a:rPr lang="en-US" sz="1100" dirty="0">
                <a:latin typeface="Courier" charset="0"/>
                <a:ea typeface="Courier" charset="0"/>
                <a:cs typeface="Courier" charset="0"/>
              </a:rPr>
              <a:t> </a:t>
            </a:r>
          </a:p>
          <a:p>
            <a:r>
              <a:rPr lang="en-US" sz="1100" dirty="0">
                <a:latin typeface="Courier" charset="0"/>
                <a:ea typeface="Courier" charset="0"/>
                <a:cs typeface="Courier" charset="0"/>
              </a:rPr>
              <a:t> 0                   1                   2                   3</a:t>
            </a:r>
          </a:p>
          <a:p>
            <a:r>
              <a:rPr lang="en-US" sz="1100" dirty="0">
                <a:latin typeface="Courier" charset="0"/>
                <a:ea typeface="Courier" charset="0"/>
                <a:cs typeface="Courier" charset="0"/>
              </a:rPr>
              <a:t> 0 1 2 3 4 5 6 7 8 9 0 1 2 3 4 5 6 7 8 9 0 1 2 3 4 5 6 7 8 9 0 1</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Ver = 2|Rep|C|E|M|     Reserved    | Hop ML  |</a:t>
            </a:r>
            <a:r>
              <a:rPr lang="en-US" sz="1100" dirty="0" err="1">
                <a:latin typeface="Courier" charset="0"/>
                <a:ea typeface="Courier" charset="0"/>
                <a:cs typeface="Courier" charset="0"/>
              </a:rPr>
              <a:t>RemainingHop</a:t>
            </a:r>
            <a:r>
              <a:rPr lang="en-US" sz="1100" dirty="0">
                <a:latin typeface="Courier" charset="0"/>
                <a:ea typeface="Courier" charset="0"/>
                <a:cs typeface="Courier" charset="0"/>
              </a:rPr>
              <a:t> </a:t>
            </a:r>
            <a:r>
              <a:rPr lang="en-US" sz="1100" dirty="0" err="1">
                <a:latin typeface="Courier" charset="0"/>
                <a:ea typeface="Courier" charset="0"/>
                <a:cs typeface="Courier" charset="0"/>
              </a:rPr>
              <a:t>Cnt</a:t>
            </a:r>
            <a:r>
              <a:rPr lang="en-US" sz="1100" dirty="0">
                <a:latin typeface="Courier" charset="0"/>
                <a:ea typeface="Courier" charset="0"/>
                <a:cs typeface="Courier" charset="0"/>
              </a:rPr>
              <a:t> |</a:t>
            </a:r>
          </a:p>
          <a:p>
            <a:r>
              <a:rPr lang="en-US" sz="1100" dirty="0">
                <a:latin typeface="Courier" charset="0"/>
                <a:ea typeface="Courier" charset="0"/>
                <a:cs typeface="Courier" charset="0"/>
              </a:rPr>
              <a:t>​+-+-+-+-+-+-+-+-+-+-+-+-+-+-+-+-+-+-+-+-+-+-+-+-+-+-+-+-+-+-+-+-+ </a:t>
            </a:r>
          </a:p>
          <a:p>
            <a:r>
              <a:rPr lang="en-US" sz="1100" dirty="0">
                <a:latin typeface="Courier" charset="0"/>
                <a:ea typeface="Courier" charset="0"/>
                <a:cs typeface="Courier" charset="0"/>
              </a:rPr>
              <a:t>|      Instruction Bitmap       |     </a:t>
            </a:r>
            <a:r>
              <a:rPr lang="en-US" sz="1100" b="1" dirty="0">
                <a:solidFill>
                  <a:srgbClr val="FF0000"/>
                </a:solidFill>
                <a:latin typeface="Courier" charset="0"/>
                <a:ea typeface="Courier" charset="0"/>
                <a:cs typeface="Courier" charset="0"/>
              </a:rPr>
              <a:t>Domain Specific ID        </a:t>
            </a:r>
            <a:r>
              <a:rPr lang="en-US" sz="1100" dirty="0">
                <a:solidFill>
                  <a:srgbClr val="FF0000"/>
                </a:solidFill>
                <a:latin typeface="Courier" charset="0"/>
                <a:ea typeface="Courier" charset="0"/>
                <a:cs typeface="Courier" charset="0"/>
              </a:rPr>
              <a:t>|</a:t>
            </a:r>
          </a:p>
          <a:p>
            <a:r>
              <a:rPr lang="en-US" sz="1100" dirty="0">
                <a:latin typeface="Courier" charset="0"/>
                <a:ea typeface="Courier" charset="0"/>
                <a:cs typeface="Courier" charset="0"/>
              </a:rPr>
              <a:t>+-+-+-+-+-+-+-+-+-+-+-+-+-+-+-+-+-+-+-+-+-+-+-+-+-+-+-+-+-+-+-+-+</a:t>
            </a:r>
            <a:r>
              <a:rPr lang="en-US" sz="1100" dirty="0">
                <a:solidFill>
                  <a:srgbClr val="FF0000"/>
                </a:solidFill>
                <a:latin typeface="Courier" charset="0"/>
                <a:ea typeface="Courier" charset="0"/>
                <a:cs typeface="Courier" charset="0"/>
              </a:rPr>
              <a:t> </a:t>
            </a:r>
          </a:p>
          <a:p>
            <a:r>
              <a:rPr lang="en-US" sz="1100" b="1" dirty="0">
                <a:latin typeface="Courier" charset="0"/>
                <a:ea typeface="Courier" charset="0"/>
                <a:cs typeface="Courier" charset="0"/>
              </a:rPr>
              <a:t>|</a:t>
            </a:r>
            <a:r>
              <a:rPr lang="en-US" sz="1100" b="1" dirty="0">
                <a:solidFill>
                  <a:srgbClr val="FF0000"/>
                </a:solidFill>
                <a:latin typeface="Courier" charset="0"/>
                <a:ea typeface="Courier" charset="0"/>
                <a:cs typeface="Courier" charset="0"/>
              </a:rPr>
              <a:t>            DS Instruction     |            DS Flags           </a:t>
            </a:r>
            <a:r>
              <a:rPr lang="en-US" sz="1100" dirty="0">
                <a:latin typeface="Courier" charset="0"/>
                <a:ea typeface="Courier" charset="0"/>
                <a:cs typeface="Courier" charset="0"/>
              </a:rPr>
              <a:t>|</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a:t>
            </a:r>
          </a:p>
        </p:txBody>
      </p:sp>
    </p:spTree>
    <p:extLst>
      <p:ext uri="{BB962C8B-B14F-4D97-AF65-F5344CB8AC3E}">
        <p14:creationId xmlns:p14="http://schemas.microsoft.com/office/powerpoint/2010/main" val="184362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latin typeface="Courier" charset="0"/>
                <a:ea typeface="Courier" charset="0"/>
                <a:cs typeface="Courier" charset="0"/>
              </a:rPr>
              <a:t>INT-MX Metadata Header </a:t>
            </a:r>
            <a:r>
              <a:rPr lang="mr-IN" sz="3600" dirty="0">
                <a:latin typeface="Courier" charset="0"/>
                <a:ea typeface="Courier" charset="0"/>
                <a:cs typeface="Courier" charset="0"/>
              </a:rPr>
              <a:t>–</a:t>
            </a:r>
            <a:r>
              <a:rPr lang="en-US" sz="3600" dirty="0">
                <a:latin typeface="Courier" charset="0"/>
                <a:ea typeface="Courier" charset="0"/>
                <a:cs typeface="Courier" charset="0"/>
              </a:rPr>
              <a:t> </a:t>
            </a:r>
            <a:r>
              <a:rPr lang="en-US" sz="2800" dirty="0">
                <a:latin typeface="Courier" charset="0"/>
                <a:ea typeface="Courier" charset="0"/>
                <a:cs typeface="Courier" charset="0"/>
              </a:rPr>
              <a:t>Instruction Bitmap</a:t>
            </a:r>
            <a:endParaRPr lang="en-US" sz="2800" dirty="0"/>
          </a:p>
        </p:txBody>
      </p:sp>
      <p:sp>
        <p:nvSpPr>
          <p:cNvPr id="3" name="Oval 2"/>
          <p:cNvSpPr/>
          <p:nvPr/>
        </p:nvSpPr>
        <p:spPr>
          <a:xfrm>
            <a:off x="5649317" y="2268451"/>
            <a:ext cx="3037483" cy="426720"/>
          </a:xfrm>
          <a:prstGeom prst="ellipse">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Content Placeholder 4"/>
          <p:cNvSpPr txBox="1">
            <a:spLocks/>
          </p:cNvSpPr>
          <p:nvPr/>
        </p:nvSpPr>
        <p:spPr bwMode="auto">
          <a:xfrm>
            <a:off x="687356" y="1470311"/>
            <a:ext cx="4521518" cy="47919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187325" indent="-185738" algn="l" rtl="0" eaLnBrk="0" fontAlgn="base" hangingPunct="0">
              <a:lnSpc>
                <a:spcPct val="90000"/>
              </a:lnSpc>
              <a:spcBef>
                <a:spcPts val="1200"/>
              </a:spcBef>
              <a:spcAft>
                <a:spcPct val="0"/>
              </a:spcAft>
              <a:buSzPct val="80000"/>
              <a:buFont typeface="Arial" panose="020B0604020202020204" pitchFamily="34" charset="0"/>
              <a:buChar char="•"/>
              <a:defRPr>
                <a:solidFill>
                  <a:schemeClr val="tx1"/>
                </a:solidFill>
                <a:latin typeface="+mn-lt"/>
                <a:ea typeface="+mn-ea"/>
                <a:cs typeface="+mn-cs"/>
                <a:sym typeface="Arial" panose="020B0604020202020204" pitchFamily="34" charset="0"/>
              </a:defRPr>
            </a:lvl1pPr>
            <a:lvl2pPr marL="385763" indent="-193675" algn="l" rtl="0" eaLnBrk="0" fontAlgn="base" hangingPunct="0">
              <a:lnSpc>
                <a:spcPct val="90000"/>
              </a:lnSpc>
              <a:spcBef>
                <a:spcPts val="400"/>
              </a:spcBef>
              <a:spcAft>
                <a:spcPct val="0"/>
              </a:spcAft>
              <a:buSzPct val="80000"/>
              <a:buFont typeface="Arial" panose="020B0604020202020204" pitchFamily="34" charset="0"/>
              <a:buChar char="•"/>
              <a:defRPr sz="1600">
                <a:solidFill>
                  <a:schemeClr val="tx1"/>
                </a:solidFill>
                <a:latin typeface="+mn-lt"/>
                <a:ea typeface="+mn-ea"/>
                <a:cs typeface="+mn-cs"/>
                <a:sym typeface="Arial" panose="020B0604020202020204" pitchFamily="34" charset="0"/>
              </a:defRPr>
            </a:lvl2pPr>
            <a:lvl3pPr marL="54610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3pPr>
            <a:lvl4pPr marL="70485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4pPr>
            <a:lvl5pPr marL="773113" indent="-66675"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anose="020B0604020202020204"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marL="1587" indent="0">
              <a:buNone/>
            </a:pPr>
            <a:r>
              <a:rPr lang="en-US" sz="1400" dirty="0">
                <a:latin typeface="Courier" charset="0"/>
                <a:ea typeface="Courier" charset="0"/>
                <a:cs typeface="Courier" charset="0"/>
              </a:rPr>
              <a:t>INT instructions are encoded as a bitmap in the 16­ bit INT Instruction field: each bit corresponds to a specific standard metadata.</a:t>
            </a:r>
          </a:p>
          <a:p>
            <a:pPr marL="1587" indent="0">
              <a:buNone/>
            </a:pPr>
            <a:endParaRPr lang="en-US" sz="1400" dirty="0">
              <a:latin typeface="Courier" charset="0"/>
              <a:ea typeface="Courier" charset="0"/>
              <a:cs typeface="Courier" charset="0"/>
            </a:endParaRPr>
          </a:p>
          <a:p>
            <a:pPr marL="371475" lvl="1" indent="-171450">
              <a:buFont typeface="Arial" charset="0"/>
              <a:buChar char="•"/>
            </a:pPr>
            <a:r>
              <a:rPr lang="en-US" sz="1400" dirty="0">
                <a:latin typeface="Courier" charset="0"/>
                <a:ea typeface="Courier" charset="0"/>
                <a:cs typeface="Courier" charset="0"/>
              </a:rPr>
              <a:t>bit0 (MSB): Switch ID</a:t>
            </a:r>
          </a:p>
          <a:p>
            <a:pPr marL="371475" lvl="1" indent="-171450">
              <a:buFont typeface="Arial" charset="0"/>
              <a:buChar char="•"/>
            </a:pPr>
            <a:r>
              <a:rPr lang="en-US" sz="1400" dirty="0">
                <a:latin typeface="Courier" charset="0"/>
                <a:ea typeface="Courier" charset="0"/>
                <a:cs typeface="Courier" charset="0"/>
              </a:rPr>
              <a:t>bit1: Level 1 Ingress port ID (16     bits) + Egress Port ID (16 bits)</a:t>
            </a:r>
          </a:p>
          <a:p>
            <a:pPr marL="371475" lvl="1" indent="-171450">
              <a:buFont typeface="Arial" charset="0"/>
              <a:buChar char="•"/>
            </a:pPr>
            <a:r>
              <a:rPr lang="en-US" sz="1400" dirty="0">
                <a:latin typeface="Courier" charset="0"/>
                <a:ea typeface="Courier" charset="0"/>
                <a:cs typeface="Courier" charset="0"/>
              </a:rPr>
              <a:t>bit2: Hop latency</a:t>
            </a:r>
          </a:p>
          <a:p>
            <a:pPr marL="371475" lvl="1" indent="-171450">
              <a:buFont typeface="Arial" charset="0"/>
              <a:buChar char="•"/>
            </a:pPr>
            <a:r>
              <a:rPr lang="en-US" sz="1400" dirty="0">
                <a:latin typeface="Courier" charset="0"/>
                <a:ea typeface="Courier" charset="0"/>
                <a:cs typeface="Courier" charset="0"/>
              </a:rPr>
              <a:t>bit3: Queue ID (8 bits) + Queue occupancy (24 bits)</a:t>
            </a:r>
          </a:p>
          <a:p>
            <a:pPr marL="371475" lvl="1" indent="-171450">
              <a:buFont typeface="Arial" charset="0"/>
              <a:buChar char="•"/>
            </a:pPr>
            <a:r>
              <a:rPr lang="en-US" sz="1400" dirty="0">
                <a:latin typeface="Courier" charset="0"/>
                <a:ea typeface="Courier" charset="0"/>
                <a:cs typeface="Courier" charset="0"/>
              </a:rPr>
              <a:t>bit4: Ingress timestamp</a:t>
            </a:r>
          </a:p>
          <a:p>
            <a:pPr marL="371475" lvl="1" indent="-171450">
              <a:buFont typeface="Arial" charset="0"/>
              <a:buChar char="•"/>
            </a:pPr>
            <a:r>
              <a:rPr lang="en-US" sz="1400" dirty="0">
                <a:latin typeface="Courier" charset="0"/>
                <a:ea typeface="Courier" charset="0"/>
                <a:cs typeface="Courier" charset="0"/>
              </a:rPr>
              <a:t>bit5: Egress timestamp</a:t>
            </a:r>
          </a:p>
          <a:p>
            <a:pPr marL="371475" lvl="1" indent="-171450">
              <a:buFont typeface="Arial" charset="0"/>
              <a:buChar char="•"/>
            </a:pPr>
            <a:r>
              <a:rPr lang="en-US" sz="1400" dirty="0">
                <a:latin typeface="Courier" charset="0"/>
                <a:ea typeface="Courier" charset="0"/>
                <a:cs typeface="Courier" charset="0"/>
              </a:rPr>
              <a:t>bit6: Level 2 Ingress port ID (32     bits) + Egress Port ID (32 bits)</a:t>
            </a:r>
          </a:p>
          <a:p>
            <a:pPr marL="371475" lvl="1" indent="-171450">
              <a:buFont typeface="Arial" charset="0"/>
              <a:buChar char="•"/>
            </a:pPr>
            <a:r>
              <a:rPr lang="en-US" sz="1400" dirty="0">
                <a:latin typeface="Courier" charset="0"/>
                <a:ea typeface="Courier" charset="0"/>
                <a:cs typeface="Courier" charset="0"/>
              </a:rPr>
              <a:t>bit7: Egress port TX utilization</a:t>
            </a:r>
          </a:p>
          <a:p>
            <a:pPr marL="371475" lvl="1" indent="-171450">
              <a:buFont typeface="Arial" charset="0"/>
              <a:buChar char="•"/>
            </a:pPr>
            <a:r>
              <a:rPr lang="en-US" sz="1400" dirty="0">
                <a:latin typeface="Courier" charset="0"/>
                <a:ea typeface="Courier" charset="0"/>
                <a:cs typeface="Courier" charset="0"/>
              </a:rPr>
              <a:t>Bit8: Buffer Occupancy (32 bits)</a:t>
            </a:r>
          </a:p>
          <a:p>
            <a:pPr marL="371475" lvl="1" indent="-171450">
              <a:buFont typeface="Arial" charset="0"/>
              <a:buChar char="•"/>
            </a:pPr>
            <a:r>
              <a:rPr lang="en-US" sz="1400" dirty="0">
                <a:solidFill>
                  <a:srgbClr val="FF0000"/>
                </a:solidFill>
                <a:latin typeface="Courier" charset="0"/>
                <a:ea typeface="Courier" charset="0"/>
                <a:cs typeface="Courier" charset="0"/>
              </a:rPr>
              <a:t>Bit 14: Domain Specific Instruction</a:t>
            </a:r>
          </a:p>
          <a:p>
            <a:pPr marL="371475" lvl="1" indent="-171450">
              <a:buFont typeface="Arial" charset="0"/>
              <a:buChar char="•"/>
            </a:pPr>
            <a:r>
              <a:rPr lang="en-US" sz="1400" dirty="0">
                <a:latin typeface="Courier" charset="0"/>
                <a:ea typeface="Courier" charset="0"/>
                <a:cs typeface="Courier" charset="0"/>
              </a:rPr>
              <a:t>bit15: Checksum Complement</a:t>
            </a:r>
          </a:p>
          <a:p>
            <a:pPr marL="371475" lvl="1" indent="-171450">
              <a:buFont typeface="Arial" charset="0"/>
              <a:buChar char="•"/>
            </a:pPr>
            <a:r>
              <a:rPr lang="en-US" sz="1400" dirty="0">
                <a:latin typeface="Courier" charset="0"/>
                <a:ea typeface="Courier" charset="0"/>
                <a:cs typeface="Courier" charset="0"/>
              </a:rPr>
              <a:t>The remaining bits are reserved</a:t>
            </a:r>
          </a:p>
          <a:p>
            <a:pPr marL="1587" indent="0">
              <a:buNone/>
            </a:pPr>
            <a:endParaRPr lang="en-US" sz="1400" dirty="0">
              <a:latin typeface="Courier" charset="0"/>
              <a:ea typeface="Courier" charset="0"/>
              <a:cs typeface="Courier" charset="0"/>
            </a:endParaRPr>
          </a:p>
        </p:txBody>
      </p:sp>
      <p:sp>
        <p:nvSpPr>
          <p:cNvPr id="9" name="Rectangle 8">
            <a:extLst>
              <a:ext uri="{FF2B5EF4-FFF2-40B4-BE49-F238E27FC236}">
                <a16:creationId xmlns:a16="http://schemas.microsoft.com/office/drawing/2014/main" id="{90C50857-077B-9945-BD03-F899DED73DB2}"/>
              </a:ext>
            </a:extLst>
          </p:cNvPr>
          <p:cNvSpPr/>
          <p:nvPr/>
        </p:nvSpPr>
        <p:spPr>
          <a:xfrm>
            <a:off x="5848785" y="1367924"/>
            <a:ext cx="5703492" cy="1954381"/>
          </a:xfrm>
          <a:prstGeom prst="rect">
            <a:avLst/>
          </a:prstGeom>
        </p:spPr>
        <p:txBody>
          <a:bodyPr wrap="square">
            <a:spAutoFit/>
          </a:bodyPr>
          <a:lstStyle/>
          <a:p>
            <a:r>
              <a:rPr lang="en-US" sz="1100" dirty="0">
                <a:latin typeface="Courier" charset="0"/>
                <a:ea typeface="Courier" charset="0"/>
                <a:cs typeface="Courier" charset="0"/>
              </a:rPr>
              <a:t> </a:t>
            </a:r>
          </a:p>
          <a:p>
            <a:r>
              <a:rPr lang="en-US" sz="1100" dirty="0">
                <a:latin typeface="Courier" charset="0"/>
                <a:ea typeface="Courier" charset="0"/>
                <a:cs typeface="Courier" charset="0"/>
              </a:rPr>
              <a:t> 0                   1                   2                   3</a:t>
            </a:r>
          </a:p>
          <a:p>
            <a:r>
              <a:rPr lang="en-US" sz="1100" dirty="0">
                <a:latin typeface="Courier" charset="0"/>
                <a:ea typeface="Courier" charset="0"/>
                <a:cs typeface="Courier" charset="0"/>
              </a:rPr>
              <a:t> 0 1 2 3 4 5 6 7 8 9 0 1 2 3 4 5 6 7 8 9 0 1 2 3 4 5 6 7 8 9 0 1</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Ver = 2|Rep|C|E|M|     Reserved    | Hop ML  |</a:t>
            </a:r>
            <a:r>
              <a:rPr lang="en-US" sz="1100" dirty="0" err="1">
                <a:latin typeface="Courier" charset="0"/>
                <a:ea typeface="Courier" charset="0"/>
                <a:cs typeface="Courier" charset="0"/>
              </a:rPr>
              <a:t>RemainingHop</a:t>
            </a:r>
            <a:r>
              <a:rPr lang="en-US" sz="1100" dirty="0">
                <a:latin typeface="Courier" charset="0"/>
                <a:ea typeface="Courier" charset="0"/>
                <a:cs typeface="Courier" charset="0"/>
              </a:rPr>
              <a:t> </a:t>
            </a:r>
            <a:r>
              <a:rPr lang="en-US" sz="1100" dirty="0" err="1">
                <a:latin typeface="Courier" charset="0"/>
                <a:ea typeface="Courier" charset="0"/>
                <a:cs typeface="Courier" charset="0"/>
              </a:rPr>
              <a:t>Cnt</a:t>
            </a:r>
            <a:r>
              <a:rPr lang="en-US" sz="1100" dirty="0">
                <a:latin typeface="Courier" charset="0"/>
                <a:ea typeface="Courier" charset="0"/>
                <a:cs typeface="Courier" charset="0"/>
              </a:rPr>
              <a:t> |</a:t>
            </a:r>
          </a:p>
          <a:p>
            <a:r>
              <a:rPr lang="en-US" sz="1100" dirty="0">
                <a:latin typeface="Courier" charset="0"/>
                <a:ea typeface="Courier" charset="0"/>
                <a:cs typeface="Courier" charset="0"/>
              </a:rPr>
              <a:t>​+-+-+-+-+-+-+-+-+-+-+-+-+-+-+-+-+-+-+-+-+-+-+-+-+-+-+-+-+-+-+-+-+ </a:t>
            </a:r>
          </a:p>
          <a:p>
            <a:r>
              <a:rPr lang="en-US" sz="1100" dirty="0">
                <a:latin typeface="Courier" charset="0"/>
                <a:ea typeface="Courier" charset="0"/>
                <a:cs typeface="Courier" charset="0"/>
              </a:rPr>
              <a:t>|      Instruction Bitmap       |     </a:t>
            </a:r>
            <a:r>
              <a:rPr lang="en-US" sz="1100" b="1" dirty="0">
                <a:solidFill>
                  <a:srgbClr val="FF0000"/>
                </a:solidFill>
                <a:latin typeface="Courier" charset="0"/>
                <a:ea typeface="Courier" charset="0"/>
                <a:cs typeface="Courier" charset="0"/>
              </a:rPr>
              <a:t>Domain Specific ID        </a:t>
            </a:r>
            <a:r>
              <a:rPr lang="en-US" sz="1100" dirty="0">
                <a:solidFill>
                  <a:srgbClr val="FF0000"/>
                </a:solidFill>
                <a:latin typeface="Courier" charset="0"/>
                <a:ea typeface="Courier" charset="0"/>
                <a:cs typeface="Courier" charset="0"/>
              </a:rPr>
              <a:t>|</a:t>
            </a:r>
          </a:p>
          <a:p>
            <a:r>
              <a:rPr lang="en-US" sz="1100" dirty="0">
                <a:latin typeface="Courier" charset="0"/>
                <a:ea typeface="Courier" charset="0"/>
                <a:cs typeface="Courier" charset="0"/>
              </a:rPr>
              <a:t>+-+-+-+-+-+-+-+-+-+-+-+-+-+-+-+-+-+-+-+-+-+-+-+-+-+-+-+-+-+-+-+-+</a:t>
            </a:r>
            <a:r>
              <a:rPr lang="en-US" sz="1100" dirty="0">
                <a:solidFill>
                  <a:srgbClr val="FF0000"/>
                </a:solidFill>
                <a:latin typeface="Courier" charset="0"/>
                <a:ea typeface="Courier" charset="0"/>
                <a:cs typeface="Courier" charset="0"/>
              </a:rPr>
              <a:t> </a:t>
            </a:r>
          </a:p>
          <a:p>
            <a:r>
              <a:rPr lang="en-US" sz="1100" b="1" dirty="0">
                <a:latin typeface="Courier" charset="0"/>
                <a:ea typeface="Courier" charset="0"/>
                <a:cs typeface="Courier" charset="0"/>
              </a:rPr>
              <a:t>|</a:t>
            </a:r>
            <a:r>
              <a:rPr lang="en-US" sz="1100" b="1" dirty="0">
                <a:solidFill>
                  <a:srgbClr val="FF0000"/>
                </a:solidFill>
                <a:latin typeface="Courier" charset="0"/>
                <a:ea typeface="Courier" charset="0"/>
                <a:cs typeface="Courier" charset="0"/>
              </a:rPr>
              <a:t>            DS Instruction     |            DS Flags           </a:t>
            </a:r>
            <a:r>
              <a:rPr lang="en-US" sz="1100" dirty="0">
                <a:latin typeface="Courier" charset="0"/>
                <a:ea typeface="Courier" charset="0"/>
                <a:cs typeface="Courier" charset="0"/>
              </a:rPr>
              <a:t>|</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a:t>
            </a:r>
          </a:p>
        </p:txBody>
      </p:sp>
    </p:spTree>
    <p:extLst>
      <p:ext uri="{BB962C8B-B14F-4D97-AF65-F5344CB8AC3E}">
        <p14:creationId xmlns:p14="http://schemas.microsoft.com/office/powerpoint/2010/main" val="3215430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latin typeface="Courier" charset="0"/>
                <a:ea typeface="Courier" charset="0"/>
                <a:cs typeface="Courier" charset="0"/>
              </a:rPr>
              <a:t>INT-MX Metadata Header </a:t>
            </a:r>
            <a:r>
              <a:rPr lang="mr-IN" sz="3600" dirty="0">
                <a:latin typeface="Courier" charset="0"/>
                <a:ea typeface="Courier" charset="0"/>
                <a:cs typeface="Courier" charset="0"/>
              </a:rPr>
              <a:t>–</a:t>
            </a:r>
            <a:r>
              <a:rPr lang="en-US" sz="3600" dirty="0">
                <a:latin typeface="Courier" charset="0"/>
                <a:ea typeface="Courier" charset="0"/>
                <a:cs typeface="Courier" charset="0"/>
              </a:rPr>
              <a:t> </a:t>
            </a:r>
            <a:r>
              <a:rPr lang="en-US" sz="2800" dirty="0">
                <a:latin typeface="Courier" charset="0"/>
                <a:ea typeface="Courier" charset="0"/>
                <a:cs typeface="Courier" charset="0"/>
              </a:rPr>
              <a:t>Instruction Bitmap</a:t>
            </a:r>
            <a:endParaRPr lang="en-US" sz="2800" dirty="0"/>
          </a:p>
        </p:txBody>
      </p:sp>
      <p:sp>
        <p:nvSpPr>
          <p:cNvPr id="3" name="Oval 2"/>
          <p:cNvSpPr/>
          <p:nvPr/>
        </p:nvSpPr>
        <p:spPr>
          <a:xfrm>
            <a:off x="5749051" y="2639586"/>
            <a:ext cx="5902960" cy="426720"/>
          </a:xfrm>
          <a:prstGeom prst="ellipse">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Content Placeholder 4"/>
          <p:cNvSpPr txBox="1">
            <a:spLocks/>
          </p:cNvSpPr>
          <p:nvPr/>
        </p:nvSpPr>
        <p:spPr bwMode="auto">
          <a:xfrm>
            <a:off x="687356" y="1470311"/>
            <a:ext cx="4521518" cy="43517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187325" indent="-185738" algn="l" rtl="0" eaLnBrk="0" fontAlgn="base" hangingPunct="0">
              <a:lnSpc>
                <a:spcPct val="90000"/>
              </a:lnSpc>
              <a:spcBef>
                <a:spcPts val="1200"/>
              </a:spcBef>
              <a:spcAft>
                <a:spcPct val="0"/>
              </a:spcAft>
              <a:buSzPct val="80000"/>
              <a:buFont typeface="Arial" panose="020B0604020202020204" pitchFamily="34" charset="0"/>
              <a:buChar char="•"/>
              <a:defRPr>
                <a:solidFill>
                  <a:schemeClr val="tx1"/>
                </a:solidFill>
                <a:latin typeface="+mn-lt"/>
                <a:ea typeface="+mn-ea"/>
                <a:cs typeface="+mn-cs"/>
                <a:sym typeface="Arial" panose="020B0604020202020204" pitchFamily="34" charset="0"/>
              </a:defRPr>
            </a:lvl1pPr>
            <a:lvl2pPr marL="385763" indent="-193675" algn="l" rtl="0" eaLnBrk="0" fontAlgn="base" hangingPunct="0">
              <a:lnSpc>
                <a:spcPct val="90000"/>
              </a:lnSpc>
              <a:spcBef>
                <a:spcPts val="400"/>
              </a:spcBef>
              <a:spcAft>
                <a:spcPct val="0"/>
              </a:spcAft>
              <a:buSzPct val="80000"/>
              <a:buFont typeface="Arial" panose="020B0604020202020204" pitchFamily="34" charset="0"/>
              <a:buChar char="•"/>
              <a:defRPr sz="1600">
                <a:solidFill>
                  <a:schemeClr val="tx1"/>
                </a:solidFill>
                <a:latin typeface="+mn-lt"/>
                <a:ea typeface="+mn-ea"/>
                <a:cs typeface="+mn-cs"/>
                <a:sym typeface="Arial" panose="020B0604020202020204" pitchFamily="34" charset="0"/>
              </a:defRPr>
            </a:lvl2pPr>
            <a:lvl3pPr marL="54610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3pPr>
            <a:lvl4pPr marL="70485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4pPr>
            <a:lvl5pPr marL="773113" indent="-66675"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anose="020B0604020202020204"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r>
              <a:rPr lang="en-US" sz="1400" b="1" dirty="0">
                <a:solidFill>
                  <a:srgbClr val="FF0000"/>
                </a:solidFill>
                <a:latin typeface="Courier" charset="0"/>
                <a:ea typeface="Courier" charset="0"/>
                <a:cs typeface="Courier" charset="0"/>
                <a:sym typeface="Wingdings" pitchFamily="2" charset="2"/>
              </a:rPr>
              <a:t>Domain Specific ID (16b): Domain Specific ID, the unique ID of the INT Domain.</a:t>
            </a:r>
          </a:p>
          <a:p>
            <a:r>
              <a:rPr lang="en-US" sz="1400" b="1" dirty="0">
                <a:solidFill>
                  <a:srgbClr val="FF0000"/>
                </a:solidFill>
                <a:latin typeface="Courier" charset="0"/>
                <a:ea typeface="Courier" charset="0"/>
                <a:cs typeface="Courier" charset="0"/>
                <a:sym typeface="Wingdings" pitchFamily="2" charset="2"/>
              </a:rPr>
              <a:t>DS Instruction (16b): Instruction bit map specific to the INT domain identified by the Domain Specific ID.</a:t>
            </a:r>
          </a:p>
          <a:p>
            <a:r>
              <a:rPr lang="en-US" sz="1400" b="1" dirty="0">
                <a:solidFill>
                  <a:srgbClr val="FF0000"/>
                </a:solidFill>
                <a:latin typeface="Courier" charset="0"/>
                <a:ea typeface="Courier" charset="0"/>
                <a:cs typeface="Courier" charset="0"/>
                <a:sym typeface="Wingdings" pitchFamily="2" charset="2"/>
              </a:rPr>
              <a:t>DS Flags (16b): Flags relevant to the INT domain identified by the Domain Specific ID.</a:t>
            </a:r>
          </a:p>
          <a:p>
            <a:pPr marL="1587" indent="0">
              <a:buNone/>
            </a:pPr>
            <a:r>
              <a:rPr lang="en-US" sz="1400" dirty="0">
                <a:latin typeface="Courier" charset="0"/>
                <a:ea typeface="Courier" charset="0"/>
                <a:cs typeface="Courier" charset="0"/>
              </a:rPr>
              <a:t>Domain Specific INT instructions are encoded as a bitmap in the 16­ bit DS Instruction field: each bit corresponds to a specific domain specific metadata.</a:t>
            </a:r>
          </a:p>
          <a:p>
            <a:pPr marL="1587" indent="0">
              <a:buNone/>
            </a:pPr>
            <a:endParaRPr lang="en-US" sz="1400" dirty="0">
              <a:latin typeface="Courier" charset="0"/>
              <a:ea typeface="Courier" charset="0"/>
              <a:cs typeface="Courier" charset="0"/>
            </a:endParaRPr>
          </a:p>
          <a:p>
            <a:pPr marL="371475" lvl="1" indent="-171450">
              <a:buFont typeface="Arial" charset="0"/>
              <a:buChar char="•"/>
            </a:pPr>
            <a:r>
              <a:rPr lang="en-US" sz="1400" dirty="0">
                <a:latin typeface="Courier" charset="0"/>
                <a:ea typeface="Courier" charset="0"/>
                <a:cs typeface="Courier" charset="0"/>
              </a:rPr>
              <a:t>bit0 (MSB): Aggregated Metadata</a:t>
            </a:r>
          </a:p>
          <a:p>
            <a:pPr marL="371475" lvl="1" indent="-171450">
              <a:buFont typeface="Arial" charset="0"/>
              <a:buChar char="•"/>
            </a:pPr>
            <a:r>
              <a:rPr lang="en-US" sz="1400" dirty="0">
                <a:latin typeface="Courier" charset="0"/>
                <a:ea typeface="Courier" charset="0"/>
                <a:cs typeface="Courier" charset="0"/>
              </a:rPr>
              <a:t>bit1: Threshold Exceeded</a:t>
            </a:r>
          </a:p>
          <a:p>
            <a:pPr marL="371475" lvl="1" indent="-171450">
              <a:buFont typeface="Arial" charset="0"/>
              <a:buChar char="•"/>
            </a:pPr>
            <a:r>
              <a:rPr lang="en-US" sz="1400" dirty="0">
                <a:latin typeface="Courier" charset="0"/>
                <a:ea typeface="Courier" charset="0"/>
                <a:cs typeface="Courier" charset="0"/>
              </a:rPr>
              <a:t>The remaining bits are reserved</a:t>
            </a:r>
          </a:p>
          <a:p>
            <a:endParaRPr lang="en-US" sz="1400" dirty="0">
              <a:latin typeface="Courier" charset="0"/>
              <a:ea typeface="Courier" charset="0"/>
              <a:cs typeface="Courier" charset="0"/>
            </a:endParaRPr>
          </a:p>
          <a:p>
            <a:pPr marL="1587" indent="0">
              <a:buNone/>
            </a:pPr>
            <a:endParaRPr lang="en-US" sz="1400" dirty="0">
              <a:latin typeface="Courier" charset="0"/>
              <a:ea typeface="Courier" charset="0"/>
              <a:cs typeface="Courier" charset="0"/>
            </a:endParaRPr>
          </a:p>
        </p:txBody>
      </p:sp>
      <p:sp>
        <p:nvSpPr>
          <p:cNvPr id="7" name="Rectangle 6">
            <a:extLst>
              <a:ext uri="{FF2B5EF4-FFF2-40B4-BE49-F238E27FC236}">
                <a16:creationId xmlns:a16="http://schemas.microsoft.com/office/drawing/2014/main" id="{237823B5-60F8-2347-A28A-B3DDB18AE047}"/>
              </a:ext>
            </a:extLst>
          </p:cNvPr>
          <p:cNvSpPr/>
          <p:nvPr/>
        </p:nvSpPr>
        <p:spPr>
          <a:xfrm>
            <a:off x="5848785" y="1367924"/>
            <a:ext cx="5703492" cy="1954381"/>
          </a:xfrm>
          <a:prstGeom prst="rect">
            <a:avLst/>
          </a:prstGeom>
        </p:spPr>
        <p:txBody>
          <a:bodyPr wrap="square">
            <a:spAutoFit/>
          </a:bodyPr>
          <a:lstStyle/>
          <a:p>
            <a:r>
              <a:rPr lang="en-US" sz="1100" dirty="0">
                <a:latin typeface="Courier" charset="0"/>
                <a:ea typeface="Courier" charset="0"/>
                <a:cs typeface="Courier" charset="0"/>
              </a:rPr>
              <a:t> </a:t>
            </a:r>
          </a:p>
          <a:p>
            <a:r>
              <a:rPr lang="en-US" sz="1100" dirty="0">
                <a:latin typeface="Courier" charset="0"/>
                <a:ea typeface="Courier" charset="0"/>
                <a:cs typeface="Courier" charset="0"/>
              </a:rPr>
              <a:t> 0                   1                   2                   3</a:t>
            </a:r>
          </a:p>
          <a:p>
            <a:r>
              <a:rPr lang="en-US" sz="1100" dirty="0">
                <a:latin typeface="Courier" charset="0"/>
                <a:ea typeface="Courier" charset="0"/>
                <a:cs typeface="Courier" charset="0"/>
              </a:rPr>
              <a:t> 0 1 2 3 4 5 6 7 8 9 0 1 2 3 4 5 6 7 8 9 0 1 2 3 4 5 6 7 8 9 0 1</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Ver = 2|Rep|C|E|M|     Reserved    | Hop ML  |</a:t>
            </a:r>
            <a:r>
              <a:rPr lang="en-US" sz="1100" dirty="0" err="1">
                <a:latin typeface="Courier" charset="0"/>
                <a:ea typeface="Courier" charset="0"/>
                <a:cs typeface="Courier" charset="0"/>
              </a:rPr>
              <a:t>RemainingHop</a:t>
            </a:r>
            <a:r>
              <a:rPr lang="en-US" sz="1100" dirty="0">
                <a:latin typeface="Courier" charset="0"/>
                <a:ea typeface="Courier" charset="0"/>
                <a:cs typeface="Courier" charset="0"/>
              </a:rPr>
              <a:t> </a:t>
            </a:r>
            <a:r>
              <a:rPr lang="en-US" sz="1100" dirty="0" err="1">
                <a:latin typeface="Courier" charset="0"/>
                <a:ea typeface="Courier" charset="0"/>
                <a:cs typeface="Courier" charset="0"/>
              </a:rPr>
              <a:t>Cnt</a:t>
            </a:r>
            <a:r>
              <a:rPr lang="en-US" sz="1100" dirty="0">
                <a:latin typeface="Courier" charset="0"/>
                <a:ea typeface="Courier" charset="0"/>
                <a:cs typeface="Courier" charset="0"/>
              </a:rPr>
              <a:t> |</a:t>
            </a:r>
          </a:p>
          <a:p>
            <a:r>
              <a:rPr lang="en-US" sz="1100" dirty="0">
                <a:latin typeface="Courier" charset="0"/>
                <a:ea typeface="Courier" charset="0"/>
                <a:cs typeface="Courier" charset="0"/>
              </a:rPr>
              <a:t>​+-+-+-+-+-+-+-+-+-+-+-+-+-+-+-+-+-+-+-+-+-+-+-+-+-+-+-+-+-+-+-+-+ </a:t>
            </a:r>
          </a:p>
          <a:p>
            <a:r>
              <a:rPr lang="en-US" sz="1100" dirty="0">
                <a:latin typeface="Courier" charset="0"/>
                <a:ea typeface="Courier" charset="0"/>
                <a:cs typeface="Courier" charset="0"/>
              </a:rPr>
              <a:t>|      Instruction Bitmap       |     </a:t>
            </a:r>
            <a:r>
              <a:rPr lang="en-US" sz="1100" b="1" dirty="0">
                <a:solidFill>
                  <a:srgbClr val="FF0000"/>
                </a:solidFill>
                <a:latin typeface="Courier" charset="0"/>
                <a:ea typeface="Courier" charset="0"/>
                <a:cs typeface="Courier" charset="0"/>
              </a:rPr>
              <a:t>Domain Specific ID        </a:t>
            </a:r>
            <a:r>
              <a:rPr lang="en-US" sz="1100" dirty="0">
                <a:solidFill>
                  <a:srgbClr val="FF0000"/>
                </a:solidFill>
                <a:latin typeface="Courier" charset="0"/>
                <a:ea typeface="Courier" charset="0"/>
                <a:cs typeface="Courier" charset="0"/>
              </a:rPr>
              <a:t>|</a:t>
            </a:r>
          </a:p>
          <a:p>
            <a:r>
              <a:rPr lang="en-US" sz="1100" dirty="0">
                <a:latin typeface="Courier" charset="0"/>
                <a:ea typeface="Courier" charset="0"/>
                <a:cs typeface="Courier" charset="0"/>
              </a:rPr>
              <a:t>+-+-+-+-+-+-+-+-+-+-+-+-+-+-+-+-+-+-+-+-+-+-+-+-+-+-+-+-+-+-+-+-+</a:t>
            </a:r>
            <a:r>
              <a:rPr lang="en-US" sz="1100" dirty="0">
                <a:solidFill>
                  <a:srgbClr val="FF0000"/>
                </a:solidFill>
                <a:latin typeface="Courier" charset="0"/>
                <a:ea typeface="Courier" charset="0"/>
                <a:cs typeface="Courier" charset="0"/>
              </a:rPr>
              <a:t> </a:t>
            </a:r>
          </a:p>
          <a:p>
            <a:r>
              <a:rPr lang="en-US" sz="1100" b="1" dirty="0">
                <a:latin typeface="Courier" charset="0"/>
                <a:ea typeface="Courier" charset="0"/>
                <a:cs typeface="Courier" charset="0"/>
              </a:rPr>
              <a:t>|</a:t>
            </a:r>
            <a:r>
              <a:rPr lang="en-US" sz="1100" b="1" dirty="0">
                <a:solidFill>
                  <a:srgbClr val="FF0000"/>
                </a:solidFill>
                <a:latin typeface="Courier" charset="0"/>
                <a:ea typeface="Courier" charset="0"/>
                <a:cs typeface="Courier" charset="0"/>
              </a:rPr>
              <a:t>            DS Instruction     |            DS Flags           </a:t>
            </a:r>
            <a:r>
              <a:rPr lang="en-US" sz="1100" dirty="0">
                <a:latin typeface="Courier" charset="0"/>
                <a:ea typeface="Courier" charset="0"/>
                <a:cs typeface="Courier" charset="0"/>
              </a:rPr>
              <a:t>|</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a:t>
            </a:r>
          </a:p>
        </p:txBody>
      </p:sp>
      <p:sp>
        <p:nvSpPr>
          <p:cNvPr id="8" name="Oval 7">
            <a:extLst>
              <a:ext uri="{FF2B5EF4-FFF2-40B4-BE49-F238E27FC236}">
                <a16:creationId xmlns:a16="http://schemas.microsoft.com/office/drawing/2014/main" id="{0EAD1BCD-2EBF-4443-A8B6-D8333ED659A5}"/>
              </a:ext>
            </a:extLst>
          </p:cNvPr>
          <p:cNvSpPr/>
          <p:nvPr/>
        </p:nvSpPr>
        <p:spPr>
          <a:xfrm>
            <a:off x="8564661" y="2301904"/>
            <a:ext cx="3037483" cy="426720"/>
          </a:xfrm>
          <a:prstGeom prst="ellipse">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540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bwMode="auto">
          <a:xfrm>
            <a:off x="270934" y="2476501"/>
            <a:ext cx="11275484" cy="9715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nchor="ctr"/>
          <a:lstStyle>
            <a:lvl1pPr marL="6251" indent="-6251" algn="l" rtl="0" eaLnBrk="0" fontAlgn="base" hangingPunct="0">
              <a:lnSpc>
                <a:spcPct val="90000"/>
              </a:lnSpc>
              <a:spcBef>
                <a:spcPct val="0"/>
              </a:spcBef>
              <a:spcAft>
                <a:spcPct val="0"/>
              </a:spcAft>
              <a:defRPr sz="2800" b="0" baseline="0">
                <a:solidFill>
                  <a:schemeClr val="accent1"/>
                </a:solidFill>
                <a:latin typeface="+mj-lt"/>
                <a:ea typeface="+mj-ea"/>
                <a:cs typeface="+mj-cs"/>
                <a:sym typeface="Arial" pitchFamily="34" charset="0"/>
              </a:defRPr>
            </a:lvl1pPr>
            <a:lvl2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marL="8334" indent="-8334" defTabSz="914377">
              <a:lnSpc>
                <a:spcPct val="150000"/>
              </a:lnSpc>
              <a:defRPr/>
            </a:pPr>
            <a:endParaRPr lang="en-US" sz="4267" kern="0" dirty="0">
              <a:solidFill>
                <a:srgbClr val="FFFFFF"/>
              </a:solidFill>
              <a:latin typeface="CiscoSans Thin"/>
            </a:endParaRPr>
          </a:p>
        </p:txBody>
      </p:sp>
      <p:sp>
        <p:nvSpPr>
          <p:cNvPr id="4" name="Footer Placeholder 3"/>
          <p:cNvSpPr>
            <a:spLocks noGrp="1"/>
          </p:cNvSpPr>
          <p:nvPr>
            <p:ph type="ftr" sz="quarter" idx="3"/>
          </p:nvPr>
        </p:nvSpPr>
        <p:spPr/>
        <p:txBody>
          <a:bodyPr/>
          <a:lstStyle/>
          <a:p>
            <a:pPr defTabSz="814305">
              <a:defRPr/>
            </a:pPr>
            <a:r>
              <a:rPr lang="en-US">
                <a:solidFill>
                  <a:srgbClr val="FFFFFF">
                    <a:alpha val="60000"/>
                  </a:srgbClr>
                </a:solidFill>
                <a:latin typeface="Arial"/>
                <a:ea typeface="ＭＳ Ｐゴシック" charset="0"/>
              </a:rPr>
              <a:t>BRKSDN-2901</a:t>
            </a:r>
            <a:endParaRPr lang="en-US" dirty="0">
              <a:solidFill>
                <a:srgbClr val="FFFFFF">
                  <a:alpha val="60000"/>
                </a:srgbClr>
              </a:solidFill>
              <a:latin typeface="Arial"/>
              <a:ea typeface="ＭＳ Ｐゴシック" charset="0"/>
            </a:endParaRPr>
          </a:p>
        </p:txBody>
      </p:sp>
      <p:sp>
        <p:nvSpPr>
          <p:cNvPr id="7" name="Slide Number Placeholder 6"/>
          <p:cNvSpPr>
            <a:spLocks noGrp="1"/>
          </p:cNvSpPr>
          <p:nvPr>
            <p:ph type="sldNum" sz="quarter" idx="4"/>
          </p:nvPr>
        </p:nvSpPr>
        <p:spPr/>
        <p:txBody>
          <a:bodyPr/>
          <a:lstStyle/>
          <a:p>
            <a:pPr defTabSz="914377">
              <a:defRPr/>
            </a:pPr>
            <a:fld id="{96A97DD0-5BE7-4856-A2A9-C42C6688E607}" type="slidenum">
              <a:rPr lang="en-US">
                <a:solidFill>
                  <a:srgbClr val="FFFFFF">
                    <a:alpha val="60000"/>
                  </a:srgbClr>
                </a:solidFill>
                <a:latin typeface="Arial"/>
              </a:rPr>
              <a:pPr defTabSz="914377">
                <a:defRPr/>
              </a:pPr>
              <a:t>16</a:t>
            </a:fld>
            <a:endParaRPr lang="en-US" dirty="0">
              <a:solidFill>
                <a:srgbClr val="FFFFFF">
                  <a:alpha val="60000"/>
                </a:srgbClr>
              </a:solidFill>
              <a:latin typeface="Arial"/>
            </a:endParaRPr>
          </a:p>
        </p:txBody>
      </p:sp>
      <p:sp>
        <p:nvSpPr>
          <p:cNvPr id="6" name="Title 1"/>
          <p:cNvSpPr>
            <a:spLocks noGrp="1"/>
          </p:cNvSpPr>
          <p:nvPr>
            <p:ph type="title"/>
          </p:nvPr>
        </p:nvSpPr>
        <p:spPr>
          <a:xfrm>
            <a:off x="448833" y="1985911"/>
            <a:ext cx="11222524" cy="1666011"/>
          </a:xfrm>
        </p:spPr>
        <p:txBody>
          <a:bodyPr/>
          <a:lstStyle/>
          <a:p>
            <a:r>
              <a:rPr lang="en-US" dirty="0"/>
              <a:t>INT Transport Options - </a:t>
            </a:r>
            <a:r>
              <a:rPr lang="de-DE" dirty="0"/>
              <a:t>INT in IPv4 (GRE)</a:t>
            </a:r>
            <a:endParaRPr lang="en-US" dirty="0"/>
          </a:p>
        </p:txBody>
      </p:sp>
    </p:spTree>
    <p:extLst>
      <p:ext uri="{BB962C8B-B14F-4D97-AF65-F5344CB8AC3E}">
        <p14:creationId xmlns:p14="http://schemas.microsoft.com/office/powerpoint/2010/main" val="3170582121"/>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74B1402-6550-CE41-BB90-9D43F9338FD6}"/>
              </a:ext>
            </a:extLst>
          </p:cNvPr>
          <p:cNvSpPr txBox="1">
            <a:spLocks noGrp="1"/>
          </p:cNvSpPr>
          <p:nvPr>
            <p:ph sz="quarter" idx="11"/>
          </p:nvPr>
        </p:nvSpPr>
        <p:spPr>
          <a:xfrm>
            <a:off x="470567" y="1276441"/>
            <a:ext cx="11350752" cy="4826449"/>
          </a:xfrm>
          <a:prstGeom prst="rect">
            <a:avLst/>
          </a:prstGeom>
          <a:noFill/>
        </p:spPr>
        <p:txBody>
          <a:bodyPr wrap="square" rtlCol="0">
            <a:spAutoFit/>
          </a:bodyPr>
          <a:lstStyle/>
          <a:p>
            <a:pPr marL="171450" indent="-171450">
              <a:buFont typeface="Wingdings" pitchFamily="2" charset="2"/>
              <a:buChar char="Ø"/>
            </a:pPr>
            <a:r>
              <a:rPr lang="en-US" sz="1200" dirty="0">
                <a:latin typeface="Courier" pitchFamily="2" charset="0"/>
              </a:rPr>
              <a:t> </a:t>
            </a:r>
            <a:r>
              <a:rPr lang="en-US" sz="1400" dirty="0">
                <a:latin typeface="Courier" pitchFamily="2" charset="0"/>
              </a:rPr>
              <a:t>GRE encapsulation is defined in [RFC2784]. </a:t>
            </a:r>
          </a:p>
          <a:p>
            <a:pPr marL="171450" indent="-171450">
              <a:buFont typeface="Wingdings" pitchFamily="2" charset="2"/>
              <a:buChar char="Ø"/>
            </a:pPr>
            <a:r>
              <a:rPr lang="en-US" sz="1400" dirty="0">
                <a:latin typeface="Courier" pitchFamily="2" charset="0"/>
              </a:rPr>
              <a:t> The GRE Protocol Type value is TBD_INT. </a:t>
            </a:r>
          </a:p>
          <a:p>
            <a:pPr marL="171450" indent="-171450">
              <a:buFont typeface="Wingdings" pitchFamily="2" charset="2"/>
              <a:buChar char="Ø"/>
            </a:pPr>
            <a:r>
              <a:rPr lang="en-US" sz="1400" dirty="0">
                <a:latin typeface="Courier" pitchFamily="2" charset="0"/>
              </a:rPr>
              <a:t> The INT Header is defined as follows:</a:t>
            </a:r>
          </a:p>
          <a:p>
            <a:pPr marL="628605" lvl="1" indent="-171450">
              <a:buFont typeface="Wingdings" pitchFamily="2" charset="2"/>
              <a:buChar char="Ø"/>
            </a:pPr>
            <a:r>
              <a:rPr lang="en-US" sz="1400" dirty="0">
                <a:latin typeface="Courier" pitchFamily="2" charset="0"/>
              </a:rPr>
              <a:t> </a:t>
            </a:r>
            <a:r>
              <a:rPr lang="en-US" sz="1400" b="1" dirty="0">
                <a:latin typeface="Courier" pitchFamily="2" charset="0"/>
              </a:rPr>
              <a:t>INT Type</a:t>
            </a:r>
            <a:r>
              <a:rPr lang="en-US" sz="1400" dirty="0">
                <a:latin typeface="Courier" pitchFamily="2" charset="0"/>
              </a:rPr>
              <a:t>: 8-bit field defining the INT Header type, as defined in</a:t>
            </a:r>
          </a:p>
          <a:p>
            <a:pPr marL="1085759" lvl="2" indent="-171450">
              <a:buFont typeface="Wingdings" pitchFamily="2" charset="2"/>
              <a:buChar char="Ø"/>
            </a:pPr>
            <a:r>
              <a:rPr lang="en-US" sz="1400" dirty="0">
                <a:latin typeface="Courier" pitchFamily="2" charset="0"/>
              </a:rPr>
              <a:t> INT-MD: Hop-By-Hop Type</a:t>
            </a:r>
          </a:p>
          <a:p>
            <a:pPr marL="1085759" lvl="2" indent="-171450">
              <a:buFont typeface="Wingdings" pitchFamily="2" charset="2"/>
              <a:buChar char="Ø"/>
            </a:pPr>
            <a:r>
              <a:rPr lang="en-US" sz="1400" dirty="0">
                <a:latin typeface="Courier" pitchFamily="2" charset="0"/>
              </a:rPr>
              <a:t> INT-MD: Destination Type</a:t>
            </a:r>
          </a:p>
          <a:p>
            <a:pPr marL="1085759" lvl="2" indent="-171450">
              <a:buFont typeface="Wingdings" pitchFamily="2" charset="2"/>
              <a:buChar char="Ø"/>
            </a:pPr>
            <a:r>
              <a:rPr lang="en-US" sz="1400" dirty="0">
                <a:latin typeface="Courier" pitchFamily="2" charset="0"/>
              </a:rPr>
              <a:t> INT-MX: Direct Export</a:t>
            </a:r>
          </a:p>
          <a:p>
            <a:pPr marL="1085759" lvl="2" indent="-171450">
              <a:buFont typeface="Wingdings" pitchFamily="2" charset="2"/>
              <a:buChar char="Ø"/>
            </a:pPr>
            <a:endParaRPr lang="en-US" sz="1400" dirty="0">
              <a:latin typeface="Courier" pitchFamily="2" charset="0"/>
            </a:endParaRPr>
          </a:p>
          <a:p>
            <a:pPr marL="628605" lvl="1" indent="-171450">
              <a:buFont typeface="Wingdings" pitchFamily="2" charset="2"/>
              <a:buChar char="Ø"/>
            </a:pPr>
            <a:r>
              <a:rPr lang="en-US" sz="1400" dirty="0">
                <a:latin typeface="Courier" pitchFamily="2" charset="0"/>
              </a:rPr>
              <a:t> </a:t>
            </a:r>
            <a:r>
              <a:rPr lang="en-US" sz="1400" b="1" dirty="0">
                <a:latin typeface="Courier" pitchFamily="2" charset="0"/>
              </a:rPr>
              <a:t>INT </a:t>
            </a:r>
            <a:r>
              <a:rPr lang="en-US" sz="1400" b="1" dirty="0" err="1">
                <a:latin typeface="Courier" pitchFamily="2" charset="0"/>
              </a:rPr>
              <a:t>Hdr</a:t>
            </a:r>
            <a:r>
              <a:rPr lang="en-US" sz="1400" b="1" dirty="0">
                <a:latin typeface="Courier" pitchFamily="2" charset="0"/>
              </a:rPr>
              <a:t> Len</a:t>
            </a:r>
            <a:r>
              <a:rPr lang="en-US" sz="1400" dirty="0">
                <a:latin typeface="Courier" pitchFamily="2" charset="0"/>
              </a:rPr>
              <a:t>: 8-bit Length field contains the length of the variable INT data octets in 4-octet units.</a:t>
            </a:r>
          </a:p>
          <a:p>
            <a:pPr marL="628605" lvl="1" indent="-171450">
              <a:buFont typeface="Wingdings" pitchFamily="2" charset="2"/>
              <a:buChar char="Ø"/>
            </a:pPr>
            <a:endParaRPr lang="en-US" sz="1400" dirty="0">
              <a:latin typeface="Courier" pitchFamily="2" charset="0"/>
            </a:endParaRPr>
          </a:p>
          <a:p>
            <a:pPr marL="628605" lvl="1" indent="-171450">
              <a:buFont typeface="Wingdings" pitchFamily="2" charset="2"/>
              <a:buChar char="Ø"/>
            </a:pPr>
            <a:r>
              <a:rPr lang="en-US" sz="1400" b="1" dirty="0">
                <a:latin typeface="Courier" pitchFamily="2" charset="0"/>
              </a:rPr>
              <a:t> Next Protocol</a:t>
            </a:r>
            <a:r>
              <a:rPr lang="en-US" sz="1400" dirty="0">
                <a:latin typeface="Courier" pitchFamily="2" charset="0"/>
              </a:rPr>
              <a:t>: 16 bits Next Protocol Type field contains the protocol type of the packet following INT protocol header. When the most significant octet is 0x00, the Protocol Type is taken to be an IP Protocol Number as defined in [IP_PROT]. Otherwise, the Protocol Type is defined to be an </a:t>
            </a:r>
            <a:r>
              <a:rPr lang="en-US" sz="1400" dirty="0" err="1">
                <a:latin typeface="Courier" pitchFamily="2" charset="0"/>
              </a:rPr>
              <a:t>EtherType</a:t>
            </a:r>
            <a:r>
              <a:rPr lang="en-US" sz="1400" dirty="0">
                <a:latin typeface="Courier" pitchFamily="2" charset="0"/>
              </a:rPr>
              <a:t> value from [ETYPES].  An implementation receiving a packet containing a Protocol Type which is not listed in one of those registries SHOULD discard the packet.</a:t>
            </a:r>
          </a:p>
          <a:p>
            <a:pPr marL="457155" lvl="1" indent="0">
              <a:buNone/>
            </a:pPr>
            <a:endParaRPr lang="en-US" sz="1200" dirty="0">
              <a:latin typeface="Courier" pitchFamily="2" charset="0"/>
            </a:endParaRPr>
          </a:p>
        </p:txBody>
      </p:sp>
      <p:sp>
        <p:nvSpPr>
          <p:cNvPr id="5" name="Title 20">
            <a:extLst>
              <a:ext uri="{FF2B5EF4-FFF2-40B4-BE49-F238E27FC236}">
                <a16:creationId xmlns:a16="http://schemas.microsoft.com/office/drawing/2014/main" id="{E105DBEF-0F7C-4E48-82D4-DBEA1BF08AA1}"/>
              </a:ext>
            </a:extLst>
          </p:cNvPr>
          <p:cNvSpPr>
            <a:spLocks noGrp="1"/>
          </p:cNvSpPr>
          <p:nvPr>
            <p:ph type="title"/>
          </p:nvPr>
        </p:nvSpPr>
        <p:spPr/>
        <p:txBody>
          <a:bodyPr/>
          <a:lstStyle/>
          <a:p>
            <a:r>
              <a:rPr lang="de-DE" dirty="0"/>
              <a:t>INT in IPv4 (GRE)</a:t>
            </a:r>
            <a:endParaRPr lang="en-US" dirty="0"/>
          </a:p>
        </p:txBody>
      </p:sp>
    </p:spTree>
    <p:extLst>
      <p:ext uri="{BB962C8B-B14F-4D97-AF65-F5344CB8AC3E}">
        <p14:creationId xmlns:p14="http://schemas.microsoft.com/office/powerpoint/2010/main" val="2211754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0">
            <a:extLst>
              <a:ext uri="{FF2B5EF4-FFF2-40B4-BE49-F238E27FC236}">
                <a16:creationId xmlns:a16="http://schemas.microsoft.com/office/drawing/2014/main" id="{E105DBEF-0F7C-4E48-82D4-DBEA1BF08AA1}"/>
              </a:ext>
            </a:extLst>
          </p:cNvPr>
          <p:cNvSpPr>
            <a:spLocks noGrp="1"/>
          </p:cNvSpPr>
          <p:nvPr>
            <p:ph type="title"/>
          </p:nvPr>
        </p:nvSpPr>
        <p:spPr/>
        <p:txBody>
          <a:bodyPr/>
          <a:lstStyle/>
          <a:p>
            <a:r>
              <a:rPr lang="de-DE" dirty="0"/>
              <a:t>INT in IPv4 (GRE)</a:t>
            </a:r>
            <a:endParaRPr lang="en-US" dirty="0"/>
          </a:p>
        </p:txBody>
      </p:sp>
      <p:sp>
        <p:nvSpPr>
          <p:cNvPr id="6" name="Rectangle 5">
            <a:extLst>
              <a:ext uri="{FF2B5EF4-FFF2-40B4-BE49-F238E27FC236}">
                <a16:creationId xmlns:a16="http://schemas.microsoft.com/office/drawing/2014/main" id="{10C4ED46-F29D-DF44-B5A3-87E7E9FA0F07}"/>
              </a:ext>
            </a:extLst>
          </p:cNvPr>
          <p:cNvSpPr/>
          <p:nvPr/>
        </p:nvSpPr>
        <p:spPr>
          <a:xfrm>
            <a:off x="2279047" y="1901785"/>
            <a:ext cx="7047833" cy="3767495"/>
          </a:xfrm>
          <a:prstGeom prst="rect">
            <a:avLst/>
          </a:prstGeom>
        </p:spPr>
        <p:txBody>
          <a:bodyPr wrap="square">
            <a:noAutofit/>
          </a:bodyPr>
          <a:lstStyle/>
          <a:p>
            <a:r>
              <a:rPr lang="en-US" sz="1300" b="1" dirty="0">
                <a:latin typeface="Courier" pitchFamily="2" charset="0"/>
              </a:rPr>
              <a:t>Structure of GRE Encapsulated Packet</a:t>
            </a:r>
            <a:r>
              <a:rPr lang="en-US" sz="1300" dirty="0">
                <a:latin typeface="Courier" pitchFamily="2" charset="0"/>
              </a:rPr>
              <a:t>:</a:t>
            </a:r>
          </a:p>
          <a:p>
            <a:endParaRPr lang="en-US" sz="1300" dirty="0">
              <a:effectLst/>
              <a:latin typeface="Courier" pitchFamily="2" charset="0"/>
              <a:ea typeface="Times New Roman" charset="0"/>
            </a:endParaRPr>
          </a:p>
          <a:p>
            <a:pPr marL="0" marR="0">
              <a:spcBef>
                <a:spcPts val="0"/>
              </a:spcBef>
              <a:spcAft>
                <a:spcPts val="0"/>
              </a:spcAft>
            </a:pPr>
            <a:r>
              <a:rPr lang="en-US" sz="1300" kern="1200" dirty="0">
                <a:solidFill>
                  <a:srgbClr val="000000"/>
                </a:solidFill>
                <a:effectLst/>
                <a:latin typeface="Courier" pitchFamily="2" charset="0"/>
                <a:ea typeface="Courier" charset="0"/>
                <a:cs typeface="Courier" charset="0"/>
              </a:rPr>
              <a:t> 0                   1                   2                   3</a:t>
            </a:r>
            <a:endParaRPr lang="en-US" sz="1300" dirty="0">
              <a:effectLst/>
              <a:latin typeface="Courier" pitchFamily="2" charset="0"/>
              <a:ea typeface="Times New Roman" charset="0"/>
            </a:endParaRPr>
          </a:p>
          <a:p>
            <a:pPr marL="0" marR="0">
              <a:spcBef>
                <a:spcPts val="0"/>
              </a:spcBef>
              <a:spcAft>
                <a:spcPts val="0"/>
              </a:spcAft>
            </a:pPr>
            <a:r>
              <a:rPr lang="en-US" sz="1300" kern="1200" dirty="0">
                <a:solidFill>
                  <a:srgbClr val="000000"/>
                </a:solidFill>
                <a:effectLst/>
                <a:latin typeface="Courier" pitchFamily="2" charset="0"/>
                <a:ea typeface="Courier" charset="0"/>
                <a:cs typeface="Courier" charset="0"/>
              </a:rPr>
              <a:t> 0 1 2 3 4 5 6 7 8 9 0 1 2 3 4 5 6 7 8 9 0 1 2 3 4 5 6 7 8 9 0 1</a:t>
            </a:r>
            <a:endParaRPr lang="en-US" sz="1300" dirty="0">
              <a:effectLst/>
              <a:latin typeface="Courier" pitchFamily="2" charset="0"/>
              <a:ea typeface="Times New Roman" charset="0"/>
            </a:endParaRPr>
          </a:p>
          <a:p>
            <a:pPr marL="0" marR="0">
              <a:spcBef>
                <a:spcPts val="0"/>
              </a:spcBef>
              <a:spcAft>
                <a:spcPts val="0"/>
              </a:spcAft>
            </a:pPr>
            <a:r>
              <a:rPr lang="en-US" sz="1300" kern="1200" dirty="0">
                <a:solidFill>
                  <a:srgbClr val="000000"/>
                </a:solidFill>
                <a:effectLst/>
                <a:latin typeface="Courier" pitchFamily="2" charset="0"/>
                <a:ea typeface="Courier" charset="0"/>
                <a:cs typeface="Courier" charset="0"/>
              </a:rPr>
              <a:t>+-+-+-+-+-+-+-+-+-+-+-+-+-+-+-+-+-+-+-+-+-+-+-+-+-+-+-+-+-+-+-+-+</a:t>
            </a:r>
          </a:p>
          <a:p>
            <a:r>
              <a:rPr lang="en-US" sz="1300" dirty="0">
                <a:solidFill>
                  <a:srgbClr val="000000"/>
                </a:solidFill>
                <a:latin typeface="Courier" pitchFamily="2" charset="0"/>
                <a:ea typeface="Times New Roman" charset="0"/>
              </a:rPr>
              <a:t>|                                                               |</a:t>
            </a:r>
            <a:endParaRPr lang="en-US" sz="1300" kern="1200" dirty="0">
              <a:solidFill>
                <a:srgbClr val="000000"/>
              </a:solidFill>
              <a:effectLst/>
              <a:latin typeface="Courier" pitchFamily="2" charset="0"/>
              <a:ea typeface="Courier" charset="0"/>
              <a:cs typeface="Courier" charset="0"/>
            </a:endParaRPr>
          </a:p>
          <a:p>
            <a:r>
              <a:rPr lang="en-US" sz="1300" dirty="0">
                <a:solidFill>
                  <a:srgbClr val="000000"/>
                </a:solidFill>
                <a:effectLst/>
                <a:latin typeface="Courier" pitchFamily="2" charset="0"/>
                <a:ea typeface="Times New Roman" charset="0"/>
              </a:rPr>
              <a:t>|                       Delivery Header                         |                   </a:t>
            </a:r>
          </a:p>
          <a:p>
            <a:r>
              <a:rPr lang="en-US" sz="1300" dirty="0">
                <a:solidFill>
                  <a:srgbClr val="000000"/>
                </a:solidFill>
                <a:latin typeface="Courier" pitchFamily="2" charset="0"/>
                <a:ea typeface="Times New Roman" charset="0"/>
              </a:rPr>
              <a:t>|                                                               </a:t>
            </a:r>
            <a:r>
              <a:rPr lang="en-US" sz="1300" dirty="0">
                <a:solidFill>
                  <a:srgbClr val="000000"/>
                </a:solidFill>
                <a:effectLst/>
                <a:latin typeface="Courier" pitchFamily="2" charset="0"/>
                <a:ea typeface="Times New Roman" charset="0"/>
              </a:rPr>
              <a:t>|</a:t>
            </a:r>
          </a:p>
          <a:p>
            <a:r>
              <a:rPr lang="en-US" sz="1300" dirty="0">
                <a:solidFill>
                  <a:srgbClr val="000000"/>
                </a:solidFill>
                <a:latin typeface="Courier" pitchFamily="2" charset="0"/>
                <a:ea typeface="Courier" charset="0"/>
                <a:cs typeface="Courier" charset="0"/>
              </a:rPr>
              <a:t>+-+-+-+-+-+-+-+-+-+-+-+-+-+-+-+-+-+-+-+-+-+-+-+-+-+-+-+-+-+-+-+-+ </a:t>
            </a:r>
          </a:p>
          <a:p>
            <a:r>
              <a:rPr lang="en-US" sz="1300" dirty="0">
                <a:solidFill>
                  <a:srgbClr val="000000"/>
                </a:solidFill>
                <a:latin typeface="Courier" pitchFamily="2" charset="0"/>
                <a:ea typeface="Times New Roman" charset="0"/>
              </a:rPr>
              <a:t>|                                                               |</a:t>
            </a:r>
            <a:endParaRPr lang="en-US" sz="1300" dirty="0">
              <a:solidFill>
                <a:srgbClr val="000000"/>
              </a:solidFill>
              <a:latin typeface="Courier" pitchFamily="2" charset="0"/>
              <a:ea typeface="Courier" charset="0"/>
              <a:cs typeface="Courier" charset="0"/>
            </a:endParaRPr>
          </a:p>
          <a:p>
            <a:r>
              <a:rPr lang="en-US" sz="1300" dirty="0">
                <a:solidFill>
                  <a:srgbClr val="000000"/>
                </a:solidFill>
                <a:latin typeface="Courier" pitchFamily="2" charset="0"/>
                <a:ea typeface="Times New Roman" charset="0"/>
              </a:rPr>
              <a:t>|                         GRE Header                            |                   </a:t>
            </a:r>
          </a:p>
          <a:p>
            <a:r>
              <a:rPr lang="en-US" sz="1300" dirty="0">
                <a:solidFill>
                  <a:srgbClr val="000000"/>
                </a:solidFill>
                <a:latin typeface="Courier" pitchFamily="2" charset="0"/>
                <a:ea typeface="Times New Roman" charset="0"/>
              </a:rPr>
              <a:t>|                                                               |</a:t>
            </a:r>
          </a:p>
          <a:p>
            <a:r>
              <a:rPr lang="en-US" sz="1300" dirty="0">
                <a:solidFill>
                  <a:srgbClr val="000000"/>
                </a:solidFill>
                <a:latin typeface="Courier" pitchFamily="2" charset="0"/>
                <a:ea typeface="Courier" charset="0"/>
                <a:cs typeface="Courier" charset="0"/>
              </a:rPr>
              <a:t>+-+-+-+-+-+-+-+-+-+-+-+-+-+-+-+-+-+-+-+-+-+-+-+-+-+-+-+-+-+-+-+-+</a:t>
            </a:r>
          </a:p>
          <a:p>
            <a:r>
              <a:rPr lang="en-US" sz="1300" dirty="0">
                <a:solidFill>
                  <a:srgbClr val="000000"/>
                </a:solidFill>
                <a:latin typeface="Courier" pitchFamily="2" charset="0"/>
                <a:ea typeface="Times New Roman" charset="0"/>
              </a:rPr>
              <a:t>|                                                               |</a:t>
            </a:r>
            <a:endParaRPr lang="en-US" sz="1300" dirty="0">
              <a:solidFill>
                <a:srgbClr val="000000"/>
              </a:solidFill>
              <a:latin typeface="Courier" pitchFamily="2" charset="0"/>
              <a:ea typeface="Courier" charset="0"/>
              <a:cs typeface="Courier" charset="0"/>
            </a:endParaRPr>
          </a:p>
          <a:p>
            <a:r>
              <a:rPr lang="en-US" sz="1300" dirty="0">
                <a:solidFill>
                  <a:srgbClr val="000000"/>
                </a:solidFill>
                <a:latin typeface="Courier" pitchFamily="2" charset="0"/>
                <a:ea typeface="Times New Roman" charset="0"/>
              </a:rPr>
              <a:t>|                       Payload Packet                          |                   </a:t>
            </a:r>
          </a:p>
          <a:p>
            <a:r>
              <a:rPr lang="en-US" sz="1300" dirty="0">
                <a:solidFill>
                  <a:srgbClr val="000000"/>
                </a:solidFill>
                <a:latin typeface="Courier" pitchFamily="2" charset="0"/>
                <a:ea typeface="Times New Roman" charset="0"/>
              </a:rPr>
              <a:t>|                                                               |</a:t>
            </a:r>
          </a:p>
          <a:p>
            <a:r>
              <a:rPr lang="en-US" sz="1300" dirty="0">
                <a:solidFill>
                  <a:srgbClr val="000000"/>
                </a:solidFill>
                <a:latin typeface="Courier" pitchFamily="2" charset="0"/>
                <a:ea typeface="Courier" charset="0"/>
                <a:cs typeface="Courier" charset="0"/>
              </a:rPr>
              <a:t>+-+-+-+-+-+-+-+-+-+-+-+-+-+-+-+-+-+-+-+-+-+-+-+-+-+-+-+-+-+-+-+-+ </a:t>
            </a:r>
          </a:p>
          <a:p>
            <a:r>
              <a:rPr lang="en-US" sz="1300" dirty="0">
                <a:solidFill>
                  <a:srgbClr val="000000"/>
                </a:solidFill>
                <a:latin typeface="Courier" pitchFamily="2" charset="0"/>
                <a:ea typeface="Courier" charset="0"/>
                <a:cs typeface="Courier" charset="0"/>
              </a:rPr>
              <a:t> </a:t>
            </a:r>
            <a:endParaRPr lang="en-US" sz="1300" dirty="0">
              <a:latin typeface="Courier" pitchFamily="2" charset="0"/>
              <a:ea typeface="Times New Roman" charset="0"/>
            </a:endParaRPr>
          </a:p>
          <a:p>
            <a:pPr marL="0" marR="0">
              <a:spcBef>
                <a:spcPts val="0"/>
              </a:spcBef>
              <a:spcAft>
                <a:spcPts val="0"/>
              </a:spcAft>
            </a:pPr>
            <a:endParaRPr lang="en-US" sz="1300" dirty="0">
              <a:effectLst/>
              <a:latin typeface="Courier" pitchFamily="2" charset="0"/>
              <a:ea typeface="Times New Roman" charset="0"/>
            </a:endParaRPr>
          </a:p>
        </p:txBody>
      </p:sp>
    </p:spTree>
    <p:extLst>
      <p:ext uri="{BB962C8B-B14F-4D97-AF65-F5344CB8AC3E}">
        <p14:creationId xmlns:p14="http://schemas.microsoft.com/office/powerpoint/2010/main" val="140999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0">
            <a:extLst>
              <a:ext uri="{FF2B5EF4-FFF2-40B4-BE49-F238E27FC236}">
                <a16:creationId xmlns:a16="http://schemas.microsoft.com/office/drawing/2014/main" id="{E105DBEF-0F7C-4E48-82D4-DBEA1BF08AA1}"/>
              </a:ext>
            </a:extLst>
          </p:cNvPr>
          <p:cNvSpPr>
            <a:spLocks noGrp="1"/>
          </p:cNvSpPr>
          <p:nvPr>
            <p:ph type="title"/>
          </p:nvPr>
        </p:nvSpPr>
        <p:spPr/>
        <p:txBody>
          <a:bodyPr/>
          <a:lstStyle/>
          <a:p>
            <a:r>
              <a:rPr lang="de-DE" dirty="0"/>
              <a:t>INT in IPv4 (GRE) – </a:t>
            </a:r>
            <a:r>
              <a:rPr lang="de-DE" dirty="0" err="1"/>
              <a:t>Delivery</a:t>
            </a:r>
            <a:r>
              <a:rPr lang="de-DE" dirty="0"/>
              <a:t> Header</a:t>
            </a:r>
            <a:endParaRPr lang="en-US" dirty="0"/>
          </a:p>
        </p:txBody>
      </p:sp>
      <p:sp>
        <p:nvSpPr>
          <p:cNvPr id="6" name="Rectangle 5">
            <a:extLst>
              <a:ext uri="{FF2B5EF4-FFF2-40B4-BE49-F238E27FC236}">
                <a16:creationId xmlns:a16="http://schemas.microsoft.com/office/drawing/2014/main" id="{10C4ED46-F29D-DF44-B5A3-87E7E9FA0F07}"/>
              </a:ext>
            </a:extLst>
          </p:cNvPr>
          <p:cNvSpPr/>
          <p:nvPr/>
        </p:nvSpPr>
        <p:spPr>
          <a:xfrm>
            <a:off x="3173127" y="1241385"/>
            <a:ext cx="5208873" cy="2355255"/>
          </a:xfrm>
          <a:prstGeom prst="rect">
            <a:avLst/>
          </a:prstGeom>
        </p:spPr>
        <p:txBody>
          <a:bodyPr wrap="square">
            <a:noAutofit/>
          </a:bodyPr>
          <a:lstStyle/>
          <a:p>
            <a:r>
              <a:rPr lang="en-US" sz="1000" b="1" dirty="0">
                <a:latin typeface="Courier" pitchFamily="2" charset="0"/>
              </a:rPr>
              <a:t>Outer Ethernet Header</a:t>
            </a:r>
            <a:endParaRPr lang="en-US" sz="1000" dirty="0">
              <a:latin typeface="Courier" pitchFamily="2" charset="0"/>
            </a:endParaRPr>
          </a:p>
          <a:p>
            <a:endParaRPr lang="en-US" sz="1000" dirty="0">
              <a:effectLst/>
              <a:latin typeface="Courier" pitchFamily="2" charset="0"/>
              <a:ea typeface="Times New Roman" charset="0"/>
            </a:endParaRPr>
          </a:p>
          <a:p>
            <a:pPr marL="0" marR="0">
              <a:spcBef>
                <a:spcPts val="0"/>
              </a:spcBef>
              <a:spcAft>
                <a:spcPts val="0"/>
              </a:spcAft>
            </a:pPr>
            <a:r>
              <a:rPr lang="en-US" sz="1000" kern="1200" dirty="0">
                <a:solidFill>
                  <a:srgbClr val="000000"/>
                </a:solidFill>
                <a:effectLst/>
                <a:latin typeface="Courier" pitchFamily="2" charset="0"/>
                <a:ea typeface="Courier" charset="0"/>
                <a:cs typeface="Courier" charset="0"/>
              </a:rPr>
              <a:t> 0                   1                   2                   3</a:t>
            </a:r>
            <a:endParaRPr lang="en-US" sz="1000" dirty="0">
              <a:effectLst/>
              <a:latin typeface="Courier" pitchFamily="2" charset="0"/>
              <a:ea typeface="Times New Roman" charset="0"/>
            </a:endParaRPr>
          </a:p>
          <a:p>
            <a:pPr marL="0" marR="0">
              <a:spcBef>
                <a:spcPts val="0"/>
              </a:spcBef>
              <a:spcAft>
                <a:spcPts val="0"/>
              </a:spcAft>
            </a:pPr>
            <a:r>
              <a:rPr lang="en-US" sz="1000" kern="1200" dirty="0">
                <a:solidFill>
                  <a:srgbClr val="000000"/>
                </a:solidFill>
                <a:effectLst/>
                <a:latin typeface="Courier" pitchFamily="2" charset="0"/>
                <a:ea typeface="Courier" charset="0"/>
                <a:cs typeface="Courier" charset="0"/>
              </a:rPr>
              <a:t> 0 1 2 3 4 5 6 7 8 9 0 1 2 3 4 5 6 7 8 9 0 1 2 3 4 5 6 7 8 9 0 1</a:t>
            </a:r>
            <a:endParaRPr lang="en-US" sz="1000" dirty="0">
              <a:effectLst/>
              <a:latin typeface="Courier" pitchFamily="2" charset="0"/>
              <a:ea typeface="Times New Roman" charset="0"/>
            </a:endParaRPr>
          </a:p>
          <a:p>
            <a:pPr marL="0" marR="0">
              <a:spcBef>
                <a:spcPts val="0"/>
              </a:spcBef>
              <a:spcAft>
                <a:spcPts val="0"/>
              </a:spcAft>
            </a:pPr>
            <a:r>
              <a:rPr lang="en-US" sz="1000" kern="1200" dirty="0">
                <a:solidFill>
                  <a:srgbClr val="000000"/>
                </a:solidFill>
                <a:effectLst/>
                <a:latin typeface="Courier" pitchFamily="2" charset="0"/>
                <a:ea typeface="Courier" charset="0"/>
                <a:cs typeface="Courier" charset="0"/>
              </a:rPr>
              <a:t>+-+-+-+-+-+-+-+-+-+-+-+-+-+-+-+-+-+-+-+-+-+-+-+-+-+-+-+-+-+-+-+-+</a:t>
            </a:r>
          </a:p>
          <a:p>
            <a:pPr marL="0" marR="0">
              <a:spcBef>
                <a:spcPts val="0"/>
              </a:spcBef>
              <a:spcAft>
                <a:spcPts val="0"/>
              </a:spcAft>
            </a:pPr>
            <a:r>
              <a:rPr lang="en-US" sz="1000" dirty="0">
                <a:solidFill>
                  <a:srgbClr val="000000"/>
                </a:solidFill>
                <a:latin typeface="Courier" pitchFamily="2" charset="0"/>
                <a:ea typeface="Courier" charset="0"/>
                <a:cs typeface="Courier" charset="0"/>
              </a:rPr>
              <a:t>|                (Outer) </a:t>
            </a:r>
            <a:r>
              <a:rPr lang="en-US" sz="1000" dirty="0" err="1">
                <a:solidFill>
                  <a:srgbClr val="000000"/>
                </a:solidFill>
                <a:latin typeface="Courier" pitchFamily="2" charset="0"/>
                <a:ea typeface="Courier" charset="0"/>
                <a:cs typeface="Courier" charset="0"/>
              </a:rPr>
              <a:t>Desitnation</a:t>
            </a:r>
            <a:r>
              <a:rPr lang="en-US" sz="1000" dirty="0">
                <a:solidFill>
                  <a:srgbClr val="000000"/>
                </a:solidFill>
                <a:latin typeface="Courier" pitchFamily="2" charset="0"/>
                <a:ea typeface="Courier" charset="0"/>
                <a:cs typeface="Courier" charset="0"/>
              </a:rPr>
              <a:t> MAC Address                |</a:t>
            </a:r>
          </a:p>
          <a:p>
            <a:r>
              <a:rPr lang="en-US" sz="1000" dirty="0">
                <a:solidFill>
                  <a:srgbClr val="000000"/>
                </a:solidFill>
                <a:latin typeface="Courier" pitchFamily="2" charset="0"/>
                <a:ea typeface="Courier" charset="0"/>
                <a:cs typeface="Courier" charset="0"/>
              </a:rPr>
              <a:t>+-+-+-+-+-+-+-+-+-+-+-+-+-+-+-+-+-+-+-+-+-+-+-+-+-+-+-+-+-+-+-+-+</a:t>
            </a:r>
          </a:p>
          <a:p>
            <a:r>
              <a:rPr lang="en-US" sz="1000" dirty="0">
                <a:solidFill>
                  <a:srgbClr val="000000"/>
                </a:solidFill>
                <a:latin typeface="Courier" pitchFamily="2" charset="0"/>
                <a:ea typeface="Courier" charset="0"/>
                <a:cs typeface="Courier" charset="0"/>
              </a:rPr>
              <a:t>|(Outer)Destination MAC Address |   (Outer) Source MAC Address  |</a:t>
            </a:r>
          </a:p>
          <a:p>
            <a:r>
              <a:rPr lang="en-US" sz="1000" dirty="0">
                <a:solidFill>
                  <a:srgbClr val="000000"/>
                </a:solidFill>
                <a:latin typeface="Courier" pitchFamily="2" charset="0"/>
                <a:ea typeface="Courier" charset="0"/>
                <a:cs typeface="Courier" charset="0"/>
              </a:rPr>
              <a:t>+-+-+-+-+-+-+-+-+-+-+-+-+-+-+-+-+-+-+-+-+-+-+-+-+-+-+-+-+-+-+-+-+</a:t>
            </a:r>
          </a:p>
          <a:p>
            <a:r>
              <a:rPr lang="en-US" sz="1000" dirty="0">
                <a:solidFill>
                  <a:srgbClr val="000000"/>
                </a:solidFill>
                <a:latin typeface="Courier" pitchFamily="2" charset="0"/>
                <a:ea typeface="Courier" charset="0"/>
                <a:cs typeface="Courier" charset="0"/>
              </a:rPr>
              <a:t>|                   (Outer) Source MAC Address                  |</a:t>
            </a:r>
          </a:p>
          <a:p>
            <a:r>
              <a:rPr lang="en-US" sz="1000" dirty="0">
                <a:solidFill>
                  <a:srgbClr val="000000"/>
                </a:solidFill>
                <a:latin typeface="Courier" pitchFamily="2" charset="0"/>
                <a:ea typeface="Courier" charset="0"/>
                <a:cs typeface="Courier" charset="0"/>
              </a:rPr>
              <a:t>+-+-+-+-+-+-+-+-+-+-+-+-+-+-+-+-+-+-+-+-+-+-+-+-+-+-+-+-+-+-+-+-+</a:t>
            </a:r>
          </a:p>
          <a:p>
            <a:r>
              <a:rPr lang="en-US" sz="1000" dirty="0">
                <a:solidFill>
                  <a:srgbClr val="000000"/>
                </a:solidFill>
                <a:latin typeface="Courier" pitchFamily="2" charset="0"/>
                <a:ea typeface="Courier" charset="0"/>
                <a:cs typeface="Courier" charset="0"/>
              </a:rPr>
              <a:t>|Optional </a:t>
            </a:r>
            <a:r>
              <a:rPr lang="en-US" sz="1000" dirty="0" err="1">
                <a:solidFill>
                  <a:srgbClr val="000000"/>
                </a:solidFill>
                <a:latin typeface="Courier" pitchFamily="2" charset="0"/>
                <a:ea typeface="Courier" charset="0"/>
                <a:cs typeface="Courier" charset="0"/>
              </a:rPr>
              <a:t>Ethertype</a:t>
            </a:r>
            <a:r>
              <a:rPr lang="en-US" sz="1000" dirty="0">
                <a:solidFill>
                  <a:srgbClr val="000000"/>
                </a:solidFill>
                <a:latin typeface="Courier" pitchFamily="2" charset="0"/>
                <a:ea typeface="Courier" charset="0"/>
                <a:cs typeface="Courier" charset="0"/>
              </a:rPr>
              <a:t>=C-Tag 802.1Q|  Outer VLAN Tag Information   |</a:t>
            </a:r>
          </a:p>
          <a:p>
            <a:r>
              <a:rPr lang="en-US" sz="1000" dirty="0">
                <a:solidFill>
                  <a:srgbClr val="000000"/>
                </a:solidFill>
                <a:latin typeface="Courier" pitchFamily="2" charset="0"/>
                <a:ea typeface="Courier" charset="0"/>
                <a:cs typeface="Courier" charset="0"/>
              </a:rPr>
              <a:t>+-+-+-+-+-+-+-+-+-+-+-+-+-+-+-+-+-+-+-+-+-+-+-+-+-+-+-+-+-+-+-+-+</a:t>
            </a:r>
          </a:p>
          <a:p>
            <a:r>
              <a:rPr lang="en-US" sz="1000" dirty="0">
                <a:solidFill>
                  <a:srgbClr val="000000"/>
                </a:solidFill>
                <a:latin typeface="Courier" pitchFamily="2" charset="0"/>
                <a:ea typeface="Courier" charset="0"/>
                <a:cs typeface="Courier" charset="0"/>
              </a:rPr>
              <a:t>|      </a:t>
            </a:r>
            <a:r>
              <a:rPr lang="en-US" sz="1000" dirty="0" err="1">
                <a:solidFill>
                  <a:srgbClr val="000000"/>
                </a:solidFill>
                <a:latin typeface="Courier" pitchFamily="2" charset="0"/>
                <a:ea typeface="Courier" charset="0"/>
                <a:cs typeface="Courier" charset="0"/>
              </a:rPr>
              <a:t>Ethertype</a:t>
            </a:r>
            <a:r>
              <a:rPr lang="en-US" sz="1000" dirty="0">
                <a:solidFill>
                  <a:srgbClr val="000000"/>
                </a:solidFill>
                <a:latin typeface="Courier" pitchFamily="2" charset="0"/>
                <a:ea typeface="Courier" charset="0"/>
                <a:cs typeface="Courier" charset="0"/>
              </a:rPr>
              <a:t> 0x800          |</a:t>
            </a:r>
          </a:p>
          <a:p>
            <a:r>
              <a:rPr lang="en-US" sz="1000" dirty="0">
                <a:solidFill>
                  <a:srgbClr val="000000"/>
                </a:solidFill>
                <a:latin typeface="Courier" pitchFamily="2" charset="0"/>
                <a:ea typeface="Courier" charset="0"/>
                <a:cs typeface="Courier" charset="0"/>
              </a:rPr>
              <a:t>+-+-+-+-+-+-+-+-+-+-+-+-+-+-+-+-+</a:t>
            </a:r>
          </a:p>
          <a:p>
            <a:endParaRPr lang="en-US" sz="1000" kern="1200" dirty="0">
              <a:solidFill>
                <a:srgbClr val="000000"/>
              </a:solidFill>
              <a:effectLst/>
              <a:latin typeface="Courier" pitchFamily="2" charset="0"/>
              <a:ea typeface="Courier" charset="0"/>
              <a:cs typeface="Courier" charset="0"/>
            </a:endParaRPr>
          </a:p>
          <a:p>
            <a:endParaRPr lang="en-US" sz="1000" dirty="0">
              <a:latin typeface="Courier" pitchFamily="2" charset="0"/>
              <a:ea typeface="Times New Roman" charset="0"/>
            </a:endParaRPr>
          </a:p>
          <a:p>
            <a:pPr marL="0" marR="0">
              <a:spcBef>
                <a:spcPts val="0"/>
              </a:spcBef>
              <a:spcAft>
                <a:spcPts val="0"/>
              </a:spcAft>
            </a:pPr>
            <a:endParaRPr lang="en-US" sz="1000" dirty="0">
              <a:effectLst/>
              <a:latin typeface="Courier" pitchFamily="2" charset="0"/>
              <a:ea typeface="Times New Roman" charset="0"/>
            </a:endParaRPr>
          </a:p>
        </p:txBody>
      </p:sp>
      <p:sp>
        <p:nvSpPr>
          <p:cNvPr id="4" name="Rectangle 3">
            <a:extLst>
              <a:ext uri="{FF2B5EF4-FFF2-40B4-BE49-F238E27FC236}">
                <a16:creationId xmlns:a16="http://schemas.microsoft.com/office/drawing/2014/main" id="{AC6BF84C-DF96-9C43-B4AC-1C5E1CF37618}"/>
              </a:ext>
            </a:extLst>
          </p:cNvPr>
          <p:cNvSpPr/>
          <p:nvPr/>
        </p:nvSpPr>
        <p:spPr>
          <a:xfrm>
            <a:off x="3173127" y="3830320"/>
            <a:ext cx="5208873" cy="2355255"/>
          </a:xfrm>
          <a:prstGeom prst="rect">
            <a:avLst/>
          </a:prstGeom>
        </p:spPr>
        <p:txBody>
          <a:bodyPr wrap="square">
            <a:noAutofit/>
          </a:bodyPr>
          <a:lstStyle/>
          <a:p>
            <a:r>
              <a:rPr lang="en-US" sz="1000" b="1" dirty="0">
                <a:latin typeface="Courier" pitchFamily="2" charset="0"/>
              </a:rPr>
              <a:t>Outer IPv4 Header</a:t>
            </a:r>
            <a:endParaRPr lang="en-US" sz="1000" dirty="0">
              <a:latin typeface="Courier" pitchFamily="2" charset="0"/>
            </a:endParaRPr>
          </a:p>
          <a:p>
            <a:endParaRPr lang="en-US" sz="1000" dirty="0">
              <a:effectLst/>
              <a:latin typeface="Courier" pitchFamily="2" charset="0"/>
              <a:ea typeface="Times New Roman" charset="0"/>
            </a:endParaRPr>
          </a:p>
          <a:p>
            <a:pPr marL="0" marR="0">
              <a:spcBef>
                <a:spcPts val="0"/>
              </a:spcBef>
              <a:spcAft>
                <a:spcPts val="0"/>
              </a:spcAft>
            </a:pPr>
            <a:r>
              <a:rPr lang="en-US" sz="1000" kern="1200" dirty="0">
                <a:solidFill>
                  <a:srgbClr val="000000"/>
                </a:solidFill>
                <a:effectLst/>
                <a:latin typeface="Courier" pitchFamily="2" charset="0"/>
                <a:ea typeface="Courier" charset="0"/>
                <a:cs typeface="Courier" charset="0"/>
              </a:rPr>
              <a:t> 0                   1                   2                   3</a:t>
            </a:r>
            <a:endParaRPr lang="en-US" sz="1000" dirty="0">
              <a:effectLst/>
              <a:latin typeface="Courier" pitchFamily="2" charset="0"/>
              <a:ea typeface="Times New Roman" charset="0"/>
            </a:endParaRPr>
          </a:p>
          <a:p>
            <a:pPr marL="0" marR="0">
              <a:spcBef>
                <a:spcPts val="0"/>
              </a:spcBef>
              <a:spcAft>
                <a:spcPts val="0"/>
              </a:spcAft>
            </a:pPr>
            <a:r>
              <a:rPr lang="en-US" sz="1000" kern="1200" dirty="0">
                <a:solidFill>
                  <a:srgbClr val="000000"/>
                </a:solidFill>
                <a:effectLst/>
                <a:latin typeface="Courier" pitchFamily="2" charset="0"/>
                <a:ea typeface="Courier" charset="0"/>
                <a:cs typeface="Courier" charset="0"/>
              </a:rPr>
              <a:t> 0 1 2 3 4 5 6 7 8 9 0 1 2 3 4 5 6 7 8 9 0 1 2 3 4 5 6 7 8 9 0 1</a:t>
            </a:r>
            <a:endParaRPr lang="en-US" sz="1000" dirty="0">
              <a:effectLst/>
              <a:latin typeface="Courier" pitchFamily="2" charset="0"/>
              <a:ea typeface="Times New Roman" charset="0"/>
            </a:endParaRPr>
          </a:p>
          <a:p>
            <a:pPr marL="0" marR="0">
              <a:spcBef>
                <a:spcPts val="0"/>
              </a:spcBef>
              <a:spcAft>
                <a:spcPts val="0"/>
              </a:spcAft>
            </a:pPr>
            <a:r>
              <a:rPr lang="en-US" sz="1000" kern="1200" dirty="0">
                <a:solidFill>
                  <a:srgbClr val="000000"/>
                </a:solidFill>
                <a:effectLst/>
                <a:latin typeface="Courier" pitchFamily="2" charset="0"/>
                <a:ea typeface="Courier" charset="0"/>
                <a:cs typeface="Courier" charset="0"/>
              </a:rPr>
              <a:t>+-+-+-+-+-+-+-+-+-+-+-+-+-+-+-+-+-+-+-+-+-+-+-+-+-+-+-+-+-+-+-+-+</a:t>
            </a:r>
          </a:p>
          <a:p>
            <a:pPr marL="0" marR="0">
              <a:spcBef>
                <a:spcPts val="0"/>
              </a:spcBef>
              <a:spcAft>
                <a:spcPts val="0"/>
              </a:spcAft>
            </a:pPr>
            <a:r>
              <a:rPr lang="en-US" sz="1000" dirty="0">
                <a:solidFill>
                  <a:srgbClr val="000000"/>
                </a:solidFill>
                <a:latin typeface="Courier" pitchFamily="2" charset="0"/>
                <a:ea typeface="Courier" charset="0"/>
                <a:cs typeface="Courier" charset="0"/>
              </a:rPr>
              <a:t>|Version|   HL  |Type of Service|          Total Length         |</a:t>
            </a:r>
          </a:p>
          <a:p>
            <a:r>
              <a:rPr lang="en-US" sz="1000" dirty="0">
                <a:solidFill>
                  <a:srgbClr val="000000"/>
                </a:solidFill>
                <a:latin typeface="Courier" pitchFamily="2" charset="0"/>
                <a:ea typeface="Courier" charset="0"/>
                <a:cs typeface="Courier" charset="0"/>
              </a:rPr>
              <a:t>+-+-+-+-+-+-+-+-+-+-+-+-+-+-+-+-+-+-+-+-+-+-+-+-+-+-+-+-+-+-+-+-+</a:t>
            </a:r>
          </a:p>
          <a:p>
            <a:r>
              <a:rPr lang="en-US" sz="1000" dirty="0">
                <a:solidFill>
                  <a:srgbClr val="000000"/>
                </a:solidFill>
                <a:latin typeface="Courier" pitchFamily="2" charset="0"/>
                <a:ea typeface="Courier" charset="0"/>
                <a:cs typeface="Courier" charset="0"/>
              </a:rPr>
              <a:t>|        Identification         |Flags|      Fragment Offset    |</a:t>
            </a:r>
          </a:p>
          <a:p>
            <a:r>
              <a:rPr lang="en-US" sz="1000" dirty="0">
                <a:solidFill>
                  <a:srgbClr val="000000"/>
                </a:solidFill>
                <a:latin typeface="Courier" pitchFamily="2" charset="0"/>
                <a:ea typeface="Courier" charset="0"/>
                <a:cs typeface="Courier" charset="0"/>
              </a:rPr>
              <a:t>+-+-+-+-+-+-+-+-+-+-+-+-+-+-+-+-+-+-+-+-+-+-+-+-+-+-+-+-+-+-+-+-+</a:t>
            </a:r>
          </a:p>
          <a:p>
            <a:r>
              <a:rPr lang="en-US" sz="1000" dirty="0">
                <a:solidFill>
                  <a:srgbClr val="000000"/>
                </a:solidFill>
                <a:latin typeface="Courier" pitchFamily="2" charset="0"/>
                <a:ea typeface="Courier" charset="0"/>
                <a:cs typeface="Courier" charset="0"/>
              </a:rPr>
              <a:t>|  Time to Live | Protocol 0x2F |         Header Checksum       |</a:t>
            </a:r>
          </a:p>
          <a:p>
            <a:r>
              <a:rPr lang="en-US" sz="1000" dirty="0">
                <a:solidFill>
                  <a:srgbClr val="000000"/>
                </a:solidFill>
                <a:latin typeface="Courier" pitchFamily="2" charset="0"/>
                <a:ea typeface="Courier" charset="0"/>
                <a:cs typeface="Courier" charset="0"/>
              </a:rPr>
              <a:t>+-+-+-+-+-+-+-+-+-+-+-+-+-+-+-+-+-+-+-+-+-+-+-+-+-+-+-+-+-+-+-+-+</a:t>
            </a:r>
          </a:p>
          <a:p>
            <a:r>
              <a:rPr lang="en-US" sz="1000" dirty="0">
                <a:solidFill>
                  <a:srgbClr val="000000"/>
                </a:solidFill>
                <a:latin typeface="Courier" pitchFamily="2" charset="0"/>
                <a:ea typeface="Courier" charset="0"/>
                <a:cs typeface="Courier" charset="0"/>
              </a:rPr>
              <a:t>|                     (Outer) Source Address                    |</a:t>
            </a:r>
          </a:p>
          <a:p>
            <a:r>
              <a:rPr lang="en-US" sz="1000" dirty="0">
                <a:solidFill>
                  <a:srgbClr val="000000"/>
                </a:solidFill>
                <a:latin typeface="Courier" pitchFamily="2" charset="0"/>
                <a:ea typeface="Courier" charset="0"/>
                <a:cs typeface="Courier" charset="0"/>
              </a:rPr>
              <a:t>+-+-+-+-+-+-+-+-+-+-+-+-+-+-+-+-+-+-+-+-+-+-+-+-+-+-+-+-+-+-+-+-+</a:t>
            </a:r>
          </a:p>
          <a:p>
            <a:r>
              <a:rPr lang="en-US" sz="1000" dirty="0">
                <a:solidFill>
                  <a:srgbClr val="000000"/>
                </a:solidFill>
                <a:latin typeface="Courier" pitchFamily="2" charset="0"/>
                <a:ea typeface="Courier" charset="0"/>
                <a:cs typeface="Courier" charset="0"/>
              </a:rPr>
              <a:t>|                  (Outer) Destination Address                  |</a:t>
            </a:r>
          </a:p>
          <a:p>
            <a:r>
              <a:rPr lang="en-US" sz="1000" dirty="0">
                <a:solidFill>
                  <a:srgbClr val="000000"/>
                </a:solidFill>
                <a:latin typeface="Courier" pitchFamily="2" charset="0"/>
                <a:ea typeface="Courier" charset="0"/>
                <a:cs typeface="Courier" charset="0"/>
              </a:rPr>
              <a:t>+-+-+-+-+-+-+-+-+-+-+-+-+-+-+-+-+-+-+-+-+-+-+-+-+-+-+-+-+-+-+-+-+</a:t>
            </a:r>
          </a:p>
          <a:p>
            <a:endParaRPr lang="en-US" sz="1000" dirty="0">
              <a:solidFill>
                <a:srgbClr val="000000"/>
              </a:solidFill>
              <a:latin typeface="Courier" pitchFamily="2" charset="0"/>
              <a:ea typeface="Courier" charset="0"/>
              <a:cs typeface="Courier" charset="0"/>
            </a:endParaRPr>
          </a:p>
          <a:p>
            <a:endParaRPr lang="en-US" sz="1000" dirty="0">
              <a:solidFill>
                <a:srgbClr val="000000"/>
              </a:solidFill>
              <a:latin typeface="Courier" pitchFamily="2" charset="0"/>
              <a:ea typeface="Courier" charset="0"/>
              <a:cs typeface="Courier" charset="0"/>
            </a:endParaRPr>
          </a:p>
          <a:p>
            <a:endParaRPr lang="en-US" sz="1000" kern="1200" dirty="0">
              <a:solidFill>
                <a:srgbClr val="000000"/>
              </a:solidFill>
              <a:effectLst/>
              <a:latin typeface="Courier" pitchFamily="2" charset="0"/>
              <a:ea typeface="Courier" charset="0"/>
              <a:cs typeface="Courier" charset="0"/>
            </a:endParaRPr>
          </a:p>
          <a:p>
            <a:endParaRPr lang="en-US" sz="1000" dirty="0">
              <a:latin typeface="Courier" pitchFamily="2" charset="0"/>
              <a:ea typeface="Times New Roman" charset="0"/>
            </a:endParaRPr>
          </a:p>
          <a:p>
            <a:pPr marL="0" marR="0">
              <a:spcBef>
                <a:spcPts val="0"/>
              </a:spcBef>
              <a:spcAft>
                <a:spcPts val="0"/>
              </a:spcAft>
            </a:pPr>
            <a:endParaRPr lang="en-US" sz="1000" dirty="0">
              <a:effectLst/>
              <a:latin typeface="Courier" pitchFamily="2" charset="0"/>
              <a:ea typeface="Times New Roman" charset="0"/>
            </a:endParaRPr>
          </a:p>
        </p:txBody>
      </p:sp>
    </p:spTree>
    <p:extLst>
      <p:ext uri="{BB962C8B-B14F-4D97-AF65-F5344CB8AC3E}">
        <p14:creationId xmlns:p14="http://schemas.microsoft.com/office/powerpoint/2010/main" val="2674838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bwMode="auto">
          <a:xfrm>
            <a:off x="270934" y="2476501"/>
            <a:ext cx="11275484" cy="9715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nchor="ctr"/>
          <a:lstStyle>
            <a:lvl1pPr marL="6251" indent="-6251" algn="l" rtl="0" eaLnBrk="0" fontAlgn="base" hangingPunct="0">
              <a:lnSpc>
                <a:spcPct val="90000"/>
              </a:lnSpc>
              <a:spcBef>
                <a:spcPct val="0"/>
              </a:spcBef>
              <a:spcAft>
                <a:spcPct val="0"/>
              </a:spcAft>
              <a:defRPr sz="2800" b="0" baseline="0">
                <a:solidFill>
                  <a:schemeClr val="accent1"/>
                </a:solidFill>
                <a:latin typeface="+mj-lt"/>
                <a:ea typeface="+mj-ea"/>
                <a:cs typeface="+mj-cs"/>
                <a:sym typeface="Arial" pitchFamily="34" charset="0"/>
              </a:defRPr>
            </a:lvl1pPr>
            <a:lvl2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marL="8334" indent="-8334" algn="ctr" defTabSz="914377">
              <a:lnSpc>
                <a:spcPct val="150000"/>
              </a:lnSpc>
              <a:defRPr/>
            </a:pPr>
            <a:endParaRPr lang="en-US" sz="4267" kern="0" dirty="0">
              <a:solidFill>
                <a:srgbClr val="FFFFFF"/>
              </a:solidFill>
              <a:latin typeface="CiscoSans Thin"/>
            </a:endParaRPr>
          </a:p>
        </p:txBody>
      </p:sp>
      <p:sp>
        <p:nvSpPr>
          <p:cNvPr id="4" name="Footer Placeholder 3"/>
          <p:cNvSpPr>
            <a:spLocks noGrp="1"/>
          </p:cNvSpPr>
          <p:nvPr>
            <p:ph type="ftr" sz="quarter" idx="3"/>
          </p:nvPr>
        </p:nvSpPr>
        <p:spPr/>
        <p:txBody>
          <a:bodyPr/>
          <a:lstStyle/>
          <a:p>
            <a:pPr defTabSz="814305">
              <a:defRPr/>
            </a:pPr>
            <a:r>
              <a:rPr lang="en-US">
                <a:solidFill>
                  <a:srgbClr val="FFFFFF">
                    <a:alpha val="60000"/>
                  </a:srgbClr>
                </a:solidFill>
                <a:latin typeface="Arial"/>
                <a:ea typeface="ＭＳ Ｐゴシック" charset="0"/>
              </a:rPr>
              <a:t>BRKSDN-2901</a:t>
            </a:r>
            <a:endParaRPr lang="en-US" dirty="0">
              <a:solidFill>
                <a:srgbClr val="FFFFFF">
                  <a:alpha val="60000"/>
                </a:srgbClr>
              </a:solidFill>
              <a:latin typeface="Arial"/>
              <a:ea typeface="ＭＳ Ｐゴシック" charset="0"/>
            </a:endParaRPr>
          </a:p>
        </p:txBody>
      </p:sp>
      <p:sp>
        <p:nvSpPr>
          <p:cNvPr id="7" name="Slide Number Placeholder 6"/>
          <p:cNvSpPr>
            <a:spLocks noGrp="1"/>
          </p:cNvSpPr>
          <p:nvPr>
            <p:ph type="sldNum" sz="quarter" idx="4"/>
          </p:nvPr>
        </p:nvSpPr>
        <p:spPr/>
        <p:txBody>
          <a:bodyPr/>
          <a:lstStyle/>
          <a:p>
            <a:pPr defTabSz="914377">
              <a:defRPr/>
            </a:pPr>
            <a:fld id="{96A97DD0-5BE7-4856-A2A9-C42C6688E607}" type="slidenum">
              <a:rPr lang="en-US">
                <a:solidFill>
                  <a:srgbClr val="FFFFFF">
                    <a:alpha val="60000"/>
                  </a:srgbClr>
                </a:solidFill>
                <a:latin typeface="Arial"/>
              </a:rPr>
              <a:pPr defTabSz="914377">
                <a:defRPr/>
              </a:pPr>
              <a:t>2</a:t>
            </a:fld>
            <a:endParaRPr lang="en-US" dirty="0">
              <a:solidFill>
                <a:srgbClr val="FFFFFF">
                  <a:alpha val="60000"/>
                </a:srgbClr>
              </a:solidFill>
              <a:latin typeface="Arial"/>
            </a:endParaRPr>
          </a:p>
        </p:txBody>
      </p:sp>
      <p:sp>
        <p:nvSpPr>
          <p:cNvPr id="6" name="Title 1"/>
          <p:cNvSpPr>
            <a:spLocks noGrp="1"/>
          </p:cNvSpPr>
          <p:nvPr>
            <p:ph type="title"/>
          </p:nvPr>
        </p:nvSpPr>
        <p:spPr>
          <a:xfrm>
            <a:off x="448833" y="1985911"/>
            <a:ext cx="11222524" cy="1666011"/>
          </a:xfrm>
        </p:spPr>
        <p:txBody>
          <a:bodyPr/>
          <a:lstStyle/>
          <a:p>
            <a:r>
              <a:rPr lang="en-US" dirty="0"/>
              <a:t>INT Ver 2.0 Functionality</a:t>
            </a:r>
          </a:p>
        </p:txBody>
      </p:sp>
    </p:spTree>
    <p:extLst>
      <p:ext uri="{BB962C8B-B14F-4D97-AF65-F5344CB8AC3E}">
        <p14:creationId xmlns:p14="http://schemas.microsoft.com/office/powerpoint/2010/main" val="2856219027"/>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0">
            <a:extLst>
              <a:ext uri="{FF2B5EF4-FFF2-40B4-BE49-F238E27FC236}">
                <a16:creationId xmlns:a16="http://schemas.microsoft.com/office/drawing/2014/main" id="{E105DBEF-0F7C-4E48-82D4-DBEA1BF08AA1}"/>
              </a:ext>
            </a:extLst>
          </p:cNvPr>
          <p:cNvSpPr>
            <a:spLocks noGrp="1"/>
          </p:cNvSpPr>
          <p:nvPr>
            <p:ph type="title"/>
          </p:nvPr>
        </p:nvSpPr>
        <p:spPr/>
        <p:txBody>
          <a:bodyPr/>
          <a:lstStyle/>
          <a:p>
            <a:r>
              <a:rPr lang="de-DE" dirty="0"/>
              <a:t>INT in IPv4 (GRE) – GRE Header</a:t>
            </a:r>
            <a:endParaRPr lang="en-US" dirty="0"/>
          </a:p>
        </p:txBody>
      </p:sp>
      <p:sp>
        <p:nvSpPr>
          <p:cNvPr id="6" name="Rectangle 5">
            <a:extLst>
              <a:ext uri="{FF2B5EF4-FFF2-40B4-BE49-F238E27FC236}">
                <a16:creationId xmlns:a16="http://schemas.microsoft.com/office/drawing/2014/main" id="{10C4ED46-F29D-DF44-B5A3-87E7E9FA0F07}"/>
              </a:ext>
            </a:extLst>
          </p:cNvPr>
          <p:cNvSpPr/>
          <p:nvPr/>
        </p:nvSpPr>
        <p:spPr>
          <a:xfrm>
            <a:off x="435709" y="1530109"/>
            <a:ext cx="6966553" cy="4511876"/>
          </a:xfrm>
          <a:prstGeom prst="rect">
            <a:avLst/>
          </a:prstGeom>
        </p:spPr>
        <p:txBody>
          <a:bodyPr wrap="square">
            <a:noAutofit/>
          </a:bodyPr>
          <a:lstStyle/>
          <a:p>
            <a:r>
              <a:rPr lang="en-US" sz="1300" b="1" dirty="0">
                <a:latin typeface="Courier" pitchFamily="2" charset="0"/>
              </a:rPr>
              <a:t>GRE Header</a:t>
            </a:r>
            <a:r>
              <a:rPr lang="en-US" sz="1300" dirty="0">
                <a:latin typeface="Courier" pitchFamily="2" charset="0"/>
              </a:rPr>
              <a:t>:</a:t>
            </a:r>
          </a:p>
          <a:p>
            <a:endParaRPr lang="en-US" sz="1300" dirty="0">
              <a:effectLst/>
              <a:latin typeface="Courier" pitchFamily="2" charset="0"/>
              <a:ea typeface="Times New Roman" charset="0"/>
            </a:endParaRPr>
          </a:p>
          <a:p>
            <a:pPr marL="0" marR="0">
              <a:spcBef>
                <a:spcPts val="0"/>
              </a:spcBef>
              <a:spcAft>
                <a:spcPts val="0"/>
              </a:spcAft>
            </a:pPr>
            <a:r>
              <a:rPr lang="en-US" sz="1300" kern="1200" dirty="0">
                <a:solidFill>
                  <a:srgbClr val="000000"/>
                </a:solidFill>
                <a:effectLst/>
                <a:latin typeface="Courier" pitchFamily="2" charset="0"/>
                <a:ea typeface="Courier" charset="0"/>
                <a:cs typeface="Courier" charset="0"/>
              </a:rPr>
              <a:t> 0                   1                   2                   3</a:t>
            </a:r>
            <a:endParaRPr lang="en-US" sz="1300" dirty="0">
              <a:effectLst/>
              <a:latin typeface="Courier" pitchFamily="2" charset="0"/>
              <a:ea typeface="Times New Roman" charset="0"/>
            </a:endParaRPr>
          </a:p>
          <a:p>
            <a:pPr marL="0" marR="0">
              <a:spcBef>
                <a:spcPts val="0"/>
              </a:spcBef>
              <a:spcAft>
                <a:spcPts val="0"/>
              </a:spcAft>
            </a:pPr>
            <a:r>
              <a:rPr lang="en-US" sz="1300" kern="1200" dirty="0">
                <a:solidFill>
                  <a:srgbClr val="000000"/>
                </a:solidFill>
                <a:effectLst/>
                <a:latin typeface="Courier" pitchFamily="2" charset="0"/>
                <a:ea typeface="Courier" charset="0"/>
                <a:cs typeface="Courier" charset="0"/>
              </a:rPr>
              <a:t> 0 1 2 3 4 5 6 7 8 9 0 1 2 3 4 5 6 7 8 9 0 1 2 3 4 5 6 7 8 9 0 1</a:t>
            </a:r>
            <a:endParaRPr lang="en-US" sz="1300" dirty="0">
              <a:effectLst/>
              <a:latin typeface="Courier" pitchFamily="2" charset="0"/>
              <a:ea typeface="Times New Roman" charset="0"/>
            </a:endParaRPr>
          </a:p>
          <a:p>
            <a:pPr marL="0" marR="0">
              <a:spcBef>
                <a:spcPts val="0"/>
              </a:spcBef>
              <a:spcAft>
                <a:spcPts val="0"/>
              </a:spcAft>
            </a:pPr>
            <a:r>
              <a:rPr lang="en-US" sz="1300" kern="1200" dirty="0">
                <a:solidFill>
                  <a:srgbClr val="000000"/>
                </a:solidFill>
                <a:effectLst/>
                <a:latin typeface="Courier" pitchFamily="2" charset="0"/>
                <a:ea typeface="Courier" charset="0"/>
                <a:cs typeface="Courier" charset="0"/>
              </a:rPr>
              <a:t>+-+-+-+-+-+-+-+-+-+-+-+-+-+-+-+-+-+-+-+-+-+-+-+-+-+-+-+-+-+-+-+-+&lt;-+</a:t>
            </a:r>
          </a:p>
          <a:p>
            <a:r>
              <a:rPr lang="en-US" sz="1300" dirty="0">
                <a:solidFill>
                  <a:srgbClr val="000000"/>
                </a:solidFill>
                <a:effectLst/>
                <a:latin typeface="Courier" pitchFamily="2" charset="0"/>
                <a:ea typeface="Times New Roman" charset="0"/>
              </a:rPr>
              <a:t>|</a:t>
            </a:r>
            <a:r>
              <a:rPr lang="en-US" sz="1300" dirty="0" err="1">
                <a:solidFill>
                  <a:srgbClr val="000000"/>
                </a:solidFill>
                <a:effectLst/>
                <a:latin typeface="Courier" pitchFamily="2" charset="0"/>
                <a:ea typeface="Times New Roman" charset="0"/>
              </a:rPr>
              <a:t>C|R|K|S|s|Recur</a:t>
            </a:r>
            <a:r>
              <a:rPr lang="en-US" sz="1300" dirty="0">
                <a:solidFill>
                  <a:srgbClr val="000000"/>
                </a:solidFill>
                <a:effectLst/>
                <a:latin typeface="Courier" pitchFamily="2" charset="0"/>
                <a:ea typeface="Times New Roman" charset="0"/>
              </a:rPr>
              <a:t>|   Flags | Ver |   </a:t>
            </a:r>
            <a:r>
              <a:rPr lang="en-US" sz="1300" b="1" dirty="0">
                <a:solidFill>
                  <a:srgbClr val="000000"/>
                </a:solidFill>
                <a:effectLst/>
                <a:latin typeface="Courier" pitchFamily="2" charset="0"/>
                <a:ea typeface="Times New Roman" charset="0"/>
              </a:rPr>
              <a:t>Protocol Type = TBD_INT     </a:t>
            </a:r>
            <a:r>
              <a:rPr lang="en-US" sz="1300" dirty="0">
                <a:solidFill>
                  <a:srgbClr val="000000"/>
                </a:solidFill>
                <a:effectLst/>
                <a:latin typeface="Courier" pitchFamily="2" charset="0"/>
                <a:ea typeface="Times New Roman" charset="0"/>
              </a:rPr>
              <a:t>|  |</a:t>
            </a:r>
          </a:p>
          <a:p>
            <a:r>
              <a:rPr lang="en-US" sz="1300" dirty="0">
                <a:solidFill>
                  <a:srgbClr val="000000"/>
                </a:solidFill>
                <a:latin typeface="Courier" pitchFamily="2" charset="0"/>
                <a:ea typeface="Courier" charset="0"/>
                <a:cs typeface="Courier" charset="0"/>
              </a:rPr>
              <a:t>+-+-+-+-+-+-+-+-+-+-+-+-+-+-+-+-+-+-+-+-+-+-+-+-+-+-+-+-+-+-+-+-+  |</a:t>
            </a:r>
          </a:p>
          <a:p>
            <a:r>
              <a:rPr lang="en-US" sz="1300" dirty="0">
                <a:solidFill>
                  <a:srgbClr val="000000"/>
                </a:solidFill>
                <a:latin typeface="Courier" pitchFamily="2" charset="0"/>
                <a:ea typeface="Times New Roman" charset="0"/>
              </a:rPr>
              <a:t>|     Checksum (optional)       |        Offset (Optional)      |  |</a:t>
            </a:r>
          </a:p>
          <a:p>
            <a:r>
              <a:rPr lang="en-US" sz="1300" dirty="0">
                <a:solidFill>
                  <a:srgbClr val="000000"/>
                </a:solidFill>
                <a:latin typeface="Courier" pitchFamily="2" charset="0"/>
                <a:ea typeface="Courier" charset="0"/>
                <a:cs typeface="Courier" charset="0"/>
              </a:rPr>
              <a:t>+-+-+-+-+-+-+-+-+-+-+-+-+-+-+-+-+-+-+-+-+-+-+-+-+-+-+-+-+-+-+-+-+  G</a:t>
            </a:r>
          </a:p>
          <a:p>
            <a:r>
              <a:rPr lang="en-US" sz="1300" dirty="0">
                <a:solidFill>
                  <a:srgbClr val="000000"/>
                </a:solidFill>
                <a:latin typeface="Courier" pitchFamily="2" charset="0"/>
                <a:ea typeface="Times New Roman" charset="0"/>
              </a:rPr>
              <a:t>|                         Key (Optional)                        |  R</a:t>
            </a:r>
          </a:p>
          <a:p>
            <a:r>
              <a:rPr lang="en-US" sz="1300" dirty="0">
                <a:solidFill>
                  <a:srgbClr val="000000"/>
                </a:solidFill>
                <a:latin typeface="Courier" pitchFamily="2" charset="0"/>
                <a:ea typeface="Courier" charset="0"/>
                <a:cs typeface="Courier" charset="0"/>
              </a:rPr>
              <a:t>+-+-+-+-+-+-+-+-+-+-+-+-+-+-+-+-+-+-+-+-+-+-+-+-+-+-+-+-+-+-+-+-+  E</a:t>
            </a:r>
          </a:p>
          <a:p>
            <a:r>
              <a:rPr lang="en-US" sz="1300" dirty="0">
                <a:solidFill>
                  <a:srgbClr val="000000"/>
                </a:solidFill>
                <a:latin typeface="Courier" pitchFamily="2" charset="0"/>
                <a:ea typeface="Times New Roman" charset="0"/>
              </a:rPr>
              <a:t>|                   Sequence Number (Optional)                  |  |</a:t>
            </a:r>
          </a:p>
          <a:p>
            <a:r>
              <a:rPr lang="en-US" sz="1300" dirty="0">
                <a:solidFill>
                  <a:srgbClr val="000000"/>
                </a:solidFill>
                <a:latin typeface="Courier" pitchFamily="2" charset="0"/>
                <a:ea typeface="Courier" charset="0"/>
                <a:cs typeface="Courier" charset="0"/>
              </a:rPr>
              <a:t>+-+-+-+-+-+-+-+-+-+-+-+-+-+-+-+-+-+-+-+-+-+-+-+-+-+-+-+-+-+-+-+-+  |</a:t>
            </a:r>
          </a:p>
          <a:p>
            <a:r>
              <a:rPr lang="en-US" sz="1300" dirty="0">
                <a:solidFill>
                  <a:srgbClr val="000000"/>
                </a:solidFill>
                <a:latin typeface="Courier" pitchFamily="2" charset="0"/>
                <a:ea typeface="Times New Roman" charset="0"/>
              </a:rPr>
              <a:t>|                        Routing (Optional)                     |  |     </a:t>
            </a:r>
          </a:p>
          <a:p>
            <a:r>
              <a:rPr lang="en-US" sz="1300" dirty="0">
                <a:solidFill>
                  <a:srgbClr val="000000"/>
                </a:solidFill>
                <a:latin typeface="Courier" pitchFamily="2" charset="0"/>
                <a:ea typeface="Courier" charset="0"/>
                <a:cs typeface="Courier" charset="0"/>
              </a:rPr>
              <a:t>+-+-+-+-+-+-+-+-+-+-+-+-+-+-+-+-+-+-+-+-+-+-+-+-+-+-+-+-+-+-+-+-+&lt;-+</a:t>
            </a:r>
          </a:p>
          <a:p>
            <a:r>
              <a:rPr lang="en-US" sz="1300" dirty="0">
                <a:solidFill>
                  <a:srgbClr val="000000"/>
                </a:solidFill>
                <a:latin typeface="Courier" pitchFamily="2" charset="0"/>
                <a:ea typeface="Courier" charset="0"/>
                <a:cs typeface="Courier" charset="0"/>
              </a:rPr>
              <a:t>|    INT Type   | INT HDR Len   |          Next Protocol        |  |</a:t>
            </a:r>
            <a:endParaRPr lang="en-US" sz="1300" dirty="0">
              <a:latin typeface="Courier" pitchFamily="2" charset="0"/>
              <a:ea typeface="Times New Roman" charset="0"/>
            </a:endParaRPr>
          </a:p>
          <a:p>
            <a:r>
              <a:rPr lang="en-US" sz="1300" dirty="0">
                <a:solidFill>
                  <a:srgbClr val="000000"/>
                </a:solidFill>
                <a:latin typeface="Courier" pitchFamily="2" charset="0"/>
                <a:ea typeface="Courier" charset="0"/>
                <a:cs typeface="Courier" charset="0"/>
              </a:rPr>
              <a:t>+-+-+-+-+-+-+-+-+-+-+-+-+-+-+-+-+-+-+-+-+-+-+-+-+-+-+-+-+-+-+-+-+  I</a:t>
            </a:r>
          </a:p>
          <a:p>
            <a:r>
              <a:rPr lang="en-US" sz="1300" dirty="0">
                <a:solidFill>
                  <a:srgbClr val="000000"/>
                </a:solidFill>
                <a:latin typeface="Courier" pitchFamily="2" charset="0"/>
                <a:ea typeface="Times New Roman" charset="0"/>
              </a:rPr>
              <a:t>|                                                               |  N</a:t>
            </a:r>
            <a:endParaRPr lang="en-US" sz="1300" dirty="0">
              <a:latin typeface="Courier" pitchFamily="2" charset="0"/>
              <a:ea typeface="Times New Roman" charset="0"/>
            </a:endParaRPr>
          </a:p>
          <a:p>
            <a:r>
              <a:rPr lang="en-US" sz="1300" dirty="0">
                <a:solidFill>
                  <a:srgbClr val="000000"/>
                </a:solidFill>
                <a:latin typeface="Courier" pitchFamily="2" charset="0"/>
                <a:ea typeface="Courier" charset="0"/>
                <a:cs typeface="Courier" charset="0"/>
              </a:rPr>
              <a:t>|  Variable Option Data (INT Metadata Headers and Metadata]     |  T                     </a:t>
            </a:r>
          </a:p>
          <a:p>
            <a:r>
              <a:rPr lang="en-US" sz="1300" dirty="0">
                <a:solidFill>
                  <a:srgbClr val="000000"/>
                </a:solidFill>
                <a:latin typeface="Courier" pitchFamily="2" charset="0"/>
                <a:ea typeface="Times New Roman" charset="0"/>
              </a:rPr>
              <a:t>|                                                               |  |</a:t>
            </a:r>
            <a:endParaRPr lang="en-US" sz="1300" dirty="0">
              <a:latin typeface="Courier" pitchFamily="2" charset="0"/>
              <a:ea typeface="Times New Roman" charset="0"/>
            </a:endParaRPr>
          </a:p>
          <a:p>
            <a:r>
              <a:rPr lang="en-US" sz="1300" dirty="0">
                <a:solidFill>
                  <a:srgbClr val="000000"/>
                </a:solidFill>
                <a:latin typeface="Courier" pitchFamily="2" charset="0"/>
                <a:ea typeface="Courier" charset="0"/>
                <a:cs typeface="Courier" charset="0"/>
              </a:rPr>
              <a:t>+-+-+-+-+-+-+-+-+-+-+-+-+-+-+-+-+-+-+-+-+-+-+-+-+-+-+-+-+-+-+-+-+&lt;-+</a:t>
            </a:r>
          </a:p>
          <a:p>
            <a:endParaRPr lang="en-US" sz="1300" dirty="0">
              <a:latin typeface="Courier" pitchFamily="2" charset="0"/>
              <a:ea typeface="Times New Roman" charset="0"/>
            </a:endParaRPr>
          </a:p>
          <a:p>
            <a:pPr marL="0" marR="0">
              <a:spcBef>
                <a:spcPts val="0"/>
              </a:spcBef>
              <a:spcAft>
                <a:spcPts val="0"/>
              </a:spcAft>
            </a:pPr>
            <a:endParaRPr lang="en-US" sz="1300" dirty="0">
              <a:effectLst/>
              <a:latin typeface="Courier" pitchFamily="2" charset="0"/>
              <a:ea typeface="Times New Roman" charset="0"/>
            </a:endParaRPr>
          </a:p>
        </p:txBody>
      </p:sp>
      <p:sp>
        <p:nvSpPr>
          <p:cNvPr id="7" name="Content Placeholder 4">
            <a:extLst>
              <a:ext uri="{FF2B5EF4-FFF2-40B4-BE49-F238E27FC236}">
                <a16:creationId xmlns:a16="http://schemas.microsoft.com/office/drawing/2014/main" id="{03E634EE-C6A4-8847-9E22-89E59445E6C6}"/>
              </a:ext>
            </a:extLst>
          </p:cNvPr>
          <p:cNvSpPr txBox="1">
            <a:spLocks/>
          </p:cNvSpPr>
          <p:nvPr/>
        </p:nvSpPr>
        <p:spPr bwMode="auto">
          <a:xfrm>
            <a:off x="7554281" y="2482763"/>
            <a:ext cx="4429373" cy="1682324"/>
          </a:xfrm>
          <a:prstGeom prst="rect">
            <a:avLst/>
          </a:prstGeom>
          <a:solidFill>
            <a:schemeClr val="bg1"/>
          </a:solidFill>
          <a:ln>
            <a:solidFill>
              <a:schemeClr val="tx1"/>
            </a:solid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187325" indent="-185738" algn="l" rtl="0" eaLnBrk="0" fontAlgn="base" hangingPunct="0">
              <a:lnSpc>
                <a:spcPct val="90000"/>
              </a:lnSpc>
              <a:spcBef>
                <a:spcPts val="1200"/>
              </a:spcBef>
              <a:spcAft>
                <a:spcPct val="0"/>
              </a:spcAft>
              <a:buSzPct val="80000"/>
              <a:buFont typeface="Arial" panose="020B0604020202020204" pitchFamily="34" charset="0"/>
              <a:buChar char="•"/>
              <a:defRPr>
                <a:solidFill>
                  <a:schemeClr val="tx1"/>
                </a:solidFill>
                <a:latin typeface="+mn-lt"/>
                <a:ea typeface="+mn-ea"/>
                <a:cs typeface="+mn-cs"/>
                <a:sym typeface="Arial" panose="020B0604020202020204" pitchFamily="34" charset="0"/>
              </a:defRPr>
            </a:lvl1pPr>
            <a:lvl2pPr marL="385763" indent="-193675" algn="l" rtl="0" eaLnBrk="0" fontAlgn="base" hangingPunct="0">
              <a:lnSpc>
                <a:spcPct val="90000"/>
              </a:lnSpc>
              <a:spcBef>
                <a:spcPts val="400"/>
              </a:spcBef>
              <a:spcAft>
                <a:spcPct val="0"/>
              </a:spcAft>
              <a:buSzPct val="80000"/>
              <a:buFont typeface="Arial" panose="020B0604020202020204" pitchFamily="34" charset="0"/>
              <a:buChar char="•"/>
              <a:defRPr sz="1600">
                <a:solidFill>
                  <a:schemeClr val="tx1"/>
                </a:solidFill>
                <a:latin typeface="+mn-lt"/>
                <a:ea typeface="+mn-ea"/>
                <a:cs typeface="+mn-cs"/>
                <a:sym typeface="Arial" panose="020B0604020202020204" pitchFamily="34" charset="0"/>
              </a:defRPr>
            </a:lvl2pPr>
            <a:lvl3pPr marL="54610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3pPr>
            <a:lvl4pPr marL="70485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4pPr>
            <a:lvl5pPr marL="773113" indent="-66675"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anose="020B0604020202020204"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r>
              <a:rPr lang="en-US" sz="1200" dirty="0">
                <a:latin typeface="Courier" pitchFamily="2" charset="0"/>
              </a:rPr>
              <a:t>When the INT data fields are included within an encapsulation that identifies the next protocol using an </a:t>
            </a:r>
            <a:r>
              <a:rPr lang="en-US" sz="1200" dirty="0" err="1">
                <a:latin typeface="Courier" pitchFamily="2" charset="0"/>
              </a:rPr>
              <a:t>EtherType</a:t>
            </a:r>
            <a:r>
              <a:rPr lang="en-US" sz="1200" dirty="0">
                <a:latin typeface="Courier" pitchFamily="2" charset="0"/>
              </a:rPr>
              <a:t> (e.g., GRE or </a:t>
            </a:r>
            <a:r>
              <a:rPr lang="en-US" sz="1200" dirty="0" err="1">
                <a:latin typeface="Courier" pitchFamily="2" charset="0"/>
              </a:rPr>
              <a:t>Geneve</a:t>
            </a:r>
            <a:r>
              <a:rPr lang="en-US" sz="1200" dirty="0">
                <a:latin typeface="Courier" pitchFamily="2" charset="0"/>
              </a:rPr>
              <a:t>) the presence of INT data fields are identified with TBD_INT. When this </a:t>
            </a:r>
            <a:r>
              <a:rPr lang="en-US" sz="1200" dirty="0" err="1">
                <a:latin typeface="Courier" pitchFamily="2" charset="0"/>
              </a:rPr>
              <a:t>EtherType</a:t>
            </a:r>
            <a:r>
              <a:rPr lang="en-US" sz="1200" dirty="0">
                <a:latin typeface="Courier" pitchFamily="2" charset="0"/>
              </a:rPr>
              <a:t> is used, an additional INT header is also included. This header indicates the type of INT data that follows, and the next protocol that follows the INT data.</a:t>
            </a:r>
            <a:endParaRPr lang="en-US" sz="1200" b="1" dirty="0">
              <a:solidFill>
                <a:schemeClr val="tx2"/>
              </a:solidFill>
              <a:latin typeface="Courier" pitchFamily="2" charset="0"/>
              <a:ea typeface="Courier" charset="0"/>
              <a:cs typeface="Courier" charset="0"/>
              <a:sym typeface="Wingdings" pitchFamily="2" charset="2"/>
            </a:endParaRPr>
          </a:p>
        </p:txBody>
      </p:sp>
      <p:cxnSp>
        <p:nvCxnSpPr>
          <p:cNvPr id="4" name="Straight Arrow Connector 3">
            <a:extLst>
              <a:ext uri="{FF2B5EF4-FFF2-40B4-BE49-F238E27FC236}">
                <a16:creationId xmlns:a16="http://schemas.microsoft.com/office/drawing/2014/main" id="{63CC9FFE-6458-AD4C-879C-FDAEA85404DD}"/>
              </a:ext>
            </a:extLst>
          </p:cNvPr>
          <p:cNvCxnSpPr>
            <a:cxnSpLocks/>
          </p:cNvCxnSpPr>
          <p:nvPr/>
        </p:nvCxnSpPr>
        <p:spPr>
          <a:xfrm>
            <a:off x="6470248" y="2650603"/>
            <a:ext cx="1084033" cy="13889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131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0">
            <a:extLst>
              <a:ext uri="{FF2B5EF4-FFF2-40B4-BE49-F238E27FC236}">
                <a16:creationId xmlns:a16="http://schemas.microsoft.com/office/drawing/2014/main" id="{E105DBEF-0F7C-4E48-82D4-DBEA1BF08AA1}"/>
              </a:ext>
            </a:extLst>
          </p:cNvPr>
          <p:cNvSpPr>
            <a:spLocks noGrp="1"/>
          </p:cNvSpPr>
          <p:nvPr>
            <p:ph type="title"/>
          </p:nvPr>
        </p:nvSpPr>
        <p:spPr/>
        <p:txBody>
          <a:bodyPr/>
          <a:lstStyle/>
          <a:p>
            <a:r>
              <a:rPr lang="de-DE" dirty="0"/>
              <a:t>INT- MD (</a:t>
            </a:r>
            <a:r>
              <a:rPr lang="de-DE" dirty="0" err="1"/>
              <a:t>Ver</a:t>
            </a:r>
            <a:r>
              <a:rPr lang="de-DE" dirty="0"/>
              <a:t> 2.0) in IPv4 (GRE)</a:t>
            </a:r>
            <a:endParaRPr lang="en-US" dirty="0"/>
          </a:p>
        </p:txBody>
      </p:sp>
      <p:sp>
        <p:nvSpPr>
          <p:cNvPr id="6" name="Rectangle 5">
            <a:extLst>
              <a:ext uri="{FF2B5EF4-FFF2-40B4-BE49-F238E27FC236}">
                <a16:creationId xmlns:a16="http://schemas.microsoft.com/office/drawing/2014/main" id="{10C4ED46-F29D-DF44-B5A3-87E7E9FA0F07}"/>
              </a:ext>
            </a:extLst>
          </p:cNvPr>
          <p:cNvSpPr/>
          <p:nvPr/>
        </p:nvSpPr>
        <p:spPr>
          <a:xfrm>
            <a:off x="2152756" y="1312505"/>
            <a:ext cx="6435659" cy="5012812"/>
          </a:xfrm>
          <a:prstGeom prst="rect">
            <a:avLst/>
          </a:prstGeom>
        </p:spPr>
        <p:txBody>
          <a:bodyPr wrap="square">
            <a:noAutofit/>
          </a:bodyPr>
          <a:lstStyle/>
          <a:p>
            <a:r>
              <a:rPr lang="en-US" sz="1100" b="1" dirty="0">
                <a:solidFill>
                  <a:srgbClr val="000000"/>
                </a:solidFill>
                <a:latin typeface="Courier" pitchFamily="2" charset="0"/>
              </a:rPr>
              <a:t>GRE Header</a:t>
            </a:r>
            <a:r>
              <a:rPr lang="en-US" sz="1100" dirty="0">
                <a:solidFill>
                  <a:srgbClr val="000000"/>
                </a:solidFill>
                <a:latin typeface="Courier" pitchFamily="2" charset="0"/>
              </a:rPr>
              <a:t>:</a:t>
            </a:r>
          </a:p>
          <a:p>
            <a:endParaRPr lang="en-US" sz="1100" dirty="0">
              <a:solidFill>
                <a:srgbClr val="000000"/>
              </a:solidFill>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 0                   1                   2                   3</a:t>
            </a:r>
            <a:endParaRPr lang="en-US" sz="1100" dirty="0">
              <a:solidFill>
                <a:srgbClr val="000000"/>
              </a:solidFill>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 0 1 2 3 4 5 6 7 8 9 0 1 2 3 4 5 6 7 8 9 0 1 2 3 4 5 6 7 8 9 0 1</a:t>
            </a:r>
            <a:endParaRPr lang="en-US" sz="1100" dirty="0">
              <a:solidFill>
                <a:srgbClr val="000000"/>
              </a:solidFill>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lt;-+</a:t>
            </a:r>
          </a:p>
          <a:p>
            <a:r>
              <a:rPr lang="en-US" sz="1100" dirty="0">
                <a:solidFill>
                  <a:srgbClr val="000000"/>
                </a:solidFill>
                <a:effectLst/>
                <a:latin typeface="Courier" pitchFamily="2" charset="0"/>
                <a:ea typeface="Times New Roman" charset="0"/>
              </a:rPr>
              <a:t>|</a:t>
            </a:r>
            <a:r>
              <a:rPr lang="en-US" sz="1100" dirty="0" err="1">
                <a:solidFill>
                  <a:srgbClr val="000000"/>
                </a:solidFill>
                <a:effectLst/>
                <a:latin typeface="Courier" pitchFamily="2" charset="0"/>
                <a:ea typeface="Times New Roman" charset="0"/>
              </a:rPr>
              <a:t>C|R|K|S|s|Recur</a:t>
            </a:r>
            <a:r>
              <a:rPr lang="en-US" sz="1100" dirty="0">
                <a:solidFill>
                  <a:srgbClr val="000000"/>
                </a:solidFill>
                <a:effectLst/>
                <a:latin typeface="Courier" pitchFamily="2" charset="0"/>
                <a:ea typeface="Times New Roman" charset="0"/>
              </a:rPr>
              <a:t>|   Flags | Ver |   </a:t>
            </a:r>
            <a:r>
              <a:rPr lang="en-US" sz="1100" b="1" dirty="0">
                <a:solidFill>
                  <a:srgbClr val="000000"/>
                </a:solidFill>
                <a:effectLst/>
                <a:latin typeface="Courier" pitchFamily="2" charset="0"/>
                <a:ea typeface="Times New Roman" charset="0"/>
              </a:rPr>
              <a:t>Protocol Type = TBD_INT     </a:t>
            </a:r>
            <a:r>
              <a:rPr lang="en-US" sz="1100" dirty="0">
                <a:solidFill>
                  <a:srgbClr val="000000"/>
                </a:solidFill>
                <a:effectLst/>
                <a:latin typeface="Courier" pitchFamily="2" charset="0"/>
                <a:ea typeface="Times New Roman" charset="0"/>
              </a:rPr>
              <a:t>|  |</a:t>
            </a:r>
          </a:p>
          <a:p>
            <a:r>
              <a:rPr lang="en-US" sz="1100" dirty="0">
                <a:solidFill>
                  <a:srgbClr val="000000"/>
                </a:solidFill>
                <a:latin typeface="Courier" pitchFamily="2" charset="0"/>
                <a:ea typeface="Courier" charset="0"/>
                <a:cs typeface="Courier" charset="0"/>
              </a:rPr>
              <a:t>+-+-+-+-+-+-+-+-+-+-+-+-+-+-+-+-+-+-+-+-+-+-+-+-+-+-+-+-+-+-+-+-+  |</a:t>
            </a:r>
          </a:p>
          <a:p>
            <a:r>
              <a:rPr lang="en-US" sz="1100" dirty="0">
                <a:solidFill>
                  <a:srgbClr val="000000"/>
                </a:solidFill>
                <a:latin typeface="Courier" pitchFamily="2" charset="0"/>
                <a:ea typeface="Times New Roman" charset="0"/>
              </a:rPr>
              <a:t>|     Checksum (optional)       |        Offset (Optional)      |  |</a:t>
            </a:r>
          </a:p>
          <a:p>
            <a:r>
              <a:rPr lang="en-US" sz="1100" dirty="0">
                <a:solidFill>
                  <a:srgbClr val="000000"/>
                </a:solidFill>
                <a:latin typeface="Courier" pitchFamily="2" charset="0"/>
                <a:ea typeface="Courier" charset="0"/>
                <a:cs typeface="Courier" charset="0"/>
              </a:rPr>
              <a:t>+-+-+-+-+-+-+-+-+-+-+-+-+-+-+-+-+-+-+-+-+-+-+-+-+-+-+-+-+-+-+-+-+  G</a:t>
            </a:r>
          </a:p>
          <a:p>
            <a:r>
              <a:rPr lang="en-US" sz="1100" dirty="0">
                <a:solidFill>
                  <a:srgbClr val="000000"/>
                </a:solidFill>
                <a:latin typeface="Courier" pitchFamily="2" charset="0"/>
                <a:ea typeface="Times New Roman" charset="0"/>
              </a:rPr>
              <a:t>|                         Key (Optional)                        |  R</a:t>
            </a:r>
          </a:p>
          <a:p>
            <a:r>
              <a:rPr lang="en-US" sz="1100" dirty="0">
                <a:solidFill>
                  <a:srgbClr val="000000"/>
                </a:solidFill>
                <a:latin typeface="Courier" pitchFamily="2" charset="0"/>
                <a:ea typeface="Courier" charset="0"/>
                <a:cs typeface="Courier" charset="0"/>
              </a:rPr>
              <a:t>+-+-+-+-+-+-+-+-+-+-+-+-+-+-+-+-+-+-+-+-+-+-+-+-+-+-+-+-+-+-+-+-+  E</a:t>
            </a:r>
          </a:p>
          <a:p>
            <a:r>
              <a:rPr lang="en-US" sz="1100" dirty="0">
                <a:solidFill>
                  <a:srgbClr val="000000"/>
                </a:solidFill>
                <a:latin typeface="Courier" pitchFamily="2" charset="0"/>
                <a:ea typeface="Times New Roman" charset="0"/>
              </a:rPr>
              <a:t>|                   Sequence Number (Optional)                  |  |</a:t>
            </a:r>
          </a:p>
          <a:p>
            <a:r>
              <a:rPr lang="en-US" sz="1100" dirty="0">
                <a:solidFill>
                  <a:srgbClr val="000000"/>
                </a:solidFill>
                <a:latin typeface="Courier" pitchFamily="2" charset="0"/>
                <a:ea typeface="Courier" charset="0"/>
                <a:cs typeface="Courier" charset="0"/>
              </a:rPr>
              <a:t>+-+-+-+-+-+-+-+-+-+-+-+-+-+-+-+-+-+-+-+-+-+-+-+-+-+-+-+-+-+-+-+-+  |</a:t>
            </a:r>
          </a:p>
          <a:p>
            <a:r>
              <a:rPr lang="en-US" sz="1100" dirty="0">
                <a:solidFill>
                  <a:srgbClr val="000000"/>
                </a:solidFill>
                <a:latin typeface="Courier" pitchFamily="2" charset="0"/>
                <a:ea typeface="Times New Roman" charset="0"/>
              </a:rPr>
              <a:t>|                        Routing (Optional)                     |  |     </a:t>
            </a:r>
          </a:p>
          <a:p>
            <a:r>
              <a:rPr lang="en-US" sz="1100" dirty="0">
                <a:solidFill>
                  <a:srgbClr val="000000"/>
                </a:solidFill>
                <a:latin typeface="Courier" pitchFamily="2" charset="0"/>
                <a:ea typeface="Courier" charset="0"/>
                <a:cs typeface="Courier" charset="0"/>
              </a:rPr>
              <a:t>+-+-+-+-+-+-+-+-+-+-+-+-+-+-+-+-+-+-+-+-+-+-+-+-+-+-+-+-+-+-+-+-+&lt;-+</a:t>
            </a:r>
          </a:p>
          <a:p>
            <a:r>
              <a:rPr lang="en-US" sz="1100" dirty="0">
                <a:solidFill>
                  <a:srgbClr val="000000"/>
                </a:solidFill>
                <a:latin typeface="Courier" pitchFamily="2" charset="0"/>
                <a:ea typeface="Courier" charset="0"/>
                <a:cs typeface="Courier" charset="0"/>
              </a:rPr>
              <a:t>|    INT Type   | INT HDR Len   |          Next Protocol        |  |</a:t>
            </a:r>
            <a:endParaRPr lang="en-US" sz="1100" dirty="0">
              <a:solidFill>
                <a:srgbClr val="000000"/>
              </a:solidFill>
              <a:latin typeface="Courier" pitchFamily="2" charset="0"/>
              <a:ea typeface="Times New Roman" charset="0"/>
            </a:endParaRPr>
          </a:p>
          <a:p>
            <a:r>
              <a:rPr lang="en-US" sz="1100" dirty="0">
                <a:solidFill>
                  <a:srgbClr val="000000"/>
                </a:solidFill>
                <a:latin typeface="Courier" pitchFamily="2" charset="0"/>
                <a:ea typeface="Courier" charset="0"/>
                <a:cs typeface="Courier" charset="0"/>
              </a:rPr>
              <a:t>+-+-+-+-+-+-+-+-+-+-+-+-+-+-+-+-+-+-+-+-+-+-+-+-+-+-+-+-+-+-+-+-+  |</a:t>
            </a:r>
          </a:p>
          <a:p>
            <a:r>
              <a:rPr lang="en-US" sz="1100" dirty="0">
                <a:solidFill>
                  <a:srgbClr val="000000"/>
                </a:solidFill>
                <a:latin typeface="Courier" pitchFamily="2" charset="0"/>
                <a:ea typeface="Courier" charset="0"/>
                <a:cs typeface="Courier" charset="0"/>
              </a:rPr>
              <a:t>| INT-Type - MD |    Reserved   |    Length     | Next Protocol |  |</a:t>
            </a:r>
            <a:endParaRPr lang="en-US" sz="1100" dirty="0">
              <a:solidFill>
                <a:srgbClr val="000000"/>
              </a:solidFill>
              <a:latin typeface="Courier" pitchFamily="2" charset="0"/>
              <a:ea typeface="Times New Roman" charset="0"/>
            </a:endParaRPr>
          </a:p>
          <a:p>
            <a:r>
              <a:rPr lang="en-US" sz="1100" dirty="0">
                <a:solidFill>
                  <a:srgbClr val="000000"/>
                </a:solidFill>
                <a:latin typeface="Courier" pitchFamily="2" charset="0"/>
                <a:ea typeface="Courier" charset="0"/>
                <a:cs typeface="Courier" charset="0"/>
              </a:rPr>
              <a:t>+-+-+-+-+-+-+-+-+-+-+-+-+-+-+-+-+-+-+-+-+-+-+-+-+-+-+-+-+-+-+-+-|  |</a:t>
            </a:r>
          </a:p>
          <a:p>
            <a:r>
              <a:rPr lang="en-US" sz="1100" dirty="0">
                <a:solidFill>
                  <a:srgbClr val="000000"/>
                </a:solidFill>
                <a:latin typeface="Courier" charset="0"/>
                <a:ea typeface="Courier" charset="0"/>
                <a:cs typeface="Courier" charset="0"/>
              </a:rPr>
              <a:t>|Ver = 2|Rep|C|E|M|     Reserved      | Hop ML  | </a:t>
            </a:r>
            <a:r>
              <a:rPr lang="en-US" sz="900" dirty="0" err="1">
                <a:solidFill>
                  <a:srgbClr val="000000"/>
                </a:solidFill>
                <a:latin typeface="Courier" charset="0"/>
                <a:ea typeface="Courier" charset="0"/>
                <a:cs typeface="Courier" charset="0"/>
              </a:rPr>
              <a:t>RemainingHop</a:t>
            </a:r>
            <a:r>
              <a:rPr lang="en-US" sz="900" dirty="0">
                <a:solidFill>
                  <a:srgbClr val="000000"/>
                </a:solidFill>
                <a:latin typeface="Courier" charset="0"/>
                <a:ea typeface="Courier" charset="0"/>
                <a:cs typeface="Courier" charset="0"/>
              </a:rPr>
              <a:t> </a:t>
            </a:r>
            <a:r>
              <a:rPr lang="en-US" sz="900" dirty="0" err="1">
                <a:solidFill>
                  <a:srgbClr val="000000"/>
                </a:solidFill>
                <a:latin typeface="Courier" charset="0"/>
                <a:ea typeface="Courier" charset="0"/>
                <a:cs typeface="Courier" charset="0"/>
              </a:rPr>
              <a:t>Cnt</a:t>
            </a:r>
            <a:r>
              <a:rPr lang="en-US" sz="900" dirty="0">
                <a:solidFill>
                  <a:srgbClr val="000000"/>
                </a:solidFill>
                <a:latin typeface="Courier" charset="0"/>
                <a:ea typeface="Courier" charset="0"/>
                <a:cs typeface="Courier" charset="0"/>
              </a:rPr>
              <a:t> </a:t>
            </a:r>
            <a:r>
              <a:rPr lang="en-US" sz="1100" dirty="0">
                <a:solidFill>
                  <a:srgbClr val="000000"/>
                </a:solidFill>
                <a:latin typeface="Courier" charset="0"/>
                <a:ea typeface="Courier" charset="0"/>
                <a:cs typeface="Courier" charset="0"/>
              </a:rPr>
              <a:t>|  I</a:t>
            </a:r>
          </a:p>
          <a:p>
            <a:r>
              <a:rPr lang="en-US" sz="1100" dirty="0">
                <a:solidFill>
                  <a:srgbClr val="000000"/>
                </a:solidFill>
                <a:latin typeface="Courier" charset="0"/>
                <a:ea typeface="Courier" charset="0"/>
                <a:cs typeface="Courier" charset="0"/>
              </a:rPr>
              <a:t>​+-+-+-+-+-+-+-+-+-+-+-+-+-+-+-+-+-+-+-+-+-+-+-+-+-+-+-+-+-+-+-+-+  N</a:t>
            </a:r>
          </a:p>
          <a:p>
            <a:r>
              <a:rPr lang="en-US" sz="1100" dirty="0">
                <a:solidFill>
                  <a:srgbClr val="000000"/>
                </a:solidFill>
                <a:latin typeface="Courier" charset="0"/>
                <a:ea typeface="Courier" charset="0"/>
                <a:cs typeface="Courier" charset="0"/>
              </a:rPr>
              <a:t>|      Instruction Bitmap       |     Domain Specific ID        |  T</a:t>
            </a:r>
          </a:p>
          <a:p>
            <a:r>
              <a:rPr lang="en-US" sz="1100" dirty="0">
                <a:solidFill>
                  <a:srgbClr val="000000"/>
                </a:solidFill>
                <a:latin typeface="Courier" charset="0"/>
                <a:ea typeface="Courier" charset="0"/>
                <a:cs typeface="Courier" charset="0"/>
              </a:rPr>
              <a:t>+-+-+-+-+-+-+-+-+-+-+-+-+-+-+-+-+-+-+-+-+-+-+-+-+-+-+-+-+-+-+-+-+  |</a:t>
            </a:r>
          </a:p>
          <a:p>
            <a:r>
              <a:rPr lang="en-US" sz="1100" dirty="0">
                <a:solidFill>
                  <a:srgbClr val="000000"/>
                </a:solidFill>
                <a:latin typeface="Courier" charset="0"/>
                <a:ea typeface="Courier" charset="0"/>
                <a:cs typeface="Courier" charset="0"/>
              </a:rPr>
              <a:t>|          DS Flags             |         DS Instruction        |  |</a:t>
            </a:r>
          </a:p>
          <a:p>
            <a:r>
              <a:rPr lang="en-US" sz="1100" dirty="0">
                <a:solidFill>
                  <a:srgbClr val="000000"/>
                </a:solidFill>
                <a:latin typeface="Courier" charset="0"/>
                <a:ea typeface="Courier" charset="0"/>
                <a:cs typeface="Courier" charset="0"/>
              </a:rPr>
              <a:t>+-+-+-+-+-+-+-+-+-+-+-+-+-+-+-+-+-+-+-+-+-+-+-+-+-+-+-+-+-+-+-+-+  |</a:t>
            </a:r>
            <a:endParaRPr lang="en-US" sz="1100" dirty="0">
              <a:solidFill>
                <a:srgbClr val="000000"/>
              </a:solidFill>
              <a:latin typeface="Courier" pitchFamily="2" charset="0"/>
              <a:ea typeface="Courier" charset="0"/>
              <a:cs typeface="Courier" charset="0"/>
            </a:endParaRPr>
          </a:p>
          <a:p>
            <a:r>
              <a:rPr lang="en-US" sz="1100" dirty="0">
                <a:solidFill>
                  <a:srgbClr val="000000"/>
                </a:solidFill>
                <a:latin typeface="Courier" pitchFamily="2" charset="0"/>
                <a:ea typeface="Courier" charset="0"/>
                <a:cs typeface="Courier" charset="0"/>
              </a:rPr>
              <a:t>|          Variable Option Data (INT Metadata Metadata]         |  |                      </a:t>
            </a:r>
          </a:p>
          <a:p>
            <a:r>
              <a:rPr lang="en-US" sz="1100" dirty="0">
                <a:solidFill>
                  <a:srgbClr val="000000"/>
                </a:solidFill>
                <a:latin typeface="Courier" pitchFamily="2" charset="0"/>
                <a:ea typeface="Courier" charset="0"/>
                <a:cs typeface="Courier" charset="0"/>
              </a:rPr>
              <a:t>+-+-+-+-+-+-+-+-+-+-+-+-+-+-+-+-+-+-+-+-+-+-+-+-+-+-+-+-+-+-+-+-+&lt;-+</a:t>
            </a:r>
          </a:p>
          <a:p>
            <a:r>
              <a:rPr lang="en-US" sz="1100" dirty="0">
                <a:solidFill>
                  <a:srgbClr val="000000"/>
                </a:solidFill>
                <a:latin typeface="Courier" pitchFamily="2" charset="0"/>
                <a:ea typeface="Times New Roman" charset="0"/>
              </a:rPr>
              <a:t>|                     Payload Original Packet                   </a:t>
            </a:r>
            <a:r>
              <a:rPr lang="en-US" sz="1100" dirty="0">
                <a:solidFill>
                  <a:srgbClr val="000000"/>
                </a:solidFill>
                <a:latin typeface="Courier" pitchFamily="2" charset="0"/>
                <a:ea typeface="Courier" charset="0"/>
                <a:cs typeface="Courier" charset="0"/>
              </a:rPr>
              <a:t>|</a:t>
            </a:r>
            <a:endParaRPr lang="en-US" sz="1100" dirty="0">
              <a:solidFill>
                <a:srgbClr val="000000"/>
              </a:solidFill>
              <a:latin typeface="Courier" pitchFamily="2" charset="0"/>
              <a:ea typeface="Times New Roman" charset="0"/>
            </a:endParaRPr>
          </a:p>
          <a:p>
            <a:r>
              <a:rPr lang="en-US" sz="1100" dirty="0">
                <a:solidFill>
                  <a:srgbClr val="000000"/>
                </a:solidFill>
                <a:latin typeface="Courier" pitchFamily="2" charset="0"/>
                <a:ea typeface="Courier" charset="0"/>
                <a:cs typeface="Courier" charset="0"/>
              </a:rPr>
              <a:t>+-+-+-+-+-+-+-+-+-+-+-+-+-+-+-+-+-+-+-+-+-+-+-+-+-+-+-+-+-+-+-+-+</a:t>
            </a:r>
          </a:p>
          <a:p>
            <a:endParaRPr lang="en-US" sz="1100" dirty="0">
              <a:solidFill>
                <a:srgbClr val="000000"/>
              </a:solidFill>
              <a:latin typeface="Courier" pitchFamily="2" charset="0"/>
              <a:ea typeface="Courier" charset="0"/>
              <a:cs typeface="Courier" charset="0"/>
            </a:endParaRPr>
          </a:p>
          <a:p>
            <a:endParaRPr lang="en-US" sz="1100" dirty="0">
              <a:solidFill>
                <a:srgbClr val="000000"/>
              </a:solidFill>
              <a:latin typeface="Courier" pitchFamily="2" charset="0"/>
              <a:ea typeface="Times New Roman" charset="0"/>
            </a:endParaRPr>
          </a:p>
          <a:p>
            <a:pPr marL="0" marR="0">
              <a:spcBef>
                <a:spcPts val="0"/>
              </a:spcBef>
              <a:spcAft>
                <a:spcPts val="0"/>
              </a:spcAft>
            </a:pPr>
            <a:endParaRPr lang="en-US" sz="1100" dirty="0">
              <a:solidFill>
                <a:srgbClr val="000000"/>
              </a:solidFill>
              <a:effectLst/>
              <a:latin typeface="Courier" pitchFamily="2" charset="0"/>
              <a:ea typeface="Times New Roman" charset="0"/>
            </a:endParaRPr>
          </a:p>
        </p:txBody>
      </p:sp>
    </p:spTree>
    <p:extLst>
      <p:ext uri="{BB962C8B-B14F-4D97-AF65-F5344CB8AC3E}">
        <p14:creationId xmlns:p14="http://schemas.microsoft.com/office/powerpoint/2010/main" val="1155133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0">
            <a:extLst>
              <a:ext uri="{FF2B5EF4-FFF2-40B4-BE49-F238E27FC236}">
                <a16:creationId xmlns:a16="http://schemas.microsoft.com/office/drawing/2014/main" id="{E105DBEF-0F7C-4E48-82D4-DBEA1BF08AA1}"/>
              </a:ext>
            </a:extLst>
          </p:cNvPr>
          <p:cNvSpPr>
            <a:spLocks noGrp="1"/>
          </p:cNvSpPr>
          <p:nvPr>
            <p:ph type="title"/>
          </p:nvPr>
        </p:nvSpPr>
        <p:spPr/>
        <p:txBody>
          <a:bodyPr/>
          <a:lstStyle/>
          <a:p>
            <a:r>
              <a:rPr lang="de-DE" dirty="0"/>
              <a:t>INT- MX (</a:t>
            </a:r>
            <a:r>
              <a:rPr lang="de-DE" dirty="0" err="1"/>
              <a:t>Ver</a:t>
            </a:r>
            <a:r>
              <a:rPr lang="de-DE" dirty="0"/>
              <a:t> 2.0) in IPv4 (GRE)</a:t>
            </a:r>
            <a:endParaRPr lang="en-US" dirty="0"/>
          </a:p>
        </p:txBody>
      </p:sp>
      <p:sp>
        <p:nvSpPr>
          <p:cNvPr id="6" name="Rectangle 5">
            <a:extLst>
              <a:ext uri="{FF2B5EF4-FFF2-40B4-BE49-F238E27FC236}">
                <a16:creationId xmlns:a16="http://schemas.microsoft.com/office/drawing/2014/main" id="{10C4ED46-F29D-DF44-B5A3-87E7E9FA0F07}"/>
              </a:ext>
            </a:extLst>
          </p:cNvPr>
          <p:cNvSpPr/>
          <p:nvPr/>
        </p:nvSpPr>
        <p:spPr>
          <a:xfrm>
            <a:off x="2152756" y="1312505"/>
            <a:ext cx="6435659" cy="5012812"/>
          </a:xfrm>
          <a:prstGeom prst="rect">
            <a:avLst/>
          </a:prstGeom>
        </p:spPr>
        <p:txBody>
          <a:bodyPr wrap="square">
            <a:noAutofit/>
          </a:bodyPr>
          <a:lstStyle/>
          <a:p>
            <a:r>
              <a:rPr lang="en-US" sz="1100" b="1" dirty="0">
                <a:solidFill>
                  <a:srgbClr val="000000"/>
                </a:solidFill>
                <a:latin typeface="Courier" pitchFamily="2" charset="0"/>
              </a:rPr>
              <a:t>GRE Header</a:t>
            </a:r>
            <a:r>
              <a:rPr lang="en-US" sz="1100" dirty="0">
                <a:solidFill>
                  <a:srgbClr val="000000"/>
                </a:solidFill>
                <a:latin typeface="Courier" pitchFamily="2" charset="0"/>
              </a:rPr>
              <a:t>:</a:t>
            </a:r>
          </a:p>
          <a:p>
            <a:endParaRPr lang="en-US" sz="1100" dirty="0">
              <a:solidFill>
                <a:srgbClr val="000000"/>
              </a:solidFill>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 0                   1                   2                   3</a:t>
            </a:r>
            <a:endParaRPr lang="en-US" sz="1100" dirty="0">
              <a:solidFill>
                <a:srgbClr val="000000"/>
              </a:solidFill>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 0 1 2 3 4 5 6 7 8 9 0 1 2 3 4 5 6 7 8 9 0 1 2 3 4 5 6 7 8 9 0 1</a:t>
            </a:r>
            <a:endParaRPr lang="en-US" sz="1100" dirty="0">
              <a:solidFill>
                <a:srgbClr val="000000"/>
              </a:solidFill>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lt;-+</a:t>
            </a:r>
          </a:p>
          <a:p>
            <a:r>
              <a:rPr lang="en-US" sz="1100" dirty="0">
                <a:solidFill>
                  <a:srgbClr val="000000"/>
                </a:solidFill>
                <a:effectLst/>
                <a:latin typeface="Courier" pitchFamily="2" charset="0"/>
                <a:ea typeface="Times New Roman" charset="0"/>
              </a:rPr>
              <a:t>|</a:t>
            </a:r>
            <a:r>
              <a:rPr lang="en-US" sz="1100" dirty="0" err="1">
                <a:solidFill>
                  <a:srgbClr val="000000"/>
                </a:solidFill>
                <a:effectLst/>
                <a:latin typeface="Courier" pitchFamily="2" charset="0"/>
                <a:ea typeface="Times New Roman" charset="0"/>
              </a:rPr>
              <a:t>C|R|K|S|s|Recur</a:t>
            </a:r>
            <a:r>
              <a:rPr lang="en-US" sz="1100" dirty="0">
                <a:solidFill>
                  <a:srgbClr val="000000"/>
                </a:solidFill>
                <a:effectLst/>
                <a:latin typeface="Courier" pitchFamily="2" charset="0"/>
                <a:ea typeface="Times New Roman" charset="0"/>
              </a:rPr>
              <a:t>|   Flags | Ver |   </a:t>
            </a:r>
            <a:r>
              <a:rPr lang="en-US" sz="1100" b="1" dirty="0">
                <a:solidFill>
                  <a:srgbClr val="000000"/>
                </a:solidFill>
                <a:effectLst/>
                <a:latin typeface="Courier" pitchFamily="2" charset="0"/>
                <a:ea typeface="Times New Roman" charset="0"/>
              </a:rPr>
              <a:t>Protocol Type = TBD_INT     </a:t>
            </a:r>
            <a:r>
              <a:rPr lang="en-US" sz="1100" dirty="0">
                <a:solidFill>
                  <a:srgbClr val="000000"/>
                </a:solidFill>
                <a:effectLst/>
                <a:latin typeface="Courier" pitchFamily="2" charset="0"/>
                <a:ea typeface="Times New Roman" charset="0"/>
              </a:rPr>
              <a:t>|  |</a:t>
            </a:r>
          </a:p>
          <a:p>
            <a:r>
              <a:rPr lang="en-US" sz="1100" dirty="0">
                <a:solidFill>
                  <a:srgbClr val="000000"/>
                </a:solidFill>
                <a:latin typeface="Courier" pitchFamily="2" charset="0"/>
                <a:ea typeface="Courier" charset="0"/>
                <a:cs typeface="Courier" charset="0"/>
              </a:rPr>
              <a:t>+-+-+-+-+-+-+-+-+-+-+-+-+-+-+-+-+-+-+-+-+-+-+-+-+-+-+-+-+-+-+-+-+  |</a:t>
            </a:r>
          </a:p>
          <a:p>
            <a:r>
              <a:rPr lang="en-US" sz="1100" dirty="0">
                <a:solidFill>
                  <a:srgbClr val="000000"/>
                </a:solidFill>
                <a:latin typeface="Courier" pitchFamily="2" charset="0"/>
                <a:ea typeface="Times New Roman" charset="0"/>
              </a:rPr>
              <a:t>|     Checksum (optional)       |        Offset (Optional)      |  |</a:t>
            </a:r>
          </a:p>
          <a:p>
            <a:r>
              <a:rPr lang="en-US" sz="1100" dirty="0">
                <a:solidFill>
                  <a:srgbClr val="000000"/>
                </a:solidFill>
                <a:latin typeface="Courier" pitchFamily="2" charset="0"/>
                <a:ea typeface="Courier" charset="0"/>
                <a:cs typeface="Courier" charset="0"/>
              </a:rPr>
              <a:t>+-+-+-+-+-+-+-+-+-+-+-+-+-+-+-+-+-+-+-+-+-+-+-+-+-+-+-+-+-+-+-+-+  G</a:t>
            </a:r>
          </a:p>
          <a:p>
            <a:r>
              <a:rPr lang="en-US" sz="1100" dirty="0">
                <a:solidFill>
                  <a:srgbClr val="000000"/>
                </a:solidFill>
                <a:latin typeface="Courier" pitchFamily="2" charset="0"/>
                <a:ea typeface="Times New Roman" charset="0"/>
              </a:rPr>
              <a:t>|                         Key (Optional)                        |  R</a:t>
            </a:r>
          </a:p>
          <a:p>
            <a:r>
              <a:rPr lang="en-US" sz="1100" dirty="0">
                <a:solidFill>
                  <a:srgbClr val="000000"/>
                </a:solidFill>
                <a:latin typeface="Courier" pitchFamily="2" charset="0"/>
                <a:ea typeface="Courier" charset="0"/>
                <a:cs typeface="Courier" charset="0"/>
              </a:rPr>
              <a:t>+-+-+-+-+-+-+-+-+-+-+-+-+-+-+-+-+-+-+-+-+-+-+-+-+-+-+-+-+-+-+-+-+  E</a:t>
            </a:r>
          </a:p>
          <a:p>
            <a:r>
              <a:rPr lang="en-US" sz="1100" dirty="0">
                <a:solidFill>
                  <a:srgbClr val="000000"/>
                </a:solidFill>
                <a:latin typeface="Courier" pitchFamily="2" charset="0"/>
                <a:ea typeface="Times New Roman" charset="0"/>
              </a:rPr>
              <a:t>|                   Sequence Number (Optional)                  |  |</a:t>
            </a:r>
          </a:p>
          <a:p>
            <a:r>
              <a:rPr lang="en-US" sz="1100" dirty="0">
                <a:solidFill>
                  <a:srgbClr val="000000"/>
                </a:solidFill>
                <a:latin typeface="Courier" pitchFamily="2" charset="0"/>
                <a:ea typeface="Courier" charset="0"/>
                <a:cs typeface="Courier" charset="0"/>
              </a:rPr>
              <a:t>+-+-+-+-+-+-+-+-+-+-+-+-+-+-+-+-+-+-+-+-+-+-+-+-+-+-+-+-+-+-+-+-+  |</a:t>
            </a:r>
          </a:p>
          <a:p>
            <a:r>
              <a:rPr lang="en-US" sz="1100" dirty="0">
                <a:solidFill>
                  <a:srgbClr val="000000"/>
                </a:solidFill>
                <a:latin typeface="Courier" pitchFamily="2" charset="0"/>
                <a:ea typeface="Times New Roman" charset="0"/>
              </a:rPr>
              <a:t>|                        Routing (Optional)                     |  |     </a:t>
            </a:r>
          </a:p>
          <a:p>
            <a:r>
              <a:rPr lang="en-US" sz="1100" dirty="0">
                <a:solidFill>
                  <a:srgbClr val="000000"/>
                </a:solidFill>
                <a:latin typeface="Courier" pitchFamily="2" charset="0"/>
                <a:ea typeface="Courier" charset="0"/>
                <a:cs typeface="Courier" charset="0"/>
              </a:rPr>
              <a:t>+-+-+-+-+-+-+-+-+-+-+-+-+-+-+-+-+-+-+-+-+-+-+-+-+-+-+-+-+-+-+-+-+&lt;-+</a:t>
            </a:r>
          </a:p>
          <a:p>
            <a:r>
              <a:rPr lang="en-US" sz="1100" dirty="0">
                <a:solidFill>
                  <a:srgbClr val="000000"/>
                </a:solidFill>
                <a:latin typeface="Courier" pitchFamily="2" charset="0"/>
                <a:ea typeface="Courier" charset="0"/>
                <a:cs typeface="Courier" charset="0"/>
              </a:rPr>
              <a:t>|    INT Type   | INT HDR Len   |          Next Protocol        |  |</a:t>
            </a:r>
            <a:endParaRPr lang="en-US" sz="1100" dirty="0">
              <a:solidFill>
                <a:srgbClr val="000000"/>
              </a:solidFill>
              <a:latin typeface="Courier" pitchFamily="2" charset="0"/>
              <a:ea typeface="Times New Roman" charset="0"/>
            </a:endParaRPr>
          </a:p>
          <a:p>
            <a:r>
              <a:rPr lang="en-US" sz="1100" dirty="0">
                <a:solidFill>
                  <a:srgbClr val="000000"/>
                </a:solidFill>
                <a:latin typeface="Courier" pitchFamily="2" charset="0"/>
                <a:ea typeface="Courier" charset="0"/>
                <a:cs typeface="Courier" charset="0"/>
              </a:rPr>
              <a:t>+-+-+-+-+-+-+-+-+-+-+-+-+-+-+-+-+-+-+-+-+-+-+-+-+-+-+-+-+-+-+-+-+  |</a:t>
            </a:r>
          </a:p>
          <a:p>
            <a:r>
              <a:rPr lang="en-US" sz="1100" dirty="0">
                <a:solidFill>
                  <a:srgbClr val="000000"/>
                </a:solidFill>
                <a:latin typeface="Courier" pitchFamily="2" charset="0"/>
                <a:ea typeface="Courier" charset="0"/>
                <a:cs typeface="Courier" charset="0"/>
              </a:rPr>
              <a:t>| INT-Type - MX |    Reserved   |    Length     | Next Protocol |  |</a:t>
            </a:r>
            <a:endParaRPr lang="en-US" sz="1100" dirty="0">
              <a:solidFill>
                <a:srgbClr val="000000"/>
              </a:solidFill>
              <a:latin typeface="Courier" pitchFamily="2" charset="0"/>
              <a:ea typeface="Times New Roman" charset="0"/>
            </a:endParaRPr>
          </a:p>
          <a:p>
            <a:r>
              <a:rPr lang="en-US" sz="1100" dirty="0">
                <a:solidFill>
                  <a:srgbClr val="000000"/>
                </a:solidFill>
                <a:latin typeface="Courier" pitchFamily="2" charset="0"/>
                <a:ea typeface="Courier" charset="0"/>
                <a:cs typeface="Courier" charset="0"/>
              </a:rPr>
              <a:t>+-+-+-+-+-+-+-+-+-+-+-+-+-+-+-+-+-+-+-+-+-+-+-+-+-+-+-+-+-+-+-+-|  |</a:t>
            </a:r>
          </a:p>
          <a:p>
            <a:r>
              <a:rPr lang="en-US" sz="1100" dirty="0">
                <a:solidFill>
                  <a:srgbClr val="000000"/>
                </a:solidFill>
                <a:latin typeface="Courier" charset="0"/>
                <a:ea typeface="Courier" charset="0"/>
                <a:cs typeface="Courier" charset="0"/>
              </a:rPr>
              <a:t>|Ver = 2|Rep|C|E|M|     Reserved      | Hop ML  | </a:t>
            </a:r>
            <a:r>
              <a:rPr lang="en-US" sz="900" dirty="0" err="1">
                <a:solidFill>
                  <a:srgbClr val="000000"/>
                </a:solidFill>
                <a:latin typeface="Courier" charset="0"/>
                <a:ea typeface="Courier" charset="0"/>
                <a:cs typeface="Courier" charset="0"/>
              </a:rPr>
              <a:t>RemainingHop</a:t>
            </a:r>
            <a:r>
              <a:rPr lang="en-US" sz="900" dirty="0">
                <a:solidFill>
                  <a:srgbClr val="000000"/>
                </a:solidFill>
                <a:latin typeface="Courier" charset="0"/>
                <a:ea typeface="Courier" charset="0"/>
                <a:cs typeface="Courier" charset="0"/>
              </a:rPr>
              <a:t> </a:t>
            </a:r>
            <a:r>
              <a:rPr lang="en-US" sz="900" dirty="0" err="1">
                <a:solidFill>
                  <a:srgbClr val="000000"/>
                </a:solidFill>
                <a:latin typeface="Courier" charset="0"/>
                <a:ea typeface="Courier" charset="0"/>
                <a:cs typeface="Courier" charset="0"/>
              </a:rPr>
              <a:t>Cnt</a:t>
            </a:r>
            <a:r>
              <a:rPr lang="en-US" sz="900" dirty="0">
                <a:solidFill>
                  <a:srgbClr val="000000"/>
                </a:solidFill>
                <a:latin typeface="Courier" charset="0"/>
                <a:ea typeface="Courier" charset="0"/>
                <a:cs typeface="Courier" charset="0"/>
              </a:rPr>
              <a:t> </a:t>
            </a:r>
            <a:r>
              <a:rPr lang="en-US" sz="1100" dirty="0">
                <a:solidFill>
                  <a:srgbClr val="000000"/>
                </a:solidFill>
                <a:latin typeface="Courier" charset="0"/>
                <a:ea typeface="Courier" charset="0"/>
                <a:cs typeface="Courier" charset="0"/>
              </a:rPr>
              <a:t>|  I</a:t>
            </a:r>
          </a:p>
          <a:p>
            <a:r>
              <a:rPr lang="en-US" sz="1100" dirty="0">
                <a:solidFill>
                  <a:srgbClr val="000000"/>
                </a:solidFill>
                <a:latin typeface="Courier" charset="0"/>
                <a:ea typeface="Courier" charset="0"/>
                <a:cs typeface="Courier" charset="0"/>
              </a:rPr>
              <a:t>​+-+-+-+-+-+-+-+-+-+-+-+-+-+-+-+-+-+-+-+-+-+-+-+-+-+-+-+-+-+-+-+-+  N</a:t>
            </a:r>
          </a:p>
          <a:p>
            <a:r>
              <a:rPr lang="en-US" sz="1100" dirty="0">
                <a:solidFill>
                  <a:srgbClr val="000000"/>
                </a:solidFill>
                <a:latin typeface="Courier" charset="0"/>
                <a:ea typeface="Courier" charset="0"/>
                <a:cs typeface="Courier" charset="0"/>
              </a:rPr>
              <a:t>|      Instruction Bitmap       |     Domain Specific ID        |  T</a:t>
            </a:r>
          </a:p>
          <a:p>
            <a:r>
              <a:rPr lang="en-US" sz="1100" dirty="0">
                <a:solidFill>
                  <a:srgbClr val="000000"/>
                </a:solidFill>
                <a:latin typeface="Courier" charset="0"/>
                <a:ea typeface="Courier" charset="0"/>
                <a:cs typeface="Courier" charset="0"/>
              </a:rPr>
              <a:t>+-+-+-+-+-+-+-+-+-+-+-+-+-+-+-+-+-+-+-+-+-+-+-+-+-+-+-+-+-+-+-+-+  |</a:t>
            </a:r>
          </a:p>
          <a:p>
            <a:r>
              <a:rPr lang="en-US" sz="1100" dirty="0">
                <a:solidFill>
                  <a:srgbClr val="000000"/>
                </a:solidFill>
                <a:latin typeface="Courier" charset="0"/>
                <a:ea typeface="Courier" charset="0"/>
                <a:cs typeface="Courier" charset="0"/>
              </a:rPr>
              <a:t>|          DS Flags             |         DS Instruction        |  |</a:t>
            </a:r>
            <a:r>
              <a:rPr lang="en-US" sz="1100" dirty="0">
                <a:solidFill>
                  <a:srgbClr val="000000"/>
                </a:solidFill>
                <a:latin typeface="Courier" pitchFamily="2" charset="0"/>
                <a:ea typeface="Courier" charset="0"/>
                <a:cs typeface="Courier" charset="0"/>
              </a:rPr>
              <a:t>                    </a:t>
            </a:r>
          </a:p>
          <a:p>
            <a:r>
              <a:rPr lang="en-US" sz="1100" dirty="0">
                <a:solidFill>
                  <a:srgbClr val="000000"/>
                </a:solidFill>
                <a:latin typeface="Courier" pitchFamily="2" charset="0"/>
                <a:ea typeface="Courier" charset="0"/>
                <a:cs typeface="Courier" charset="0"/>
              </a:rPr>
              <a:t>+-+-+-+-+-+-+-+-+-+-+-+-+-+-+-+-+-+-+-+-+-+-+-+-+-+-+-+-+-+-+-+-+&lt;-+</a:t>
            </a:r>
          </a:p>
          <a:p>
            <a:r>
              <a:rPr lang="en-US" sz="1100" dirty="0">
                <a:solidFill>
                  <a:srgbClr val="000000"/>
                </a:solidFill>
                <a:latin typeface="Courier" pitchFamily="2" charset="0"/>
                <a:ea typeface="Times New Roman" charset="0"/>
              </a:rPr>
              <a:t>|                     Payload Original Packet                   </a:t>
            </a:r>
            <a:r>
              <a:rPr lang="en-US" sz="1100" dirty="0">
                <a:solidFill>
                  <a:srgbClr val="000000"/>
                </a:solidFill>
                <a:latin typeface="Courier" pitchFamily="2" charset="0"/>
                <a:ea typeface="Courier" charset="0"/>
                <a:cs typeface="Courier" charset="0"/>
              </a:rPr>
              <a:t>|</a:t>
            </a:r>
            <a:endParaRPr lang="en-US" sz="1100" dirty="0">
              <a:solidFill>
                <a:srgbClr val="000000"/>
              </a:solidFill>
              <a:latin typeface="Courier" pitchFamily="2" charset="0"/>
              <a:ea typeface="Times New Roman" charset="0"/>
            </a:endParaRPr>
          </a:p>
          <a:p>
            <a:r>
              <a:rPr lang="en-US" sz="1100" dirty="0">
                <a:solidFill>
                  <a:srgbClr val="000000"/>
                </a:solidFill>
                <a:latin typeface="Courier" pitchFamily="2" charset="0"/>
                <a:ea typeface="Courier" charset="0"/>
                <a:cs typeface="Courier" charset="0"/>
              </a:rPr>
              <a:t>+-+-+-+-+-+-+-+-+-+-+-+-+-+-+-+-+-+-+-+-+-+-+-+-+-+-+-+-+-+-+-+-+</a:t>
            </a:r>
          </a:p>
          <a:p>
            <a:endParaRPr lang="en-US" sz="1100" dirty="0">
              <a:solidFill>
                <a:srgbClr val="000000"/>
              </a:solidFill>
              <a:latin typeface="Courier" pitchFamily="2" charset="0"/>
              <a:ea typeface="Courier" charset="0"/>
              <a:cs typeface="Courier" charset="0"/>
            </a:endParaRPr>
          </a:p>
          <a:p>
            <a:endParaRPr lang="en-US" sz="1100" dirty="0">
              <a:solidFill>
                <a:srgbClr val="000000"/>
              </a:solidFill>
              <a:latin typeface="Courier" pitchFamily="2" charset="0"/>
              <a:ea typeface="Times New Roman" charset="0"/>
            </a:endParaRPr>
          </a:p>
          <a:p>
            <a:pPr marL="0" marR="0">
              <a:spcBef>
                <a:spcPts val="0"/>
              </a:spcBef>
              <a:spcAft>
                <a:spcPts val="0"/>
              </a:spcAft>
            </a:pPr>
            <a:endParaRPr lang="en-US" sz="1100" dirty="0">
              <a:solidFill>
                <a:srgbClr val="000000"/>
              </a:solidFill>
              <a:effectLst/>
              <a:latin typeface="Courier" pitchFamily="2" charset="0"/>
              <a:ea typeface="Times New Roman" charset="0"/>
            </a:endParaRPr>
          </a:p>
        </p:txBody>
      </p:sp>
    </p:spTree>
    <p:extLst>
      <p:ext uri="{BB962C8B-B14F-4D97-AF65-F5344CB8AC3E}">
        <p14:creationId xmlns:p14="http://schemas.microsoft.com/office/powerpoint/2010/main" val="560135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bwMode="auto">
          <a:xfrm>
            <a:off x="270934" y="2476501"/>
            <a:ext cx="11275484" cy="9715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nchor="ctr"/>
          <a:lstStyle>
            <a:lvl1pPr marL="6251" indent="-6251" algn="l" rtl="0" eaLnBrk="0" fontAlgn="base" hangingPunct="0">
              <a:lnSpc>
                <a:spcPct val="90000"/>
              </a:lnSpc>
              <a:spcBef>
                <a:spcPct val="0"/>
              </a:spcBef>
              <a:spcAft>
                <a:spcPct val="0"/>
              </a:spcAft>
              <a:defRPr sz="2800" b="0" baseline="0">
                <a:solidFill>
                  <a:schemeClr val="accent1"/>
                </a:solidFill>
                <a:latin typeface="+mj-lt"/>
                <a:ea typeface="+mj-ea"/>
                <a:cs typeface="+mj-cs"/>
                <a:sym typeface="Arial" pitchFamily="34" charset="0"/>
              </a:defRPr>
            </a:lvl1pPr>
            <a:lvl2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marL="8334" indent="-8334" algn="ctr" defTabSz="914377">
              <a:lnSpc>
                <a:spcPct val="150000"/>
              </a:lnSpc>
              <a:defRPr/>
            </a:pPr>
            <a:endParaRPr lang="en-US" sz="4267" kern="0" dirty="0">
              <a:solidFill>
                <a:srgbClr val="FFFFFF"/>
              </a:solidFill>
              <a:latin typeface="CiscoSans Thin"/>
            </a:endParaRPr>
          </a:p>
        </p:txBody>
      </p:sp>
      <p:sp>
        <p:nvSpPr>
          <p:cNvPr id="4" name="Footer Placeholder 3"/>
          <p:cNvSpPr>
            <a:spLocks noGrp="1"/>
          </p:cNvSpPr>
          <p:nvPr>
            <p:ph type="ftr" sz="quarter" idx="3"/>
          </p:nvPr>
        </p:nvSpPr>
        <p:spPr/>
        <p:txBody>
          <a:bodyPr/>
          <a:lstStyle/>
          <a:p>
            <a:pPr defTabSz="814305">
              <a:defRPr/>
            </a:pPr>
            <a:r>
              <a:rPr lang="en-US">
                <a:solidFill>
                  <a:srgbClr val="FFFFFF">
                    <a:alpha val="60000"/>
                  </a:srgbClr>
                </a:solidFill>
                <a:latin typeface="Arial"/>
                <a:ea typeface="ＭＳ Ｐゴシック" charset="0"/>
              </a:rPr>
              <a:t>BRKSDN-2901</a:t>
            </a:r>
            <a:endParaRPr lang="en-US" dirty="0">
              <a:solidFill>
                <a:srgbClr val="FFFFFF">
                  <a:alpha val="60000"/>
                </a:srgbClr>
              </a:solidFill>
              <a:latin typeface="Arial"/>
              <a:ea typeface="ＭＳ Ｐゴシック" charset="0"/>
            </a:endParaRPr>
          </a:p>
        </p:txBody>
      </p:sp>
      <p:sp>
        <p:nvSpPr>
          <p:cNvPr id="7" name="Slide Number Placeholder 6"/>
          <p:cNvSpPr>
            <a:spLocks noGrp="1"/>
          </p:cNvSpPr>
          <p:nvPr>
            <p:ph type="sldNum" sz="quarter" idx="4"/>
          </p:nvPr>
        </p:nvSpPr>
        <p:spPr/>
        <p:txBody>
          <a:bodyPr/>
          <a:lstStyle/>
          <a:p>
            <a:pPr defTabSz="914377">
              <a:defRPr/>
            </a:pPr>
            <a:fld id="{96A97DD0-5BE7-4856-A2A9-C42C6688E607}" type="slidenum">
              <a:rPr lang="en-US">
                <a:solidFill>
                  <a:srgbClr val="FFFFFF">
                    <a:alpha val="60000"/>
                  </a:srgbClr>
                </a:solidFill>
                <a:latin typeface="Arial"/>
              </a:rPr>
              <a:pPr defTabSz="914377">
                <a:defRPr/>
              </a:pPr>
              <a:t>23</a:t>
            </a:fld>
            <a:endParaRPr lang="en-US" dirty="0">
              <a:solidFill>
                <a:srgbClr val="FFFFFF">
                  <a:alpha val="60000"/>
                </a:srgbClr>
              </a:solidFill>
              <a:latin typeface="Arial"/>
            </a:endParaRPr>
          </a:p>
        </p:txBody>
      </p:sp>
      <p:sp>
        <p:nvSpPr>
          <p:cNvPr id="6" name="Title 1"/>
          <p:cNvSpPr>
            <a:spLocks noGrp="1"/>
          </p:cNvSpPr>
          <p:nvPr>
            <p:ph type="title"/>
          </p:nvPr>
        </p:nvSpPr>
        <p:spPr>
          <a:xfrm>
            <a:off x="448833" y="1985911"/>
            <a:ext cx="11222524" cy="1666011"/>
          </a:xfrm>
        </p:spPr>
        <p:txBody>
          <a:bodyPr/>
          <a:lstStyle/>
          <a:p>
            <a:r>
              <a:rPr lang="en-US" dirty="0"/>
              <a:t>INT - Telemetry Report Export</a:t>
            </a:r>
          </a:p>
        </p:txBody>
      </p:sp>
    </p:spTree>
    <p:extLst>
      <p:ext uri="{BB962C8B-B14F-4D97-AF65-F5344CB8AC3E}">
        <p14:creationId xmlns:p14="http://schemas.microsoft.com/office/powerpoint/2010/main" val="925195568"/>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latin typeface="Courier" charset="0"/>
                <a:ea typeface="Courier" charset="0"/>
                <a:cs typeface="Courier" charset="0"/>
              </a:rPr>
              <a:t>Telemetry Report</a:t>
            </a:r>
            <a:endParaRPr lang="en-US" sz="3600" dirty="0"/>
          </a:p>
        </p:txBody>
      </p:sp>
      <p:sp>
        <p:nvSpPr>
          <p:cNvPr id="6" name="Content Placeholder 4"/>
          <p:cNvSpPr txBox="1">
            <a:spLocks/>
          </p:cNvSpPr>
          <p:nvPr/>
        </p:nvSpPr>
        <p:spPr bwMode="auto">
          <a:xfrm>
            <a:off x="470568" y="1312505"/>
            <a:ext cx="11010232" cy="50781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187325" indent="-185738" algn="l" rtl="0" eaLnBrk="0" fontAlgn="base" hangingPunct="0">
              <a:lnSpc>
                <a:spcPct val="90000"/>
              </a:lnSpc>
              <a:spcBef>
                <a:spcPts val="1200"/>
              </a:spcBef>
              <a:spcAft>
                <a:spcPct val="0"/>
              </a:spcAft>
              <a:buSzPct val="80000"/>
              <a:buFont typeface="Arial" panose="020B0604020202020204" pitchFamily="34" charset="0"/>
              <a:buChar char="•"/>
              <a:defRPr>
                <a:solidFill>
                  <a:schemeClr val="tx1"/>
                </a:solidFill>
                <a:latin typeface="+mn-lt"/>
                <a:ea typeface="+mn-ea"/>
                <a:cs typeface="+mn-cs"/>
                <a:sym typeface="Arial" panose="020B0604020202020204" pitchFamily="34" charset="0"/>
              </a:defRPr>
            </a:lvl1pPr>
            <a:lvl2pPr marL="385763" indent="-193675" algn="l" rtl="0" eaLnBrk="0" fontAlgn="base" hangingPunct="0">
              <a:lnSpc>
                <a:spcPct val="90000"/>
              </a:lnSpc>
              <a:spcBef>
                <a:spcPts val="400"/>
              </a:spcBef>
              <a:spcAft>
                <a:spcPct val="0"/>
              </a:spcAft>
              <a:buSzPct val="80000"/>
              <a:buFont typeface="Arial" panose="020B0604020202020204" pitchFamily="34" charset="0"/>
              <a:buChar char="•"/>
              <a:defRPr sz="1600">
                <a:solidFill>
                  <a:schemeClr val="tx1"/>
                </a:solidFill>
                <a:latin typeface="+mn-lt"/>
                <a:ea typeface="+mn-ea"/>
                <a:cs typeface="+mn-cs"/>
                <a:sym typeface="Arial" panose="020B0604020202020204" pitchFamily="34" charset="0"/>
              </a:defRPr>
            </a:lvl2pPr>
            <a:lvl3pPr marL="54610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3pPr>
            <a:lvl4pPr marL="70485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4pPr>
            <a:lvl5pPr marL="773113" indent="-66675"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anose="020B0604020202020204"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a:buFont typeface="Wingdings" charset="2"/>
              <a:buChar char="Ø"/>
            </a:pPr>
            <a:r>
              <a:rPr lang="en-US" sz="1800" dirty="0">
                <a:latin typeface="Courier" charset="0"/>
                <a:ea typeface="Courier" charset="0"/>
                <a:cs typeface="Courier" charset="0"/>
              </a:rPr>
              <a:t>INT Sink Nodes exports to telemetry monitoring systems.</a:t>
            </a:r>
          </a:p>
          <a:p>
            <a:pPr>
              <a:buFont typeface="Wingdings" charset="2"/>
              <a:buChar char="Ø"/>
            </a:pPr>
            <a:r>
              <a:rPr lang="en-US" sz="1800" dirty="0">
                <a:latin typeface="Courier" charset="0"/>
                <a:ea typeface="Courier" charset="0"/>
                <a:cs typeface="Courier" charset="0"/>
              </a:rPr>
              <a:t>Generated for three categories:</a:t>
            </a:r>
          </a:p>
          <a:p>
            <a:pPr lvl="1">
              <a:buFont typeface="Wingdings" charset="2"/>
              <a:buChar char="q"/>
            </a:pPr>
            <a:r>
              <a:rPr lang="en-US" sz="1500" dirty="0">
                <a:latin typeface="Courier" charset="0"/>
                <a:ea typeface="Courier" charset="0"/>
                <a:cs typeface="Courier" charset="0"/>
              </a:rPr>
              <a:t>Tracked Flows</a:t>
            </a:r>
          </a:p>
          <a:p>
            <a:pPr lvl="1">
              <a:buFont typeface="Wingdings" charset="2"/>
              <a:buChar char="q"/>
            </a:pPr>
            <a:r>
              <a:rPr lang="en-US" sz="1500" dirty="0">
                <a:latin typeface="Courier" charset="0"/>
                <a:ea typeface="Courier" charset="0"/>
                <a:cs typeface="Courier" charset="0"/>
              </a:rPr>
              <a:t>Dropped Packets</a:t>
            </a:r>
          </a:p>
          <a:p>
            <a:pPr lvl="1">
              <a:buFont typeface="Wingdings" charset="2"/>
              <a:buChar char="q"/>
            </a:pPr>
            <a:r>
              <a:rPr lang="en-US" sz="1500" dirty="0">
                <a:latin typeface="Courier" charset="0"/>
                <a:ea typeface="Courier" charset="0"/>
                <a:cs typeface="Courier" charset="0"/>
              </a:rPr>
              <a:t>Congested Queues</a:t>
            </a:r>
          </a:p>
          <a:p>
            <a:pPr>
              <a:buFont typeface="Wingdings" charset="2"/>
              <a:buChar char="Ø"/>
            </a:pPr>
            <a:r>
              <a:rPr lang="en-US" sz="1800" dirty="0">
                <a:latin typeface="Courier" charset="0"/>
                <a:ea typeface="Courier" charset="0"/>
                <a:cs typeface="Courier" charset="0"/>
              </a:rPr>
              <a:t>A report associated with one or more categories.</a:t>
            </a:r>
          </a:p>
          <a:p>
            <a:pPr>
              <a:buFont typeface="Wingdings" charset="2"/>
              <a:buChar char="Ø"/>
            </a:pPr>
            <a:r>
              <a:rPr lang="en-US" sz="1600" dirty="0">
                <a:latin typeface="Courier" charset="0"/>
                <a:ea typeface="Courier" charset="0"/>
                <a:cs typeface="Courier" charset="0"/>
              </a:rPr>
              <a:t>Events trigger telemetry reports</a:t>
            </a:r>
          </a:p>
          <a:p>
            <a:pPr>
              <a:buFont typeface="Wingdings" charset="2"/>
              <a:buChar char="Ø"/>
            </a:pPr>
            <a:r>
              <a:rPr lang="en-US" sz="1600" dirty="0">
                <a:latin typeface="Courier" charset="0"/>
                <a:ea typeface="Courier" charset="0"/>
                <a:cs typeface="Courier" charset="0"/>
              </a:rPr>
              <a:t>Modes :</a:t>
            </a:r>
          </a:p>
          <a:p>
            <a:pPr lvl="1">
              <a:buFont typeface="Wingdings" pitchFamily="2" charset="2"/>
              <a:buChar char="q"/>
            </a:pPr>
            <a:r>
              <a:rPr lang="en-US" sz="1300" dirty="0">
                <a:latin typeface="Courier" charset="0"/>
                <a:ea typeface="Courier" charset="0"/>
                <a:cs typeface="Courier" charset="0"/>
              </a:rPr>
              <a:t>Direct Export – INT-MX</a:t>
            </a:r>
          </a:p>
          <a:p>
            <a:pPr lvl="1">
              <a:buFont typeface="Wingdings" pitchFamily="2" charset="2"/>
              <a:buChar char="q"/>
            </a:pPr>
            <a:r>
              <a:rPr lang="en-US" sz="1300" dirty="0">
                <a:latin typeface="Courier" charset="0"/>
                <a:ea typeface="Courier" charset="0"/>
                <a:cs typeface="Courier" charset="0"/>
              </a:rPr>
              <a:t>In-band Mode – INT-MD</a:t>
            </a:r>
          </a:p>
        </p:txBody>
      </p:sp>
    </p:spTree>
    <p:extLst>
      <p:ext uri="{BB962C8B-B14F-4D97-AF65-F5344CB8AC3E}">
        <p14:creationId xmlns:p14="http://schemas.microsoft.com/office/powerpoint/2010/main" val="173076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latin typeface="Courier" charset="0"/>
                <a:ea typeface="Courier" charset="0"/>
                <a:cs typeface="Courier" charset="0"/>
              </a:rPr>
              <a:t>Telemetry Report – INT-MD Mode</a:t>
            </a:r>
            <a:endParaRPr lang="en-US" sz="3600" dirty="0"/>
          </a:p>
        </p:txBody>
      </p:sp>
      <p:sp>
        <p:nvSpPr>
          <p:cNvPr id="6" name="Content Placeholder 4"/>
          <p:cNvSpPr txBox="1">
            <a:spLocks/>
          </p:cNvSpPr>
          <p:nvPr/>
        </p:nvSpPr>
        <p:spPr bwMode="auto">
          <a:xfrm>
            <a:off x="470567" y="1146250"/>
            <a:ext cx="11010232" cy="55395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187325" indent="-185738" algn="l" rtl="0" eaLnBrk="0" fontAlgn="base" hangingPunct="0">
              <a:lnSpc>
                <a:spcPct val="90000"/>
              </a:lnSpc>
              <a:spcBef>
                <a:spcPts val="1200"/>
              </a:spcBef>
              <a:spcAft>
                <a:spcPct val="0"/>
              </a:spcAft>
              <a:buSzPct val="80000"/>
              <a:buFont typeface="Arial" panose="020B0604020202020204" pitchFamily="34" charset="0"/>
              <a:buChar char="•"/>
              <a:defRPr>
                <a:solidFill>
                  <a:schemeClr val="tx1"/>
                </a:solidFill>
                <a:latin typeface="+mn-lt"/>
                <a:ea typeface="+mn-ea"/>
                <a:cs typeface="+mn-cs"/>
                <a:sym typeface="Arial" panose="020B0604020202020204" pitchFamily="34" charset="0"/>
              </a:defRPr>
            </a:lvl1pPr>
            <a:lvl2pPr marL="385763" indent="-193675" algn="l" rtl="0" eaLnBrk="0" fontAlgn="base" hangingPunct="0">
              <a:lnSpc>
                <a:spcPct val="90000"/>
              </a:lnSpc>
              <a:spcBef>
                <a:spcPts val="400"/>
              </a:spcBef>
              <a:spcAft>
                <a:spcPct val="0"/>
              </a:spcAft>
              <a:buSzPct val="80000"/>
              <a:buFont typeface="Arial" panose="020B0604020202020204" pitchFamily="34" charset="0"/>
              <a:buChar char="•"/>
              <a:defRPr sz="1600">
                <a:solidFill>
                  <a:schemeClr val="tx1"/>
                </a:solidFill>
                <a:latin typeface="+mn-lt"/>
                <a:ea typeface="+mn-ea"/>
                <a:cs typeface="+mn-cs"/>
                <a:sym typeface="Arial" panose="020B0604020202020204" pitchFamily="34" charset="0"/>
              </a:defRPr>
            </a:lvl2pPr>
            <a:lvl3pPr marL="54610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3pPr>
            <a:lvl4pPr marL="70485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4pPr>
            <a:lvl5pPr marL="773113" indent="-66675"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anose="020B0604020202020204"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a:buFont typeface="Wingdings" charset="2"/>
              <a:buChar char="Ø"/>
            </a:pPr>
            <a:r>
              <a:rPr lang="en-US" sz="1800" dirty="0">
                <a:latin typeface="Courier" charset="0"/>
                <a:ea typeface="Courier" charset="0"/>
                <a:cs typeface="Courier" charset="0"/>
              </a:rPr>
              <a:t> </a:t>
            </a:r>
            <a:r>
              <a:rPr lang="en-US" sz="1800" b="1" dirty="0">
                <a:latin typeface="Courier" charset="0"/>
                <a:ea typeface="Courier" charset="0"/>
                <a:cs typeface="Courier" charset="0"/>
              </a:rPr>
              <a:t>Tracked Flows </a:t>
            </a:r>
          </a:p>
          <a:p>
            <a:pPr lvl="1">
              <a:buFont typeface="Wingdings" pitchFamily="2" charset="2"/>
              <a:buChar char="v"/>
            </a:pPr>
            <a:r>
              <a:rPr lang="en-US" sz="1800" dirty="0">
                <a:latin typeface="Courier" pitchFamily="2" charset="0"/>
              </a:rPr>
              <a:t> Generated for all packets of a flow matching a ACL/Profile Table entry and configured to perform the sink functionality.</a:t>
            </a:r>
          </a:p>
          <a:p>
            <a:pPr>
              <a:buFont typeface="Wingdings" pitchFamily="2" charset="2"/>
              <a:buChar char="Ø"/>
            </a:pPr>
            <a:r>
              <a:rPr lang="en-US" sz="1800" b="1" dirty="0">
                <a:latin typeface="Courier" pitchFamily="2" charset="0"/>
                <a:ea typeface="Courier" charset="0"/>
                <a:cs typeface="Courier" charset="0"/>
              </a:rPr>
              <a:t> Dropped Packets</a:t>
            </a:r>
          </a:p>
          <a:p>
            <a:pPr lvl="1">
              <a:buFont typeface="Wingdings" pitchFamily="2" charset="2"/>
              <a:buChar char="v"/>
            </a:pPr>
            <a:r>
              <a:rPr lang="en-US" sz="1800" dirty="0">
                <a:latin typeface="Courier" pitchFamily="2" charset="0"/>
              </a:rPr>
              <a:t> Generated for all dropped packets of a flow matching a ACL/Profile Table entry. </a:t>
            </a:r>
          </a:p>
          <a:p>
            <a:pPr lvl="1">
              <a:buFont typeface="Wingdings" pitchFamily="2" charset="2"/>
              <a:buChar char="v"/>
            </a:pPr>
            <a:r>
              <a:rPr lang="en-US" sz="1800" dirty="0">
                <a:latin typeface="Courier" pitchFamily="2" charset="0"/>
              </a:rPr>
              <a:t> This provides visibility into the impact of packet drops on user traffic.</a:t>
            </a:r>
          </a:p>
          <a:p>
            <a:pPr>
              <a:buFont typeface="Wingdings" pitchFamily="2" charset="2"/>
              <a:buChar char="Ø"/>
            </a:pPr>
            <a:r>
              <a:rPr lang="en-US" sz="1800" b="1" dirty="0">
                <a:latin typeface="Courier" pitchFamily="2" charset="0"/>
              </a:rPr>
              <a:t> Congested Queues</a:t>
            </a:r>
          </a:p>
          <a:p>
            <a:pPr lvl="1">
              <a:buFont typeface="Wingdings" pitchFamily="2" charset="2"/>
              <a:buChar char="v"/>
            </a:pPr>
            <a:r>
              <a:rPr lang="en-US" sz="1800" dirty="0">
                <a:latin typeface="Courier" pitchFamily="2" charset="0"/>
              </a:rPr>
              <a:t> Generated for traffic entering a specific queue during a period of queue congestion. </a:t>
            </a:r>
          </a:p>
          <a:p>
            <a:pPr lvl="1">
              <a:buFont typeface="Wingdings" pitchFamily="2" charset="2"/>
              <a:buChar char="v"/>
            </a:pPr>
            <a:r>
              <a:rPr lang="en-US" sz="1800" dirty="0">
                <a:latin typeface="Courier" pitchFamily="2" charset="0"/>
              </a:rPr>
              <a:t> This provides visibility into the traffic causing and prolonging queue congestion</a:t>
            </a:r>
          </a:p>
          <a:p>
            <a:pPr lvl="1">
              <a:buFont typeface="Wingdings" pitchFamily="2" charset="2"/>
              <a:buChar char="v"/>
            </a:pPr>
            <a:r>
              <a:rPr lang="en-US" sz="1800" dirty="0">
                <a:latin typeface="Courier" pitchFamily="2" charset="0"/>
              </a:rPr>
              <a:t> Enables the detection and “re-play” of a short microburst</a:t>
            </a:r>
          </a:p>
          <a:p>
            <a:pPr>
              <a:buFont typeface="Wingdings" pitchFamily="2" charset="2"/>
              <a:buChar char="Ø"/>
            </a:pPr>
            <a:r>
              <a:rPr lang="en-US" sz="1800" dirty="0">
                <a:latin typeface="Courier" pitchFamily="2" charset="0"/>
              </a:rPr>
              <a:t> The reports include the metadata stack received in the packet and the local switch metadata.</a:t>
            </a:r>
          </a:p>
          <a:p>
            <a:pPr>
              <a:buFont typeface="Wingdings" pitchFamily="2" charset="2"/>
              <a:buChar char="Ø"/>
            </a:pPr>
            <a:r>
              <a:rPr lang="en-US" sz="1800" dirty="0">
                <a:latin typeface="Courier" pitchFamily="2" charset="0"/>
              </a:rPr>
              <a:t> The reports shall include the original packet header for collector to be able correlate various reports.</a:t>
            </a:r>
          </a:p>
          <a:p>
            <a:pPr>
              <a:buFont typeface="Wingdings" pitchFamily="2" charset="2"/>
              <a:buChar char="Ø"/>
            </a:pPr>
            <a:endParaRPr lang="en-US" sz="1800" dirty="0">
              <a:latin typeface="Courier" pitchFamily="2" charset="0"/>
            </a:endParaRPr>
          </a:p>
          <a:p>
            <a:pPr lvl="1">
              <a:buFont typeface="Wingdings" pitchFamily="2" charset="2"/>
              <a:buChar char="v"/>
            </a:pPr>
            <a:endParaRPr lang="en-US" sz="1800" dirty="0">
              <a:latin typeface="Courier" pitchFamily="2" charset="0"/>
            </a:endParaRPr>
          </a:p>
          <a:p>
            <a:pPr>
              <a:buFont typeface="Wingdings" charset="2"/>
              <a:buChar char="Ø"/>
            </a:pPr>
            <a:endParaRPr lang="en-US" sz="1800" dirty="0">
              <a:latin typeface="Courier" pitchFamily="2" charset="0"/>
              <a:ea typeface="Courier" charset="0"/>
              <a:cs typeface="Courier" charset="0"/>
            </a:endParaRPr>
          </a:p>
        </p:txBody>
      </p:sp>
    </p:spTree>
    <p:extLst>
      <p:ext uri="{BB962C8B-B14F-4D97-AF65-F5344CB8AC3E}">
        <p14:creationId xmlns:p14="http://schemas.microsoft.com/office/powerpoint/2010/main" val="1802032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latin typeface="Courier" charset="0"/>
                <a:ea typeface="Courier" charset="0"/>
                <a:cs typeface="Courier" charset="0"/>
              </a:rPr>
              <a:t>Telemetry Report – INT-MX Mode</a:t>
            </a:r>
            <a:endParaRPr lang="en-US" sz="3600" dirty="0"/>
          </a:p>
        </p:txBody>
      </p:sp>
      <p:sp>
        <p:nvSpPr>
          <p:cNvPr id="6" name="Content Placeholder 4"/>
          <p:cNvSpPr txBox="1">
            <a:spLocks/>
          </p:cNvSpPr>
          <p:nvPr/>
        </p:nvSpPr>
        <p:spPr bwMode="auto">
          <a:xfrm>
            <a:off x="470567" y="1146250"/>
            <a:ext cx="11010232" cy="55395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187325" indent="-185738" algn="l" rtl="0" eaLnBrk="0" fontAlgn="base" hangingPunct="0">
              <a:lnSpc>
                <a:spcPct val="90000"/>
              </a:lnSpc>
              <a:spcBef>
                <a:spcPts val="1200"/>
              </a:spcBef>
              <a:spcAft>
                <a:spcPct val="0"/>
              </a:spcAft>
              <a:buSzPct val="80000"/>
              <a:buFont typeface="Arial" panose="020B0604020202020204" pitchFamily="34" charset="0"/>
              <a:buChar char="•"/>
              <a:defRPr>
                <a:solidFill>
                  <a:schemeClr val="tx1"/>
                </a:solidFill>
                <a:latin typeface="+mn-lt"/>
                <a:ea typeface="+mn-ea"/>
                <a:cs typeface="+mn-cs"/>
                <a:sym typeface="Arial" panose="020B0604020202020204" pitchFamily="34" charset="0"/>
              </a:defRPr>
            </a:lvl1pPr>
            <a:lvl2pPr marL="385763" indent="-193675" algn="l" rtl="0" eaLnBrk="0" fontAlgn="base" hangingPunct="0">
              <a:lnSpc>
                <a:spcPct val="90000"/>
              </a:lnSpc>
              <a:spcBef>
                <a:spcPts val="400"/>
              </a:spcBef>
              <a:spcAft>
                <a:spcPct val="0"/>
              </a:spcAft>
              <a:buSzPct val="80000"/>
              <a:buFont typeface="Arial" panose="020B0604020202020204" pitchFamily="34" charset="0"/>
              <a:buChar char="•"/>
              <a:defRPr sz="1600">
                <a:solidFill>
                  <a:schemeClr val="tx1"/>
                </a:solidFill>
                <a:latin typeface="+mn-lt"/>
                <a:ea typeface="+mn-ea"/>
                <a:cs typeface="+mn-cs"/>
                <a:sym typeface="Arial" panose="020B0604020202020204" pitchFamily="34" charset="0"/>
              </a:defRPr>
            </a:lvl2pPr>
            <a:lvl3pPr marL="54610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3pPr>
            <a:lvl4pPr marL="70485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4pPr>
            <a:lvl5pPr marL="773113" indent="-66675"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anose="020B0604020202020204"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a:buFont typeface="Wingdings" charset="2"/>
              <a:buChar char="Ø"/>
            </a:pPr>
            <a:r>
              <a:rPr lang="en-US" sz="1800" dirty="0">
                <a:latin typeface="Courier" charset="0"/>
                <a:ea typeface="Courier" charset="0"/>
                <a:cs typeface="Courier" charset="0"/>
              </a:rPr>
              <a:t> </a:t>
            </a:r>
            <a:r>
              <a:rPr lang="en-US" sz="1800" b="1" dirty="0">
                <a:latin typeface="Courier" charset="0"/>
                <a:ea typeface="Courier" charset="0"/>
                <a:cs typeface="Courier" charset="0"/>
              </a:rPr>
              <a:t>Tracked Flows </a:t>
            </a:r>
          </a:p>
          <a:p>
            <a:pPr lvl="1">
              <a:buFont typeface="Wingdings" pitchFamily="2" charset="2"/>
              <a:buChar char="v"/>
            </a:pPr>
            <a:r>
              <a:rPr lang="en-US" sz="1800" dirty="0">
                <a:latin typeface="Courier" pitchFamily="2" charset="0"/>
              </a:rPr>
              <a:t> Generated for all packets of a flow matching a ACL/Profile Table entry and configured to perform the postcard functionality.</a:t>
            </a:r>
          </a:p>
          <a:p>
            <a:pPr>
              <a:buFont typeface="Wingdings" pitchFamily="2" charset="2"/>
              <a:buChar char="Ø"/>
            </a:pPr>
            <a:r>
              <a:rPr lang="en-US" sz="1800" b="1" dirty="0">
                <a:latin typeface="Courier" pitchFamily="2" charset="0"/>
                <a:ea typeface="Courier" charset="0"/>
                <a:cs typeface="Courier" charset="0"/>
              </a:rPr>
              <a:t> Dropped Packets</a:t>
            </a:r>
          </a:p>
          <a:p>
            <a:pPr lvl="1">
              <a:buFont typeface="Wingdings" pitchFamily="2" charset="2"/>
              <a:buChar char="v"/>
            </a:pPr>
            <a:r>
              <a:rPr lang="en-US" sz="1800" dirty="0">
                <a:latin typeface="Courier" pitchFamily="2" charset="0"/>
              </a:rPr>
              <a:t> Generated for all dropped packets of a flow matching a ACL/Profile Table entry. </a:t>
            </a:r>
          </a:p>
          <a:p>
            <a:pPr lvl="1">
              <a:buFont typeface="Wingdings" pitchFamily="2" charset="2"/>
              <a:buChar char="v"/>
            </a:pPr>
            <a:r>
              <a:rPr lang="en-US" sz="1800" dirty="0">
                <a:latin typeface="Courier" pitchFamily="2" charset="0"/>
              </a:rPr>
              <a:t> This provides visibility into the impact of packet drops on user traffic.</a:t>
            </a:r>
          </a:p>
          <a:p>
            <a:pPr>
              <a:buFont typeface="Wingdings" pitchFamily="2" charset="2"/>
              <a:buChar char="Ø"/>
            </a:pPr>
            <a:r>
              <a:rPr lang="en-US" sz="1800" b="1" dirty="0">
                <a:latin typeface="Courier" pitchFamily="2" charset="0"/>
              </a:rPr>
              <a:t> Congested Queues</a:t>
            </a:r>
          </a:p>
          <a:p>
            <a:pPr lvl="1">
              <a:buFont typeface="Wingdings" pitchFamily="2" charset="2"/>
              <a:buChar char="v"/>
            </a:pPr>
            <a:r>
              <a:rPr lang="en-US" sz="1800" dirty="0">
                <a:latin typeface="Courier" pitchFamily="2" charset="0"/>
              </a:rPr>
              <a:t> Generated for traffic entering a specific queue during a period of queue congestion. </a:t>
            </a:r>
          </a:p>
          <a:p>
            <a:pPr lvl="1">
              <a:buFont typeface="Wingdings" pitchFamily="2" charset="2"/>
              <a:buChar char="v"/>
            </a:pPr>
            <a:r>
              <a:rPr lang="en-US" sz="1800" dirty="0">
                <a:latin typeface="Courier" pitchFamily="2" charset="0"/>
              </a:rPr>
              <a:t> This provides visibility into the traffic causing and prolonging queue congestion</a:t>
            </a:r>
          </a:p>
          <a:p>
            <a:pPr lvl="1">
              <a:buFont typeface="Wingdings" pitchFamily="2" charset="2"/>
              <a:buChar char="v"/>
            </a:pPr>
            <a:r>
              <a:rPr lang="en-US" sz="1800" dirty="0">
                <a:latin typeface="Courier" pitchFamily="2" charset="0"/>
              </a:rPr>
              <a:t> Enables the detection and “re-play” of a short microburst</a:t>
            </a:r>
          </a:p>
          <a:p>
            <a:pPr>
              <a:buFont typeface="Wingdings" pitchFamily="2" charset="2"/>
              <a:buChar char="Ø"/>
            </a:pPr>
            <a:r>
              <a:rPr lang="en-US" sz="1800" dirty="0">
                <a:latin typeface="Courier" pitchFamily="2" charset="0"/>
              </a:rPr>
              <a:t> The reports include local switch metadata only.</a:t>
            </a:r>
          </a:p>
          <a:p>
            <a:pPr>
              <a:buFont typeface="Wingdings" pitchFamily="2" charset="2"/>
              <a:buChar char="Ø"/>
            </a:pPr>
            <a:r>
              <a:rPr lang="en-US" sz="1800" dirty="0">
                <a:latin typeface="Courier" pitchFamily="2" charset="0"/>
              </a:rPr>
              <a:t> The reports shall include the original packet header for collector to be able correlate various reports.</a:t>
            </a:r>
          </a:p>
          <a:p>
            <a:pPr>
              <a:buFont typeface="Wingdings" pitchFamily="2" charset="2"/>
              <a:buChar char="Ø"/>
            </a:pPr>
            <a:endParaRPr lang="en-US" sz="1800" dirty="0">
              <a:latin typeface="Courier" pitchFamily="2" charset="0"/>
            </a:endParaRPr>
          </a:p>
          <a:p>
            <a:pPr lvl="1">
              <a:buFont typeface="Wingdings" pitchFamily="2" charset="2"/>
              <a:buChar char="v"/>
            </a:pPr>
            <a:endParaRPr lang="en-US" sz="1800" dirty="0">
              <a:latin typeface="Courier" pitchFamily="2" charset="0"/>
            </a:endParaRPr>
          </a:p>
          <a:p>
            <a:pPr>
              <a:buFont typeface="Wingdings" charset="2"/>
              <a:buChar char="Ø"/>
            </a:pPr>
            <a:endParaRPr lang="en-US" sz="1800" dirty="0">
              <a:latin typeface="Courier" pitchFamily="2" charset="0"/>
              <a:ea typeface="Courier" charset="0"/>
              <a:cs typeface="Courier" charset="0"/>
            </a:endParaRPr>
          </a:p>
        </p:txBody>
      </p:sp>
    </p:spTree>
    <p:extLst>
      <p:ext uri="{BB962C8B-B14F-4D97-AF65-F5344CB8AC3E}">
        <p14:creationId xmlns:p14="http://schemas.microsoft.com/office/powerpoint/2010/main" val="173219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latin typeface="Courier" charset="0"/>
                <a:ea typeface="Courier" charset="0"/>
                <a:cs typeface="Courier" charset="0"/>
              </a:rPr>
              <a:t>Transport of Telemetry Reports</a:t>
            </a:r>
            <a:endParaRPr lang="en-US" sz="3600" dirty="0"/>
          </a:p>
        </p:txBody>
      </p:sp>
      <p:sp>
        <p:nvSpPr>
          <p:cNvPr id="6" name="Content Placeholder 4"/>
          <p:cNvSpPr txBox="1">
            <a:spLocks/>
          </p:cNvSpPr>
          <p:nvPr/>
        </p:nvSpPr>
        <p:spPr bwMode="auto">
          <a:xfrm>
            <a:off x="543720" y="1312505"/>
            <a:ext cx="11010232" cy="50781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187325" indent="-185738" algn="l" rtl="0" eaLnBrk="0" fontAlgn="base" hangingPunct="0">
              <a:lnSpc>
                <a:spcPct val="90000"/>
              </a:lnSpc>
              <a:spcBef>
                <a:spcPts val="1200"/>
              </a:spcBef>
              <a:spcAft>
                <a:spcPct val="0"/>
              </a:spcAft>
              <a:buSzPct val="80000"/>
              <a:buFont typeface="Arial" panose="020B0604020202020204" pitchFamily="34" charset="0"/>
              <a:buChar char="•"/>
              <a:defRPr>
                <a:solidFill>
                  <a:schemeClr val="tx1"/>
                </a:solidFill>
                <a:latin typeface="+mn-lt"/>
                <a:ea typeface="+mn-ea"/>
                <a:cs typeface="+mn-cs"/>
                <a:sym typeface="Arial" panose="020B0604020202020204" pitchFamily="34" charset="0"/>
              </a:defRPr>
            </a:lvl1pPr>
            <a:lvl2pPr marL="385763" indent="-193675" algn="l" rtl="0" eaLnBrk="0" fontAlgn="base" hangingPunct="0">
              <a:lnSpc>
                <a:spcPct val="90000"/>
              </a:lnSpc>
              <a:spcBef>
                <a:spcPts val="400"/>
              </a:spcBef>
              <a:spcAft>
                <a:spcPct val="0"/>
              </a:spcAft>
              <a:buSzPct val="80000"/>
              <a:buFont typeface="Arial" panose="020B0604020202020204" pitchFamily="34" charset="0"/>
              <a:buChar char="•"/>
              <a:defRPr sz="1600">
                <a:solidFill>
                  <a:schemeClr val="tx1"/>
                </a:solidFill>
                <a:latin typeface="+mn-lt"/>
                <a:ea typeface="+mn-ea"/>
                <a:cs typeface="+mn-cs"/>
                <a:sym typeface="Arial" panose="020B0604020202020204" pitchFamily="34" charset="0"/>
              </a:defRPr>
            </a:lvl2pPr>
            <a:lvl3pPr marL="54610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3pPr>
            <a:lvl4pPr marL="70485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4pPr>
            <a:lvl5pPr marL="773113" indent="-66675"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anose="020B0604020202020204"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a:buFont typeface="Wingdings" charset="2"/>
              <a:buChar char="Ø"/>
            </a:pPr>
            <a:r>
              <a:rPr lang="en-US" sz="1800" dirty="0">
                <a:latin typeface="Courier" charset="0"/>
                <a:ea typeface="Courier" charset="0"/>
                <a:cs typeface="Courier" charset="0"/>
              </a:rPr>
              <a:t>UDP Encapsulation</a:t>
            </a:r>
          </a:p>
          <a:p>
            <a:pPr>
              <a:buFont typeface="Wingdings" charset="2"/>
              <a:buChar char="Ø"/>
            </a:pPr>
            <a:r>
              <a:rPr lang="en-US" sz="1800" dirty="0">
                <a:latin typeface="Courier" charset="0"/>
                <a:ea typeface="Courier" charset="0"/>
                <a:cs typeface="Courier" charset="0"/>
              </a:rPr>
              <a:t>Any outer encapsulation, not specified and user defined.</a:t>
            </a:r>
          </a:p>
          <a:p>
            <a:pPr>
              <a:buFont typeface="Wingdings" charset="2"/>
              <a:buChar char="Ø"/>
            </a:pPr>
            <a:endParaRPr lang="en-US" sz="1800" dirty="0">
              <a:latin typeface="Courier" charset="0"/>
              <a:ea typeface="Courier" charset="0"/>
              <a:cs typeface="Courier" charset="0"/>
            </a:endParaRPr>
          </a:p>
          <a:p>
            <a:pPr>
              <a:buFont typeface="Wingdings" charset="2"/>
              <a:buChar char="Ø"/>
            </a:pPr>
            <a:endParaRPr lang="en-US" sz="1800" dirty="0">
              <a:latin typeface="Courier" charset="0"/>
              <a:ea typeface="Courier" charset="0"/>
              <a:cs typeface="Courier" charset="0"/>
            </a:endParaRPr>
          </a:p>
          <a:p>
            <a:pPr>
              <a:buFont typeface="Wingdings" charset="2"/>
              <a:buChar char="Ø"/>
            </a:pPr>
            <a:endParaRPr lang="en-US" sz="1800" dirty="0">
              <a:latin typeface="Courier" charset="0"/>
              <a:ea typeface="Courier" charset="0"/>
              <a:cs typeface="Courier" charset="0"/>
            </a:endParaRPr>
          </a:p>
          <a:p>
            <a:pPr>
              <a:buFont typeface="Wingdings" charset="2"/>
              <a:buChar char="Ø"/>
            </a:pPr>
            <a:endParaRPr lang="en-US" sz="1800" dirty="0">
              <a:latin typeface="Courier" charset="0"/>
              <a:ea typeface="Courier" charset="0"/>
              <a:cs typeface="Courier" charset="0"/>
            </a:endParaRPr>
          </a:p>
          <a:p>
            <a:pPr>
              <a:buFont typeface="Wingdings" charset="2"/>
              <a:buChar char="Ø"/>
            </a:pPr>
            <a:endParaRPr lang="en-US" sz="1800" dirty="0">
              <a:latin typeface="Courier" charset="0"/>
              <a:ea typeface="Courier" charset="0"/>
              <a:cs typeface="Courier" charset="0"/>
            </a:endParaRPr>
          </a:p>
          <a:p>
            <a:pPr>
              <a:buFont typeface="Wingdings" charset="2"/>
              <a:buChar char="Ø"/>
            </a:pPr>
            <a:endParaRPr lang="en-US" sz="1800" dirty="0">
              <a:latin typeface="Courier" charset="0"/>
              <a:ea typeface="Courier" charset="0"/>
              <a:cs typeface="Courier" charset="0"/>
            </a:endParaRPr>
          </a:p>
          <a:p>
            <a:pPr>
              <a:buFont typeface="Wingdings" charset="2"/>
              <a:buChar char="Ø"/>
            </a:pPr>
            <a:r>
              <a:rPr lang="en-US" sz="1800" dirty="0">
                <a:latin typeface="Courier" charset="0"/>
                <a:ea typeface="Courier" charset="0"/>
                <a:cs typeface="Courier" charset="0"/>
              </a:rPr>
              <a:t>Source Port is optional. May be used to carry flow entropy (hash of the inner 5-tuple). Otherwise, it should be set to 0.</a:t>
            </a:r>
          </a:p>
          <a:p>
            <a:pPr>
              <a:buFont typeface="Wingdings" charset="2"/>
              <a:buChar char="Ø"/>
            </a:pPr>
            <a:r>
              <a:rPr lang="en-US" sz="1800" dirty="0">
                <a:latin typeface="Courier" charset="0"/>
                <a:ea typeface="Courier" charset="0"/>
                <a:cs typeface="Courier" charset="0"/>
              </a:rPr>
              <a:t>Destination Port is user configurable. Same destination port value for all telemetry reports in a deployment. </a:t>
            </a:r>
          </a:p>
        </p:txBody>
      </p:sp>
      <p:sp>
        <p:nvSpPr>
          <p:cNvPr id="4" name="Rectangle 3">
            <a:extLst>
              <a:ext uri="{FF2B5EF4-FFF2-40B4-BE49-F238E27FC236}">
                <a16:creationId xmlns:a16="http://schemas.microsoft.com/office/drawing/2014/main" id="{81D45959-BC01-5E45-9717-3F841193A54F}"/>
              </a:ext>
            </a:extLst>
          </p:cNvPr>
          <p:cNvSpPr/>
          <p:nvPr/>
        </p:nvSpPr>
        <p:spPr>
          <a:xfrm>
            <a:off x="2263220" y="2333081"/>
            <a:ext cx="6258560" cy="1815882"/>
          </a:xfrm>
          <a:prstGeom prst="rect">
            <a:avLst/>
          </a:prstGeom>
        </p:spPr>
        <p:txBody>
          <a:bodyPr wrap="square">
            <a:spAutoFit/>
          </a:bodyPr>
          <a:lstStyle/>
          <a:p>
            <a:pPr marL="0" marR="0">
              <a:spcBef>
                <a:spcPts val="0"/>
              </a:spcBef>
              <a:spcAft>
                <a:spcPts val="0"/>
              </a:spcAft>
            </a:pPr>
            <a:r>
              <a:rPr lang="en-US" sz="1600" kern="1200" dirty="0">
                <a:solidFill>
                  <a:srgbClr val="000000"/>
                </a:solidFill>
                <a:effectLst/>
                <a:latin typeface="Courier" charset="0"/>
                <a:ea typeface="Courier" charset="0"/>
                <a:cs typeface="Courier" charset="0"/>
              </a:rPr>
              <a:t>Telemetry Report UDP Header (8 octets)</a:t>
            </a:r>
            <a:endParaRPr lang="en-US" sz="1200" dirty="0">
              <a:effectLst/>
              <a:latin typeface="Times New Roman" charset="0"/>
              <a:ea typeface="Times New Roman" charset="0"/>
            </a:endParaRPr>
          </a:p>
          <a:p>
            <a:pPr marL="0" marR="0">
              <a:spcBef>
                <a:spcPts val="0"/>
              </a:spcBef>
              <a:spcAft>
                <a:spcPts val="0"/>
              </a:spcAft>
            </a:pPr>
            <a:r>
              <a:rPr lang="en-US" sz="1200" kern="1200" dirty="0">
                <a:solidFill>
                  <a:srgbClr val="000000"/>
                </a:solidFill>
                <a:effectLst/>
                <a:latin typeface="Courier" charset="0"/>
                <a:ea typeface="Courier" charset="0"/>
                <a:cs typeface="Courier" charset="0"/>
              </a:rPr>
              <a:t> </a:t>
            </a:r>
            <a:endParaRPr lang="en-US" sz="1200" dirty="0">
              <a:effectLst/>
              <a:latin typeface="Times New Roman" charset="0"/>
              <a:ea typeface="Times New Roman" charset="0"/>
            </a:endParaRPr>
          </a:p>
          <a:p>
            <a:pPr marL="0" marR="0">
              <a:spcBef>
                <a:spcPts val="0"/>
              </a:spcBef>
              <a:spcAft>
                <a:spcPts val="0"/>
              </a:spcAft>
            </a:pPr>
            <a:r>
              <a:rPr lang="en-US" sz="1200" kern="1200" dirty="0">
                <a:solidFill>
                  <a:srgbClr val="000000"/>
                </a:solidFill>
                <a:effectLst/>
                <a:latin typeface="Courier" charset="0"/>
                <a:ea typeface="Courier" charset="0"/>
                <a:cs typeface="Courier" charset="0"/>
              </a:rPr>
              <a:t> 0                   1                   2                   3</a:t>
            </a:r>
            <a:endParaRPr lang="en-US" sz="1200" dirty="0">
              <a:effectLst/>
              <a:latin typeface="Times New Roman" charset="0"/>
              <a:ea typeface="Times New Roman" charset="0"/>
            </a:endParaRPr>
          </a:p>
          <a:p>
            <a:pPr marL="0" marR="0">
              <a:spcBef>
                <a:spcPts val="0"/>
              </a:spcBef>
              <a:spcAft>
                <a:spcPts val="0"/>
              </a:spcAft>
            </a:pPr>
            <a:r>
              <a:rPr lang="en-US" sz="1200" kern="1200" dirty="0">
                <a:solidFill>
                  <a:srgbClr val="000000"/>
                </a:solidFill>
                <a:effectLst/>
                <a:latin typeface="Courier" charset="0"/>
                <a:ea typeface="Courier" charset="0"/>
                <a:cs typeface="Courier" charset="0"/>
              </a:rPr>
              <a:t> 0 1 2 3 4 5 6 7 8 9 0 1 2 3 4 5 6 7 8 9 0 1 2 3 4 5 6 7 8 9 0 1</a:t>
            </a:r>
            <a:endParaRPr lang="en-US" sz="1200" dirty="0">
              <a:effectLst/>
              <a:latin typeface="Times New Roman" charset="0"/>
              <a:ea typeface="Times New Roman" charset="0"/>
            </a:endParaRPr>
          </a:p>
          <a:p>
            <a:pPr marL="0" marR="0">
              <a:spcBef>
                <a:spcPts val="0"/>
              </a:spcBef>
              <a:spcAft>
                <a:spcPts val="0"/>
              </a:spcAft>
            </a:pPr>
            <a:r>
              <a:rPr lang="en-US" sz="1200" kern="1200" dirty="0">
                <a:solidFill>
                  <a:srgbClr val="000000"/>
                </a:solidFill>
                <a:effectLst/>
                <a:latin typeface="Courier" charset="0"/>
                <a:ea typeface="Courier" charset="0"/>
                <a:cs typeface="Courier" charset="0"/>
              </a:rPr>
              <a:t>+-+-+-+-+-+-+-+-+-+-+-+-+-+-+-+-+-+-+-+-+-+-+-+-+-+-+-+-+-+-+-+-+</a:t>
            </a:r>
            <a:endParaRPr lang="en-US" sz="1200" dirty="0">
              <a:effectLst/>
              <a:latin typeface="Times New Roman" charset="0"/>
              <a:ea typeface="Times New Roman" charset="0"/>
            </a:endParaRPr>
          </a:p>
          <a:p>
            <a:pPr marL="0" marR="0">
              <a:spcBef>
                <a:spcPts val="0"/>
              </a:spcBef>
              <a:spcAft>
                <a:spcPts val="0"/>
              </a:spcAft>
            </a:pPr>
            <a:r>
              <a:rPr lang="en-US" sz="1200" kern="1200" dirty="0">
                <a:solidFill>
                  <a:srgbClr val="000000"/>
                </a:solidFill>
                <a:effectLst/>
                <a:latin typeface="Courier" charset="0"/>
                <a:ea typeface="Courier" charset="0"/>
                <a:cs typeface="Courier" charset="0"/>
              </a:rPr>
              <a:t>|           Source Port         |        Destination Port       |</a:t>
            </a:r>
            <a:endParaRPr lang="en-US" sz="1200" dirty="0">
              <a:effectLst/>
              <a:latin typeface="Times New Roman" charset="0"/>
              <a:ea typeface="Times New Roman" charset="0"/>
            </a:endParaRPr>
          </a:p>
          <a:p>
            <a:pPr marL="0" marR="0">
              <a:spcBef>
                <a:spcPts val="0"/>
              </a:spcBef>
              <a:spcAft>
                <a:spcPts val="0"/>
              </a:spcAft>
            </a:pPr>
            <a:r>
              <a:rPr lang="en-US" sz="1200" kern="1200" dirty="0">
                <a:solidFill>
                  <a:srgbClr val="000000"/>
                </a:solidFill>
                <a:effectLst/>
                <a:latin typeface="Courier" charset="0"/>
                <a:ea typeface="Courier" charset="0"/>
                <a:cs typeface="Courier" charset="0"/>
              </a:rPr>
              <a:t>+-+-+-+-+-+-+-+-+-+-+-+-+-+-+-+-+-+-+-+-+-+-+-+-+-+-+-+-+-+-+-+-+</a:t>
            </a:r>
            <a:endParaRPr lang="en-US" sz="1200" dirty="0">
              <a:effectLst/>
              <a:latin typeface="Times New Roman" charset="0"/>
              <a:ea typeface="Times New Roman" charset="0"/>
            </a:endParaRPr>
          </a:p>
          <a:p>
            <a:r>
              <a:rPr lang="en-US" sz="1200" kern="1200" dirty="0">
                <a:solidFill>
                  <a:srgbClr val="000000"/>
                </a:solidFill>
                <a:effectLst/>
                <a:latin typeface="Courier" charset="0"/>
                <a:ea typeface="Courier" charset="0"/>
                <a:cs typeface="Courier" charset="0"/>
              </a:rPr>
              <a:t>|              </a:t>
            </a:r>
            <a:r>
              <a:rPr lang="en-US" sz="1200" dirty="0">
                <a:solidFill>
                  <a:srgbClr val="000000"/>
                </a:solidFill>
                <a:latin typeface="Courier" charset="0"/>
                <a:ea typeface="Courier" charset="0"/>
                <a:cs typeface="Courier" charset="0"/>
              </a:rPr>
              <a:t>Length           |            Checksum           |</a:t>
            </a:r>
            <a:endParaRPr lang="en-US" sz="1200" dirty="0">
              <a:effectLst/>
              <a:latin typeface="Times New Roman" charset="0"/>
              <a:ea typeface="Times New Roman" charset="0"/>
            </a:endParaRPr>
          </a:p>
          <a:p>
            <a:pPr marL="0" marR="0">
              <a:spcBef>
                <a:spcPts val="0"/>
              </a:spcBef>
              <a:spcAft>
                <a:spcPts val="0"/>
              </a:spcAft>
            </a:pPr>
            <a:r>
              <a:rPr lang="en-US" sz="1200" kern="1200" dirty="0">
                <a:solidFill>
                  <a:srgbClr val="000000"/>
                </a:solidFill>
                <a:effectLst/>
                <a:latin typeface="Courier" charset="0"/>
                <a:ea typeface="Courier" charset="0"/>
                <a:cs typeface="Courier" charset="0"/>
              </a:rPr>
              <a:t>+-+-+-+-+-+-+-+-+-+-+-+-+-+-+-+-+-+-+-+-+-+-+-+-+-+-+-+-+-+-+-+-+</a:t>
            </a:r>
            <a:endParaRPr lang="en-US" sz="1200" dirty="0">
              <a:effectLst/>
              <a:latin typeface="Times New Roman" charset="0"/>
              <a:ea typeface="Times New Roman" charset="0"/>
            </a:endParaRPr>
          </a:p>
        </p:txBody>
      </p:sp>
    </p:spTree>
    <p:extLst>
      <p:ext uri="{BB962C8B-B14F-4D97-AF65-F5344CB8AC3E}">
        <p14:creationId xmlns:p14="http://schemas.microsoft.com/office/powerpoint/2010/main" val="555943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Courier" charset="0"/>
                <a:ea typeface="Courier" charset="0"/>
                <a:cs typeface="Courier" charset="0"/>
              </a:rPr>
              <a:t>Telemetry Report Header – Ver 2.0</a:t>
            </a:r>
            <a:endParaRPr lang="en-US" sz="3200" dirty="0"/>
          </a:p>
        </p:txBody>
      </p:sp>
      <p:sp>
        <p:nvSpPr>
          <p:cNvPr id="4" name="Rectangle 3"/>
          <p:cNvSpPr/>
          <p:nvPr/>
        </p:nvSpPr>
        <p:spPr>
          <a:xfrm>
            <a:off x="596661" y="1554897"/>
            <a:ext cx="5838863" cy="5016758"/>
          </a:xfrm>
          <a:prstGeom prst="rect">
            <a:avLst/>
          </a:prstGeom>
        </p:spPr>
        <p:txBody>
          <a:bodyPr wrap="square">
            <a:spAutoFit/>
          </a:bodyPr>
          <a:lstStyle/>
          <a:p>
            <a:pPr marL="0" marR="0">
              <a:spcBef>
                <a:spcPts val="0"/>
              </a:spcBef>
              <a:spcAft>
                <a:spcPts val="0"/>
              </a:spcAft>
            </a:pPr>
            <a:r>
              <a:rPr lang="en-US" sz="1200" kern="1200" dirty="0">
                <a:solidFill>
                  <a:srgbClr val="000000"/>
                </a:solidFill>
                <a:effectLst/>
                <a:latin typeface="Courier" pitchFamily="2" charset="0"/>
                <a:ea typeface="Courier" charset="0"/>
                <a:cs typeface="Courier" charset="0"/>
              </a:rPr>
              <a:t>Telemetry Report Header (16+ Octets)</a:t>
            </a:r>
            <a:endParaRPr lang="en-US" sz="1200" dirty="0">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 </a:t>
            </a:r>
            <a:endParaRPr lang="en-US" sz="1100" dirty="0">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 0                   1                   2                   3</a:t>
            </a:r>
            <a:endParaRPr lang="en-US" sz="1100" dirty="0">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 0 1 2 3 4 5 6 7 8 9 0 1 2 3 4 5 6 7 8 9 0 1 2 3 4 5 6 7 8 9 0 1</a:t>
            </a:r>
            <a:endParaRPr lang="en-US" sz="1100" dirty="0">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a:t>
            </a:r>
            <a:endParaRPr lang="en-US" sz="1100" dirty="0">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Ver = 2|Length |</a:t>
            </a:r>
            <a:r>
              <a:rPr lang="en-US" sz="1100" b="1" kern="1200" dirty="0" err="1">
                <a:solidFill>
                  <a:srgbClr val="FF0000"/>
                </a:solidFill>
                <a:effectLst/>
                <a:latin typeface="Courier" pitchFamily="2" charset="0"/>
                <a:ea typeface="Courier" charset="0"/>
                <a:cs typeface="Courier" charset="0"/>
              </a:rPr>
              <a:t>NProt</a:t>
            </a:r>
            <a:r>
              <a:rPr lang="en-US" sz="1100" kern="1200" dirty="0">
                <a:solidFill>
                  <a:srgbClr val="000000"/>
                </a:solidFill>
                <a:effectLst/>
                <a:latin typeface="Courier" pitchFamily="2" charset="0"/>
                <a:ea typeface="Courier" charset="0"/>
                <a:cs typeface="Courier" charset="0"/>
              </a:rPr>
              <a:t>| </a:t>
            </a:r>
            <a:r>
              <a:rPr lang="en-US" sz="1100" kern="1200" dirty="0" err="1">
                <a:solidFill>
                  <a:srgbClr val="000000"/>
                </a:solidFill>
                <a:effectLst/>
                <a:latin typeface="Courier" pitchFamily="2" charset="0"/>
                <a:ea typeface="Courier" charset="0"/>
                <a:cs typeface="Courier" charset="0"/>
              </a:rPr>
              <a:t>RepMdBits</a:t>
            </a:r>
            <a:r>
              <a:rPr lang="en-US" sz="1100" kern="1200" dirty="0">
                <a:solidFill>
                  <a:srgbClr val="000000"/>
                </a:solidFill>
                <a:effectLst/>
                <a:latin typeface="Courier" pitchFamily="2" charset="0"/>
                <a:ea typeface="Courier" charset="0"/>
                <a:cs typeface="Courier" charset="0"/>
              </a:rPr>
              <a:t>   |Reserved |D|Q|F|  </a:t>
            </a:r>
            <a:r>
              <a:rPr lang="en-US" sz="1100" kern="1200" dirty="0" err="1">
                <a:solidFill>
                  <a:srgbClr val="000000"/>
                </a:solidFill>
                <a:effectLst/>
                <a:latin typeface="Courier" pitchFamily="2" charset="0"/>
                <a:ea typeface="Courier" charset="0"/>
                <a:cs typeface="Courier" charset="0"/>
              </a:rPr>
              <a:t>hw_id</a:t>
            </a:r>
            <a:r>
              <a:rPr lang="en-US" sz="1100" kern="1200" dirty="0">
                <a:solidFill>
                  <a:srgbClr val="000000"/>
                </a:solidFill>
                <a:effectLst/>
                <a:latin typeface="Courier" pitchFamily="2" charset="0"/>
                <a:ea typeface="Courier" charset="0"/>
                <a:cs typeface="Courier" charset="0"/>
              </a:rPr>
              <a:t>    |</a:t>
            </a:r>
            <a:endParaRPr lang="en-US" sz="1100" dirty="0">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a:t>
            </a:r>
            <a:endParaRPr lang="en-US" sz="1100" dirty="0">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                          Switch ID                            |</a:t>
            </a:r>
            <a:endParaRPr lang="en-US" sz="1100" dirty="0">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a:t>
            </a:r>
            <a:endParaRPr lang="en-US" sz="1100" dirty="0">
              <a:effectLst/>
              <a:latin typeface="Courier" pitchFamily="2" charset="0"/>
              <a:ea typeface="Times New Roman" charset="0"/>
            </a:endParaRPr>
          </a:p>
          <a:p>
            <a:r>
              <a:rPr lang="en-US" sz="1100" dirty="0">
                <a:effectLst/>
                <a:latin typeface="Courier" pitchFamily="2" charset="0"/>
                <a:ea typeface="Times New Roman" charset="0"/>
              </a:rPr>
              <a:t>|                      </a:t>
            </a:r>
            <a:r>
              <a:rPr lang="en-US" sz="1100" dirty="0">
                <a:solidFill>
                  <a:srgbClr val="000000"/>
                </a:solidFill>
                <a:latin typeface="Courier" pitchFamily="2" charset="0"/>
                <a:ea typeface="Courier" charset="0"/>
                <a:cs typeface="Courier" charset="0"/>
              </a:rPr>
              <a:t>Sequence Number </a:t>
            </a:r>
            <a:r>
              <a:rPr lang="en-US" sz="1100" kern="1200" dirty="0">
                <a:solidFill>
                  <a:srgbClr val="000000"/>
                </a:solidFill>
                <a:effectLst/>
                <a:latin typeface="Courier" pitchFamily="2" charset="0"/>
                <a:ea typeface="Courier" charset="0"/>
                <a:cs typeface="Courier" charset="0"/>
              </a:rPr>
              <a:t>	                     |                      </a:t>
            </a:r>
            <a:endParaRPr lang="en-US" sz="1100" dirty="0">
              <a:effectLst/>
              <a:latin typeface="Courier" pitchFamily="2" charset="0"/>
              <a:ea typeface="Times New Roman" charset="0"/>
            </a:endParaRPr>
          </a:p>
          <a:p>
            <a:pPr marL="0" marR="0">
              <a:spcBef>
                <a:spcPts val="0"/>
              </a:spcBef>
              <a:spcAft>
                <a:spcPts val="0"/>
              </a:spcAft>
            </a:pP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p>
          <a:p>
            <a:r>
              <a:rPr lang="en-US" sz="1100" dirty="0">
                <a:solidFill>
                  <a:srgbClr val="000000"/>
                </a:solidFill>
                <a:latin typeface="Courier" pitchFamily="2" charset="0"/>
                <a:ea typeface="Courier" charset="0"/>
                <a:cs typeface="Courier" charset="0"/>
              </a:rPr>
              <a:t>|                      Ingress Timestamp                        |</a:t>
            </a:r>
            <a:endParaRPr lang="en-US" sz="1100" dirty="0">
              <a:latin typeface="Courier" pitchFamily="2" charset="0"/>
              <a:ea typeface="Times New Roman" charset="0"/>
            </a:endParaRPr>
          </a:p>
          <a:p>
            <a:r>
              <a:rPr lang="en-US" sz="1100" dirty="0">
                <a:solidFill>
                  <a:srgbClr val="000000"/>
                </a:solidFill>
                <a:latin typeface="Courier" pitchFamily="2" charset="0"/>
                <a:ea typeface="Courier" charset="0"/>
                <a:cs typeface="Courier" charset="0"/>
              </a:rPr>
              <a:t>+-+-+-+-+-+-+-+-+-+-+-+-+-+-+-+-+-+-+-+-+-+-+-+-+-+-+-+-+-+-+-+-+</a:t>
            </a:r>
            <a:endParaRPr lang="en-US" sz="1100" dirty="0">
              <a:latin typeface="Courier" pitchFamily="2" charset="0"/>
              <a:ea typeface="Times New Roman" charset="0"/>
            </a:endParaRPr>
          </a:p>
          <a:p>
            <a:r>
              <a:rPr lang="en-US" sz="1100" dirty="0">
                <a:latin typeface="Courier" pitchFamily="2" charset="0"/>
                <a:ea typeface="Times New Roman" charset="0"/>
              </a:rPr>
              <a:t>|                   </a:t>
            </a:r>
            <a:r>
              <a:rPr lang="en-US" sz="1100" dirty="0">
                <a:solidFill>
                  <a:srgbClr val="000000"/>
                </a:solidFill>
                <a:latin typeface="Courier" pitchFamily="2" charset="0"/>
                <a:ea typeface="Courier" charset="0"/>
                <a:cs typeface="Courier" charset="0"/>
              </a:rPr>
              <a:t>Variable Optional Metadata                  |                      </a:t>
            </a:r>
            <a:endParaRPr lang="en-US" sz="1100" dirty="0">
              <a:latin typeface="Courier" pitchFamily="2" charset="0"/>
              <a:ea typeface="Times New Roman" charset="0"/>
            </a:endParaRPr>
          </a:p>
          <a:p>
            <a:r>
              <a:rPr lang="en-US" sz="1100" dirty="0">
                <a:solidFill>
                  <a:srgbClr val="000000"/>
                </a:solidFill>
                <a:latin typeface="Courier" charset="0"/>
                <a:ea typeface="Courier" charset="0"/>
                <a:cs typeface="Courier" charset="0"/>
              </a:rPr>
              <a:t>+-+-+-+-+-+-+-+-+-+-+-+-+-+-+-+-+-+-+-+-+-+-+-+-+-+-+-+-+-+-+-+-+</a:t>
            </a:r>
            <a:endParaRPr lang="en-US" sz="1100" dirty="0">
              <a:latin typeface="Times New Roman" charset="0"/>
              <a:ea typeface="Times New Roman" charset="0"/>
            </a:endParaRPr>
          </a:p>
          <a:p>
            <a:r>
              <a:rPr lang="en-US" sz="1100" dirty="0">
                <a:solidFill>
                  <a:srgbClr val="000000"/>
                </a:solidFill>
                <a:latin typeface="Courier" charset="0"/>
                <a:ea typeface="Courier" charset="0"/>
                <a:cs typeface="Courier" charset="0"/>
              </a:rPr>
              <a:t>|</a:t>
            </a:r>
            <a:r>
              <a:rPr lang="en-US" sz="1100" dirty="0">
                <a:latin typeface="Courier" charset="0"/>
                <a:ea typeface="Courier" charset="0"/>
                <a:cs typeface="Courier" charset="0"/>
              </a:rPr>
              <a:t> </a:t>
            </a:r>
            <a:r>
              <a:rPr lang="en-US" sz="1100" dirty="0" err="1">
                <a:latin typeface="Courier" charset="0"/>
                <a:ea typeface="Courier" charset="0"/>
                <a:cs typeface="Courier" charset="0"/>
              </a:rPr>
              <a:t>Nprot</a:t>
            </a:r>
            <a:r>
              <a:rPr lang="en-US" sz="1100" dirty="0">
                <a:latin typeface="Courier" charset="0"/>
                <a:ea typeface="Courier" charset="0"/>
                <a:cs typeface="Courier" charset="0"/>
              </a:rPr>
              <a:t> </a:t>
            </a:r>
            <a:r>
              <a:rPr lang="en-US" sz="1100" dirty="0">
                <a:solidFill>
                  <a:srgbClr val="000000"/>
                </a:solidFill>
                <a:latin typeface="Courier" charset="0"/>
                <a:ea typeface="Courier" charset="0"/>
                <a:cs typeface="Courier" charset="0"/>
              </a:rPr>
              <a:t>|   </a:t>
            </a:r>
            <a:r>
              <a:rPr lang="en-US" sz="1100" dirty="0">
                <a:latin typeface="Courier" charset="0"/>
                <a:ea typeface="Courier" charset="0"/>
                <a:cs typeface="Courier" charset="0"/>
              </a:rPr>
              <a:t>Extension Length    </a:t>
            </a:r>
            <a:r>
              <a:rPr lang="en-US" sz="1100" dirty="0">
                <a:solidFill>
                  <a:srgbClr val="000000"/>
                </a:solidFill>
                <a:latin typeface="Courier" charset="0"/>
                <a:ea typeface="Courier" charset="0"/>
                <a:cs typeface="Courier" charset="0"/>
              </a:rPr>
              <a:t>|       </a:t>
            </a:r>
            <a:r>
              <a:rPr lang="en-US" sz="1100" dirty="0">
                <a:latin typeface="Courier" charset="0"/>
                <a:ea typeface="Courier" charset="0"/>
                <a:cs typeface="Courier" charset="0"/>
              </a:rPr>
              <a:t>Domain Specific ID      </a:t>
            </a:r>
            <a:r>
              <a:rPr lang="en-US" sz="1100" dirty="0">
                <a:solidFill>
                  <a:srgbClr val="000000"/>
                </a:solidFill>
                <a:latin typeface="Courier" charset="0"/>
                <a:ea typeface="Courier" charset="0"/>
                <a:cs typeface="Courier" charset="0"/>
              </a:rPr>
              <a:t>|</a:t>
            </a:r>
            <a:endParaRPr lang="en-US" sz="1100" dirty="0">
              <a:latin typeface="Times New Roman" charset="0"/>
              <a:ea typeface="Times New Roman" charset="0"/>
            </a:endParaRPr>
          </a:p>
          <a:p>
            <a:r>
              <a:rPr lang="en-US" sz="1100" dirty="0">
                <a:solidFill>
                  <a:srgbClr val="000000"/>
                </a:solidFill>
                <a:latin typeface="Courier" charset="0"/>
                <a:ea typeface="Courier" charset="0"/>
                <a:cs typeface="Courier" charset="0"/>
              </a:rPr>
              <a:t>+-+-+-+-+-+-+-+-+-+-+-+-+-+-+-+-+-+-+-+-+-+-+-+-+-+-+-+-+-+-+-+-+</a:t>
            </a:r>
            <a:endParaRPr lang="en-US" sz="1100" dirty="0">
              <a:latin typeface="Times New Roman" charset="0"/>
              <a:ea typeface="Times New Roman" charset="0"/>
            </a:endParaRPr>
          </a:p>
          <a:p>
            <a:r>
              <a:rPr lang="en-US" sz="1100" dirty="0">
                <a:latin typeface="Times New Roman" charset="0"/>
                <a:ea typeface="Times New Roman" charset="0"/>
              </a:rPr>
              <a:t>|                                                          </a:t>
            </a:r>
            <a:r>
              <a:rPr lang="en-US" sz="1100" b="1" dirty="0">
                <a:latin typeface="Times New Roman" charset="0"/>
                <a:ea typeface="Times New Roman" charset="0"/>
              </a:rPr>
              <a:t> </a:t>
            </a:r>
            <a:r>
              <a:rPr lang="en-US" sz="1100" b="1" dirty="0">
                <a:latin typeface="Courier" pitchFamily="2" charset="0"/>
                <a:ea typeface="Times New Roman" charset="0"/>
              </a:rPr>
              <a:t>Extensions </a:t>
            </a:r>
            <a:r>
              <a:rPr lang="en-US" sz="1100" dirty="0">
                <a:solidFill>
                  <a:srgbClr val="000000"/>
                </a:solidFill>
                <a:latin typeface="Courier" pitchFamily="2" charset="0"/>
                <a:ea typeface="Courier" charset="0"/>
                <a:cs typeface="Courier" charset="0"/>
              </a:rPr>
              <a:t>Data</a:t>
            </a:r>
            <a:r>
              <a:rPr lang="en-US" sz="1100" dirty="0">
                <a:solidFill>
                  <a:srgbClr val="000000"/>
                </a:solidFill>
                <a:latin typeface="Courier" charset="0"/>
                <a:ea typeface="Courier" charset="0"/>
                <a:cs typeface="Courier" charset="0"/>
              </a:rPr>
              <a:t>                        |                      </a:t>
            </a:r>
            <a:endParaRPr lang="en-US" sz="1100" dirty="0">
              <a:latin typeface="Times New Roman" charset="0"/>
              <a:ea typeface="Times New Roman" charset="0"/>
            </a:endParaRPr>
          </a:p>
          <a:p>
            <a:r>
              <a:rPr lang="en-US" sz="1100" dirty="0">
                <a:solidFill>
                  <a:srgbClr val="000000"/>
                </a:solidFill>
                <a:latin typeface="Courier" charset="0"/>
                <a:ea typeface="Courier" charset="0"/>
                <a:cs typeface="Courier" charset="0"/>
              </a:rPr>
              <a:t>+-+-+-+-+-+-+-+-+-+-+-+-+-+-+-+-+-+-+-+-+-+-+-+-+-+-+-+-+-+-+-+-+</a:t>
            </a:r>
            <a:endParaRPr lang="en-US" sz="1100" dirty="0">
              <a:latin typeface="Times New Roman" charset="0"/>
              <a:ea typeface="Times New Roman" charset="0"/>
            </a:endParaRPr>
          </a:p>
          <a:p>
            <a:r>
              <a:rPr lang="en-US" sz="1100" dirty="0">
                <a:latin typeface="Times New Roman" charset="0"/>
                <a:ea typeface="Times New Roman" charset="0"/>
              </a:rPr>
              <a:t>|                                                          </a:t>
            </a:r>
            <a:r>
              <a:rPr lang="en-US" sz="1100" b="1" dirty="0">
                <a:latin typeface="Times New Roman" charset="0"/>
                <a:ea typeface="Times New Roman" charset="0"/>
              </a:rPr>
              <a:t> </a:t>
            </a:r>
            <a:r>
              <a:rPr lang="en-US" sz="1100" b="1" dirty="0">
                <a:latin typeface="Courier" pitchFamily="2" charset="0"/>
                <a:ea typeface="Times New Roman" charset="0"/>
              </a:rPr>
              <a:t>Extensions </a:t>
            </a:r>
            <a:r>
              <a:rPr lang="en-US" sz="1100" dirty="0">
                <a:solidFill>
                  <a:srgbClr val="000000"/>
                </a:solidFill>
                <a:latin typeface="Courier" pitchFamily="2" charset="0"/>
                <a:ea typeface="Courier" charset="0"/>
                <a:cs typeface="Courier" charset="0"/>
              </a:rPr>
              <a:t>Data</a:t>
            </a:r>
            <a:r>
              <a:rPr lang="en-US" sz="1100" dirty="0">
                <a:solidFill>
                  <a:srgbClr val="000000"/>
                </a:solidFill>
                <a:latin typeface="Courier" charset="0"/>
                <a:ea typeface="Courier" charset="0"/>
                <a:cs typeface="Courier" charset="0"/>
              </a:rPr>
              <a:t>                        | +-+-+-+-+-+-+-+-+-+-+-+-+-+-+-+-+-+-+-+-+-+-+-+-+-+-+-+-+-+-+-+-+</a:t>
            </a:r>
            <a:endParaRPr lang="en-US" sz="1100" dirty="0">
              <a:latin typeface="Times New Roman" charset="0"/>
              <a:ea typeface="Times New Roman" charset="0"/>
            </a:endParaRPr>
          </a:p>
          <a:p>
            <a:r>
              <a:rPr lang="en-US" sz="1100" dirty="0">
                <a:solidFill>
                  <a:srgbClr val="000000"/>
                </a:solidFill>
                <a:latin typeface="Courier" charset="0"/>
                <a:ea typeface="Courier" charset="0"/>
                <a:cs typeface="Courier" charset="0"/>
              </a:rPr>
              <a:t>|                               .                               |</a:t>
            </a:r>
            <a:endParaRPr lang="en-US" sz="1100" dirty="0">
              <a:latin typeface="Times New Roman" charset="0"/>
              <a:ea typeface="Times New Roman" charset="0"/>
            </a:endParaRPr>
          </a:p>
          <a:p>
            <a:r>
              <a:rPr lang="en-US" sz="1100" dirty="0">
                <a:solidFill>
                  <a:srgbClr val="000000"/>
                </a:solidFill>
                <a:latin typeface="Courier" charset="0"/>
                <a:ea typeface="Courier" charset="0"/>
                <a:cs typeface="Courier" charset="0"/>
              </a:rPr>
              <a:t>+-+-+-+-+-+-+-+-+-+-+-+-+-+-+-+-+-+-+-+-+-+-+-+-+-+-+-+-+-+-+-+-+</a:t>
            </a:r>
            <a:endParaRPr lang="en-US" sz="1100" dirty="0">
              <a:latin typeface="Times New Roman" charset="0"/>
              <a:ea typeface="Times New Roman" charset="0"/>
            </a:endParaRPr>
          </a:p>
          <a:p>
            <a:r>
              <a:rPr lang="en-US" sz="1100" dirty="0">
                <a:solidFill>
                  <a:srgbClr val="000000"/>
                </a:solidFill>
                <a:latin typeface="Courier" charset="0"/>
                <a:ea typeface="Courier" charset="0"/>
                <a:cs typeface="Courier" charset="0"/>
              </a:rPr>
              <a:t>|                               .                       </a:t>
            </a:r>
            <a:endParaRPr lang="en-US" sz="1100" dirty="0">
              <a:latin typeface="Times New Roman" charset="0"/>
              <a:ea typeface="Times New Roman" charset="0"/>
            </a:endParaRPr>
          </a:p>
          <a:p>
            <a:r>
              <a:rPr lang="en-US" sz="1100" dirty="0">
                <a:solidFill>
                  <a:srgbClr val="000000"/>
                </a:solidFill>
                <a:latin typeface="Courier" charset="0"/>
                <a:ea typeface="Courier" charset="0"/>
                <a:cs typeface="Courier" charset="0"/>
              </a:rPr>
              <a:t>+-+-+-+-+-+-+-+-+-+-+-+-+-+-+-+-+-+-+-+-+-+-+-+-+-+-+-+-+-+-+-+-+</a:t>
            </a:r>
            <a:endParaRPr lang="en-US" sz="1100" dirty="0">
              <a:latin typeface="Times New Roman" charset="0"/>
              <a:ea typeface="Times New Roman" charset="0"/>
            </a:endParaRPr>
          </a:p>
          <a:p>
            <a:r>
              <a:rPr lang="en-US" sz="1100" dirty="0">
                <a:solidFill>
                  <a:srgbClr val="000000"/>
                </a:solidFill>
                <a:latin typeface="Courier" charset="0"/>
                <a:ea typeface="Courier" charset="0"/>
                <a:cs typeface="Courier" charset="0"/>
              </a:rPr>
              <a:t>|                               .                               | +-+-+-+-+-+-+-+-+-+-+-+-+-+-+-+-+-+-+-+-+-+-+-+-+-+-+-+-+-+-+-+-+</a:t>
            </a:r>
            <a:endParaRPr lang="en-US" sz="1100" dirty="0">
              <a:latin typeface="Times New Roman" charset="0"/>
              <a:ea typeface="Times New Roman" charset="0"/>
            </a:endParaRPr>
          </a:p>
          <a:p>
            <a:pPr marL="0" marR="0">
              <a:spcBef>
                <a:spcPts val="0"/>
              </a:spcBef>
              <a:spcAft>
                <a:spcPts val="0"/>
              </a:spcAft>
            </a:pPr>
            <a:endParaRPr lang="en-US" sz="1100" dirty="0">
              <a:effectLst/>
              <a:latin typeface="Courier" pitchFamily="2" charset="0"/>
              <a:ea typeface="Times New Roman" charset="0"/>
            </a:endParaRPr>
          </a:p>
        </p:txBody>
      </p:sp>
      <p:sp>
        <p:nvSpPr>
          <p:cNvPr id="8" name="Content Placeholder 4">
            <a:extLst>
              <a:ext uri="{FF2B5EF4-FFF2-40B4-BE49-F238E27FC236}">
                <a16:creationId xmlns:a16="http://schemas.microsoft.com/office/drawing/2014/main" id="{9D893702-E581-8040-8BD6-A3005AD92EB4}"/>
              </a:ext>
            </a:extLst>
          </p:cNvPr>
          <p:cNvSpPr txBox="1">
            <a:spLocks/>
          </p:cNvSpPr>
          <p:nvPr/>
        </p:nvSpPr>
        <p:spPr bwMode="auto">
          <a:xfrm>
            <a:off x="6296630" y="1146431"/>
            <a:ext cx="5641154" cy="54196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187325" indent="-185738" algn="l" rtl="0" eaLnBrk="0" fontAlgn="base" hangingPunct="0">
              <a:lnSpc>
                <a:spcPct val="90000"/>
              </a:lnSpc>
              <a:spcBef>
                <a:spcPts val="1200"/>
              </a:spcBef>
              <a:spcAft>
                <a:spcPct val="0"/>
              </a:spcAft>
              <a:buSzPct val="80000"/>
              <a:buFont typeface="Arial" panose="020B0604020202020204" pitchFamily="34" charset="0"/>
              <a:buChar char="•"/>
              <a:defRPr>
                <a:solidFill>
                  <a:schemeClr val="tx1"/>
                </a:solidFill>
                <a:latin typeface="+mn-lt"/>
                <a:ea typeface="+mn-ea"/>
                <a:cs typeface="+mn-cs"/>
                <a:sym typeface="Arial" panose="020B0604020202020204" pitchFamily="34" charset="0"/>
              </a:defRPr>
            </a:lvl1pPr>
            <a:lvl2pPr marL="385763" indent="-193675" algn="l" rtl="0" eaLnBrk="0" fontAlgn="base" hangingPunct="0">
              <a:lnSpc>
                <a:spcPct val="90000"/>
              </a:lnSpc>
              <a:spcBef>
                <a:spcPts val="400"/>
              </a:spcBef>
              <a:spcAft>
                <a:spcPct val="0"/>
              </a:spcAft>
              <a:buSzPct val="80000"/>
              <a:buFont typeface="Arial" panose="020B0604020202020204" pitchFamily="34" charset="0"/>
              <a:buChar char="•"/>
              <a:defRPr sz="1600">
                <a:solidFill>
                  <a:schemeClr val="tx1"/>
                </a:solidFill>
                <a:latin typeface="+mn-lt"/>
                <a:ea typeface="+mn-ea"/>
                <a:cs typeface="+mn-cs"/>
                <a:sym typeface="Arial" panose="020B0604020202020204" pitchFamily="34" charset="0"/>
              </a:defRPr>
            </a:lvl2pPr>
            <a:lvl3pPr marL="54610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3pPr>
            <a:lvl4pPr marL="70485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4pPr>
            <a:lvl5pPr marL="773113" indent="-66675"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anose="020B0604020202020204"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r>
              <a:rPr lang="en-US" sz="900" b="1" dirty="0">
                <a:latin typeface="Courier" pitchFamily="2" charset="0"/>
              </a:rPr>
              <a:t>Length: </a:t>
            </a:r>
            <a:r>
              <a:rPr lang="en-US" sz="900" dirty="0">
                <a:latin typeface="Courier" pitchFamily="2" charset="0"/>
              </a:rPr>
              <a:t>Indicates length of report header in multiple of 4 octets, including the optional metadata.</a:t>
            </a:r>
          </a:p>
          <a:p>
            <a:r>
              <a:rPr lang="en-US" sz="900" b="1" dirty="0" err="1">
                <a:latin typeface="Courier" pitchFamily="2" charset="0"/>
              </a:rPr>
              <a:t>Nproto</a:t>
            </a:r>
            <a:r>
              <a:rPr lang="en-US" sz="900" b="1" dirty="0">
                <a:latin typeface="Courier" pitchFamily="2" charset="0"/>
              </a:rPr>
              <a:t>: Next Protocol </a:t>
            </a:r>
          </a:p>
          <a:p>
            <a:pPr lvl="1"/>
            <a:r>
              <a:rPr lang="en-US" sz="900" dirty="0">
                <a:latin typeface="Courier" pitchFamily="2" charset="0"/>
              </a:rPr>
              <a:t>0 </a:t>
            </a:r>
            <a:r>
              <a:rPr lang="mr-IN" sz="900" dirty="0">
                <a:latin typeface="Courier" pitchFamily="2" charset="0"/>
              </a:rPr>
              <a:t>–</a:t>
            </a:r>
            <a:r>
              <a:rPr lang="en-US" sz="900" dirty="0">
                <a:latin typeface="Courier" pitchFamily="2" charset="0"/>
              </a:rPr>
              <a:t> Ethernet</a:t>
            </a:r>
          </a:p>
          <a:p>
            <a:pPr lvl="1"/>
            <a:r>
              <a:rPr lang="en-US" sz="900" dirty="0">
                <a:latin typeface="Courier" pitchFamily="2" charset="0"/>
              </a:rPr>
              <a:t>1</a:t>
            </a:r>
            <a:r>
              <a:rPr lang="en-US" sz="900" b="1" dirty="0">
                <a:latin typeface="Courier" pitchFamily="2" charset="0"/>
              </a:rPr>
              <a:t> </a:t>
            </a:r>
            <a:r>
              <a:rPr lang="mr-IN" sz="900" b="1" dirty="0">
                <a:latin typeface="Courier" pitchFamily="2" charset="0"/>
              </a:rPr>
              <a:t>–</a:t>
            </a:r>
            <a:r>
              <a:rPr lang="en-US" sz="900" b="1" dirty="0">
                <a:latin typeface="Courier" pitchFamily="2" charset="0"/>
              </a:rPr>
              <a:t> </a:t>
            </a:r>
            <a:r>
              <a:rPr lang="en-US" sz="900" dirty="0">
                <a:latin typeface="Courier" pitchFamily="2" charset="0"/>
              </a:rPr>
              <a:t>IPv4</a:t>
            </a:r>
          </a:p>
          <a:p>
            <a:pPr lvl="1"/>
            <a:r>
              <a:rPr lang="en-US" sz="900" dirty="0">
                <a:latin typeface="Courier" pitchFamily="2" charset="0"/>
              </a:rPr>
              <a:t>2 </a:t>
            </a:r>
            <a:r>
              <a:rPr lang="mr-IN" sz="900" dirty="0">
                <a:latin typeface="Courier" pitchFamily="2" charset="0"/>
              </a:rPr>
              <a:t>–</a:t>
            </a:r>
            <a:r>
              <a:rPr lang="en-US" sz="900" dirty="0">
                <a:latin typeface="Courier" pitchFamily="2" charset="0"/>
              </a:rPr>
              <a:t> IPv6</a:t>
            </a:r>
          </a:p>
          <a:p>
            <a:pPr lvl="1"/>
            <a:r>
              <a:rPr lang="en-US" sz="900" b="1" dirty="0">
                <a:solidFill>
                  <a:srgbClr val="FF0000"/>
                </a:solidFill>
                <a:latin typeface="Courier" pitchFamily="2" charset="0"/>
              </a:rPr>
              <a:t>3 </a:t>
            </a:r>
            <a:r>
              <a:rPr lang="mr-IN" sz="900" b="1" dirty="0">
                <a:solidFill>
                  <a:srgbClr val="FF0000"/>
                </a:solidFill>
                <a:latin typeface="Courier" pitchFamily="2" charset="0"/>
              </a:rPr>
              <a:t>–</a:t>
            </a:r>
            <a:r>
              <a:rPr lang="en-US" sz="900" b="1" dirty="0">
                <a:solidFill>
                  <a:srgbClr val="FF0000"/>
                </a:solidFill>
                <a:latin typeface="Courier" pitchFamily="2" charset="0"/>
              </a:rPr>
              <a:t> </a:t>
            </a:r>
            <a:r>
              <a:rPr lang="en-US" sz="900" b="1" dirty="0" err="1">
                <a:solidFill>
                  <a:srgbClr val="FF0000"/>
                </a:solidFill>
                <a:latin typeface="Courier" pitchFamily="2" charset="0"/>
              </a:rPr>
              <a:t>Telemtery</a:t>
            </a:r>
            <a:r>
              <a:rPr lang="en-US" sz="900" b="1" dirty="0">
                <a:solidFill>
                  <a:srgbClr val="FF0000"/>
                </a:solidFill>
                <a:latin typeface="Courier" pitchFamily="2" charset="0"/>
              </a:rPr>
              <a:t> Extensions</a:t>
            </a:r>
          </a:p>
          <a:p>
            <a:r>
              <a:rPr lang="en-US" sz="900" b="1" dirty="0" err="1">
                <a:latin typeface="Courier" pitchFamily="2" charset="0"/>
              </a:rPr>
              <a:t>RepMdBits</a:t>
            </a:r>
            <a:r>
              <a:rPr lang="en-US" sz="900" b="1" dirty="0">
                <a:latin typeface="Courier" pitchFamily="2" charset="0"/>
              </a:rPr>
              <a:t>: Report Metadata Bits </a:t>
            </a:r>
            <a:r>
              <a:rPr lang="en-US" sz="900" dirty="0">
                <a:latin typeface="Courier" pitchFamily="2" charset="0"/>
              </a:rPr>
              <a:t>(each bit represents 4 octets of optional metadata)</a:t>
            </a:r>
          </a:p>
          <a:p>
            <a:pPr lvl="1"/>
            <a:r>
              <a:rPr lang="en-US" sz="900" b="1" dirty="0">
                <a:latin typeface="Courier" pitchFamily="2" charset="0"/>
              </a:rPr>
              <a:t>0</a:t>
            </a:r>
            <a:r>
              <a:rPr lang="en-US" sz="900" dirty="0">
                <a:latin typeface="Courier" pitchFamily="2" charset="0"/>
              </a:rPr>
              <a:t> </a:t>
            </a:r>
            <a:r>
              <a:rPr lang="mr-IN" sz="900" dirty="0">
                <a:latin typeface="Courier" pitchFamily="2" charset="0"/>
              </a:rPr>
              <a:t>–</a:t>
            </a:r>
            <a:r>
              <a:rPr lang="en-US" sz="900" dirty="0">
                <a:latin typeface="Courier" pitchFamily="2" charset="0"/>
              </a:rPr>
              <a:t> Ingress ID (16 bits) &amp; Egress Port ID (16 bits)</a:t>
            </a:r>
          </a:p>
          <a:p>
            <a:pPr lvl="1"/>
            <a:r>
              <a:rPr lang="en-US" sz="900" b="1" dirty="0">
                <a:latin typeface="Courier" pitchFamily="2" charset="0"/>
              </a:rPr>
              <a:t>1 </a:t>
            </a:r>
            <a:r>
              <a:rPr lang="mr-IN" sz="900" dirty="0">
                <a:latin typeface="Courier" pitchFamily="2" charset="0"/>
              </a:rPr>
              <a:t>–</a:t>
            </a:r>
            <a:r>
              <a:rPr lang="en-US" sz="900" dirty="0">
                <a:latin typeface="Courier" pitchFamily="2" charset="0"/>
              </a:rPr>
              <a:t> Hop Latency</a:t>
            </a:r>
          </a:p>
          <a:p>
            <a:pPr lvl="1"/>
            <a:r>
              <a:rPr lang="en-US" sz="900" b="1" dirty="0">
                <a:latin typeface="Courier" pitchFamily="2" charset="0"/>
              </a:rPr>
              <a:t>2</a:t>
            </a:r>
            <a:r>
              <a:rPr lang="en-US" sz="900" dirty="0">
                <a:latin typeface="Courier" pitchFamily="2" charset="0"/>
              </a:rPr>
              <a:t> </a:t>
            </a:r>
            <a:r>
              <a:rPr lang="mr-IN" sz="900" dirty="0">
                <a:latin typeface="Courier" pitchFamily="2" charset="0"/>
              </a:rPr>
              <a:t>–</a:t>
            </a:r>
            <a:r>
              <a:rPr lang="en-US" sz="900" dirty="0">
                <a:latin typeface="Courier" pitchFamily="2" charset="0"/>
              </a:rPr>
              <a:t> Queue ID (8 bits) + Queue Occupancy (24 bits)</a:t>
            </a:r>
          </a:p>
          <a:p>
            <a:pPr lvl="1"/>
            <a:r>
              <a:rPr lang="en-US" sz="900" b="1" dirty="0">
                <a:latin typeface="Courier" pitchFamily="2" charset="0"/>
              </a:rPr>
              <a:t>3</a:t>
            </a:r>
            <a:r>
              <a:rPr lang="en-US" sz="900" dirty="0">
                <a:latin typeface="Courier" pitchFamily="2" charset="0"/>
              </a:rPr>
              <a:t> </a:t>
            </a:r>
            <a:r>
              <a:rPr lang="mr-IN" sz="900" dirty="0">
                <a:latin typeface="Courier" pitchFamily="2" charset="0"/>
              </a:rPr>
              <a:t>–</a:t>
            </a:r>
            <a:r>
              <a:rPr lang="en-US" sz="900" dirty="0">
                <a:latin typeface="Courier" pitchFamily="2" charset="0"/>
              </a:rPr>
              <a:t> Egress Timestamp (32 bits)</a:t>
            </a:r>
          </a:p>
          <a:p>
            <a:pPr lvl="1"/>
            <a:r>
              <a:rPr lang="en-US" sz="900" b="1" dirty="0">
                <a:latin typeface="Courier" pitchFamily="2" charset="0"/>
              </a:rPr>
              <a:t>4 </a:t>
            </a:r>
            <a:r>
              <a:rPr lang="mr-IN" sz="900" dirty="0">
                <a:latin typeface="Courier" pitchFamily="2" charset="0"/>
              </a:rPr>
              <a:t>–</a:t>
            </a:r>
            <a:r>
              <a:rPr lang="en-US" sz="900" dirty="0">
                <a:latin typeface="Courier" pitchFamily="2" charset="0"/>
              </a:rPr>
              <a:t> Queue ID (8 bits) + Drop Reason (8 bits) + Padding (16 bits)</a:t>
            </a:r>
          </a:p>
          <a:p>
            <a:pPr lvl="1"/>
            <a:r>
              <a:rPr lang="en-US" sz="900" b="1" dirty="0">
                <a:latin typeface="Courier" pitchFamily="2" charset="0"/>
              </a:rPr>
              <a:t>5</a:t>
            </a:r>
            <a:r>
              <a:rPr lang="en-US" sz="900" dirty="0">
                <a:latin typeface="Courier" pitchFamily="2" charset="0"/>
              </a:rPr>
              <a:t> </a:t>
            </a:r>
            <a:r>
              <a:rPr lang="mr-IN" sz="900" dirty="0">
                <a:latin typeface="Courier" pitchFamily="2" charset="0"/>
              </a:rPr>
              <a:t>–</a:t>
            </a:r>
            <a:r>
              <a:rPr lang="en-US" sz="900" dirty="0">
                <a:latin typeface="Courier" pitchFamily="2" charset="0"/>
              </a:rPr>
              <a:t> Egress Port TX Utilization</a:t>
            </a:r>
          </a:p>
          <a:p>
            <a:pPr lvl="1"/>
            <a:r>
              <a:rPr lang="en-US" sz="900" b="1" dirty="0">
                <a:solidFill>
                  <a:srgbClr val="FF0000"/>
                </a:solidFill>
                <a:latin typeface="Courier" pitchFamily="2" charset="0"/>
              </a:rPr>
              <a:t>6</a:t>
            </a:r>
            <a:r>
              <a:rPr lang="en-US" sz="900" dirty="0">
                <a:solidFill>
                  <a:srgbClr val="FF0000"/>
                </a:solidFill>
                <a:latin typeface="Courier" pitchFamily="2" charset="0"/>
              </a:rPr>
              <a:t> – </a:t>
            </a:r>
            <a:r>
              <a:rPr lang="en-US" sz="900" dirty="0">
                <a:solidFill>
                  <a:srgbClr val="FF0000"/>
                </a:solidFill>
                <a:latin typeface="Courier" pitchFamily="2" charset="0"/>
                <a:ea typeface="Courier" charset="0"/>
                <a:cs typeface="Courier" charset="0"/>
              </a:rPr>
              <a:t>Buffer ID (8 bits) + Buffer Occupancy (24 bits)</a:t>
            </a:r>
            <a:endParaRPr lang="en-US" sz="900" dirty="0">
              <a:latin typeface="Courier" pitchFamily="2" charset="0"/>
            </a:endParaRPr>
          </a:p>
          <a:p>
            <a:pPr lvl="1"/>
            <a:r>
              <a:rPr lang="en-US" sz="900" b="1" dirty="0">
                <a:solidFill>
                  <a:srgbClr val="FF0000"/>
                </a:solidFill>
                <a:latin typeface="Courier" pitchFamily="2" charset="0"/>
              </a:rPr>
              <a:t>7</a:t>
            </a:r>
            <a:r>
              <a:rPr lang="en-US" sz="900" dirty="0">
                <a:solidFill>
                  <a:srgbClr val="FF0000"/>
                </a:solidFill>
                <a:latin typeface="Courier" pitchFamily="2" charset="0"/>
              </a:rPr>
              <a:t> -</a:t>
            </a:r>
            <a:r>
              <a:rPr lang="en-US" sz="900" dirty="0">
                <a:latin typeface="Courier" pitchFamily="2" charset="0"/>
              </a:rPr>
              <a:t> </a:t>
            </a:r>
            <a:r>
              <a:rPr lang="en-US" sz="900" dirty="0">
                <a:solidFill>
                  <a:srgbClr val="FF0000"/>
                </a:solidFill>
                <a:latin typeface="Courier" pitchFamily="2" charset="0"/>
                <a:ea typeface="Courier" charset="0"/>
                <a:cs typeface="Courier" charset="0"/>
              </a:rPr>
              <a:t>Level 2 Ingress port ID (32     bits) + Egress Port ID (32 bits)</a:t>
            </a:r>
            <a:endParaRPr lang="en-US" sz="900" dirty="0">
              <a:latin typeface="Courier" pitchFamily="2" charset="0"/>
            </a:endParaRPr>
          </a:p>
          <a:p>
            <a:r>
              <a:rPr lang="en-US" sz="900" b="1" dirty="0">
                <a:latin typeface="Courier" pitchFamily="2" charset="0"/>
              </a:rPr>
              <a:t>D</a:t>
            </a:r>
            <a:r>
              <a:rPr lang="en-US" sz="900" dirty="0">
                <a:latin typeface="Courier" pitchFamily="2" charset="0"/>
              </a:rPr>
              <a:t> </a:t>
            </a:r>
            <a:r>
              <a:rPr lang="mr-IN" sz="900" dirty="0">
                <a:latin typeface="Courier" pitchFamily="2" charset="0"/>
              </a:rPr>
              <a:t>–</a:t>
            </a:r>
            <a:r>
              <a:rPr lang="en-US" sz="900" dirty="0">
                <a:latin typeface="Courier" pitchFamily="2" charset="0"/>
              </a:rPr>
              <a:t> Dropped – Indicates at least one packet was dropped.</a:t>
            </a:r>
          </a:p>
          <a:p>
            <a:r>
              <a:rPr lang="en-US" sz="900" b="1" dirty="0">
                <a:latin typeface="Courier" pitchFamily="2" charset="0"/>
              </a:rPr>
              <a:t>Q</a:t>
            </a:r>
            <a:r>
              <a:rPr lang="en-US" sz="900" dirty="0">
                <a:latin typeface="Courier" pitchFamily="2" charset="0"/>
              </a:rPr>
              <a:t> </a:t>
            </a:r>
            <a:r>
              <a:rPr lang="mr-IN" sz="900" dirty="0">
                <a:latin typeface="Courier" pitchFamily="2" charset="0"/>
              </a:rPr>
              <a:t>–</a:t>
            </a:r>
            <a:r>
              <a:rPr lang="en-US" sz="900" dirty="0">
                <a:latin typeface="Courier" pitchFamily="2" charset="0"/>
              </a:rPr>
              <a:t> Congested Queue</a:t>
            </a:r>
          </a:p>
          <a:p>
            <a:r>
              <a:rPr lang="en-US" sz="900" b="1" dirty="0">
                <a:latin typeface="Courier" pitchFamily="2" charset="0"/>
              </a:rPr>
              <a:t>F</a:t>
            </a:r>
            <a:r>
              <a:rPr lang="en-US" sz="900" dirty="0">
                <a:latin typeface="Courier" pitchFamily="2" charset="0"/>
              </a:rPr>
              <a:t> </a:t>
            </a:r>
            <a:r>
              <a:rPr lang="mr-IN" sz="900" dirty="0">
                <a:latin typeface="Courier" pitchFamily="2" charset="0"/>
              </a:rPr>
              <a:t>–</a:t>
            </a:r>
            <a:r>
              <a:rPr lang="en-US" sz="900" dirty="0">
                <a:latin typeface="Courier" pitchFamily="2" charset="0"/>
              </a:rPr>
              <a:t> Tracked Flow Association  - indicated report is for a tracked flow.</a:t>
            </a:r>
          </a:p>
          <a:p>
            <a:r>
              <a:rPr lang="en-US" sz="900" dirty="0" err="1">
                <a:latin typeface="Courier" pitchFamily="2" charset="0"/>
              </a:rPr>
              <a:t>hw_id</a:t>
            </a:r>
            <a:r>
              <a:rPr lang="en-US" sz="900" dirty="0">
                <a:latin typeface="Courier" pitchFamily="2" charset="0"/>
              </a:rPr>
              <a:t>: Hardware sub-system within the source that generated this report</a:t>
            </a:r>
          </a:p>
          <a:p>
            <a:r>
              <a:rPr lang="en-US" sz="900" dirty="0">
                <a:latin typeface="Courier" pitchFamily="2" charset="0"/>
              </a:rPr>
              <a:t>Switch ID: The unique ID of a switch (administratively assigned).</a:t>
            </a:r>
          </a:p>
          <a:p>
            <a:r>
              <a:rPr lang="en-US" sz="900" dirty="0">
                <a:latin typeface="Courier" pitchFamily="2" charset="0"/>
              </a:rPr>
              <a:t>Sequence Number: Reflects the sequence of reports from a specific </a:t>
            </a:r>
            <a:r>
              <a:rPr lang="en-US" sz="900" dirty="0" err="1">
                <a:latin typeface="Courier" pitchFamily="2" charset="0"/>
              </a:rPr>
              <a:t>hw_id</a:t>
            </a:r>
            <a:endParaRPr lang="en-US" sz="900" dirty="0">
              <a:latin typeface="Courier" pitchFamily="2" charset="0"/>
            </a:endParaRPr>
          </a:p>
          <a:p>
            <a:r>
              <a:rPr lang="en-US" sz="900" dirty="0">
                <a:latin typeface="Courier" pitchFamily="2" charset="0"/>
              </a:rPr>
              <a:t>Ingress Timestamp: Device local time when packet was first received on the ingress physical or logical port, in nanoseconds</a:t>
            </a:r>
          </a:p>
        </p:txBody>
      </p:sp>
    </p:spTree>
    <p:extLst>
      <p:ext uri="{BB962C8B-B14F-4D97-AF65-F5344CB8AC3E}">
        <p14:creationId xmlns:p14="http://schemas.microsoft.com/office/powerpoint/2010/main" val="368101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0566" y="291929"/>
            <a:ext cx="11578679" cy="1020576"/>
          </a:xfrm>
        </p:spPr>
        <p:txBody>
          <a:bodyPr/>
          <a:lstStyle/>
          <a:p>
            <a:r>
              <a:rPr lang="en-US" sz="3200" dirty="0">
                <a:latin typeface="Courier" charset="0"/>
                <a:ea typeface="Courier" charset="0"/>
                <a:cs typeface="Courier" charset="0"/>
              </a:rPr>
              <a:t>Telemetry Report Header – Ver 2.0 (contd.)</a:t>
            </a:r>
            <a:endParaRPr lang="en-US" sz="3200" dirty="0"/>
          </a:p>
        </p:txBody>
      </p:sp>
      <p:sp>
        <p:nvSpPr>
          <p:cNvPr id="4" name="Rectangle 3"/>
          <p:cNvSpPr/>
          <p:nvPr/>
        </p:nvSpPr>
        <p:spPr>
          <a:xfrm>
            <a:off x="596661" y="1554897"/>
            <a:ext cx="5838863" cy="5016758"/>
          </a:xfrm>
          <a:prstGeom prst="rect">
            <a:avLst/>
          </a:prstGeom>
        </p:spPr>
        <p:txBody>
          <a:bodyPr wrap="square">
            <a:spAutoFit/>
          </a:bodyPr>
          <a:lstStyle/>
          <a:p>
            <a:pPr marL="0" marR="0">
              <a:spcBef>
                <a:spcPts val="0"/>
              </a:spcBef>
              <a:spcAft>
                <a:spcPts val="0"/>
              </a:spcAft>
            </a:pPr>
            <a:r>
              <a:rPr lang="en-US" sz="1200" kern="1200" dirty="0">
                <a:solidFill>
                  <a:srgbClr val="000000"/>
                </a:solidFill>
                <a:effectLst/>
                <a:latin typeface="Courier" pitchFamily="2" charset="0"/>
                <a:ea typeface="Courier" charset="0"/>
                <a:cs typeface="Courier" charset="0"/>
              </a:rPr>
              <a:t>Telemetry Report Header (16+ Octets)</a:t>
            </a:r>
            <a:endParaRPr lang="en-US" sz="1200" dirty="0">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 </a:t>
            </a:r>
            <a:endParaRPr lang="en-US" sz="1100" dirty="0">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 0                   1                   2                   3</a:t>
            </a:r>
            <a:endParaRPr lang="en-US" sz="1100" dirty="0">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 0 1 2 3 4 5 6 7 8 9 0 1 2 3 4 5 6 7 8 9 0 1 2 3 4 5 6 7 8 9 0 1</a:t>
            </a:r>
            <a:endParaRPr lang="en-US" sz="1100" dirty="0">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a:t>
            </a:r>
            <a:endParaRPr lang="en-US" sz="1100" dirty="0">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Ver = 2|Length |</a:t>
            </a:r>
            <a:r>
              <a:rPr lang="en-US" sz="1100" kern="1200" dirty="0" err="1">
                <a:effectLst/>
                <a:latin typeface="Courier" pitchFamily="2" charset="0"/>
                <a:ea typeface="Courier" charset="0"/>
                <a:cs typeface="Courier" charset="0"/>
              </a:rPr>
              <a:t>NProt</a:t>
            </a:r>
            <a:r>
              <a:rPr lang="en-US" sz="1100" kern="1200" dirty="0">
                <a:solidFill>
                  <a:srgbClr val="000000"/>
                </a:solidFill>
                <a:effectLst/>
                <a:latin typeface="Courier" pitchFamily="2" charset="0"/>
                <a:ea typeface="Courier" charset="0"/>
                <a:cs typeface="Courier" charset="0"/>
              </a:rPr>
              <a:t>| </a:t>
            </a:r>
            <a:r>
              <a:rPr lang="en-US" sz="1100" kern="1200" dirty="0" err="1">
                <a:solidFill>
                  <a:srgbClr val="000000"/>
                </a:solidFill>
                <a:effectLst/>
                <a:latin typeface="Courier" pitchFamily="2" charset="0"/>
                <a:ea typeface="Courier" charset="0"/>
                <a:cs typeface="Courier" charset="0"/>
              </a:rPr>
              <a:t>RepMdBits</a:t>
            </a:r>
            <a:r>
              <a:rPr lang="en-US" sz="1100" kern="1200" dirty="0">
                <a:solidFill>
                  <a:srgbClr val="000000"/>
                </a:solidFill>
                <a:effectLst/>
                <a:latin typeface="Courier" pitchFamily="2" charset="0"/>
                <a:ea typeface="Courier" charset="0"/>
                <a:cs typeface="Courier" charset="0"/>
              </a:rPr>
              <a:t>   |Reserved |D|Q|F|  </a:t>
            </a:r>
            <a:r>
              <a:rPr lang="en-US" sz="1100" kern="1200" dirty="0" err="1">
                <a:solidFill>
                  <a:srgbClr val="000000"/>
                </a:solidFill>
                <a:effectLst/>
                <a:latin typeface="Courier" pitchFamily="2" charset="0"/>
                <a:ea typeface="Courier" charset="0"/>
                <a:cs typeface="Courier" charset="0"/>
              </a:rPr>
              <a:t>hw_id</a:t>
            </a:r>
            <a:r>
              <a:rPr lang="en-US" sz="1100" kern="1200" dirty="0">
                <a:solidFill>
                  <a:srgbClr val="000000"/>
                </a:solidFill>
                <a:effectLst/>
                <a:latin typeface="Courier" pitchFamily="2" charset="0"/>
                <a:ea typeface="Courier" charset="0"/>
                <a:cs typeface="Courier" charset="0"/>
              </a:rPr>
              <a:t>    |</a:t>
            </a:r>
            <a:endParaRPr lang="en-US" sz="1100" dirty="0">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a:t>
            </a:r>
            <a:endParaRPr lang="en-US" sz="1100" dirty="0">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                          Switch ID                            |</a:t>
            </a:r>
            <a:endParaRPr lang="en-US" sz="1100" dirty="0">
              <a:effectLst/>
              <a:latin typeface="Courier" pitchFamily="2" charset="0"/>
              <a:ea typeface="Times New Roman" charset="0"/>
            </a:endParaRPr>
          </a:p>
          <a:p>
            <a:pPr marL="0" marR="0">
              <a:spcBef>
                <a:spcPts val="0"/>
              </a:spcBef>
              <a:spcAft>
                <a:spcPts val="0"/>
              </a:spcAft>
            </a:pPr>
            <a:r>
              <a:rPr lang="en-US" sz="1100" kern="1200" dirty="0">
                <a:solidFill>
                  <a:srgbClr val="000000"/>
                </a:solidFill>
                <a:effectLst/>
                <a:latin typeface="Courier" pitchFamily="2" charset="0"/>
                <a:ea typeface="Courier" charset="0"/>
                <a:cs typeface="Courier" charset="0"/>
              </a:rPr>
              <a:t>+-+-+-+-+-+-+-+-+-+-+-+-+-+-+-+-+-+-+-+-+-+-+-+-+-+-+-+-+-+-+-+-+</a:t>
            </a:r>
            <a:endParaRPr lang="en-US" sz="1100" dirty="0">
              <a:effectLst/>
              <a:latin typeface="Courier" pitchFamily="2" charset="0"/>
              <a:ea typeface="Times New Roman" charset="0"/>
            </a:endParaRPr>
          </a:p>
          <a:p>
            <a:r>
              <a:rPr lang="en-US" sz="1100" dirty="0">
                <a:effectLst/>
                <a:latin typeface="Courier" pitchFamily="2" charset="0"/>
                <a:ea typeface="Times New Roman" charset="0"/>
              </a:rPr>
              <a:t>|                      </a:t>
            </a:r>
            <a:r>
              <a:rPr lang="en-US" sz="1100" dirty="0">
                <a:solidFill>
                  <a:srgbClr val="000000"/>
                </a:solidFill>
                <a:latin typeface="Courier" pitchFamily="2" charset="0"/>
                <a:ea typeface="Courier" charset="0"/>
                <a:cs typeface="Courier" charset="0"/>
              </a:rPr>
              <a:t>Sequence Number </a:t>
            </a:r>
            <a:r>
              <a:rPr lang="en-US" sz="1100" kern="1200" dirty="0">
                <a:solidFill>
                  <a:srgbClr val="000000"/>
                </a:solidFill>
                <a:effectLst/>
                <a:latin typeface="Courier" pitchFamily="2" charset="0"/>
                <a:ea typeface="Courier" charset="0"/>
                <a:cs typeface="Courier" charset="0"/>
              </a:rPr>
              <a:t>	                     |                      </a:t>
            </a:r>
            <a:endParaRPr lang="en-US" sz="1100" dirty="0">
              <a:effectLst/>
              <a:latin typeface="Courier" pitchFamily="2" charset="0"/>
              <a:ea typeface="Times New Roman" charset="0"/>
            </a:endParaRPr>
          </a:p>
          <a:p>
            <a:pPr marL="0" marR="0">
              <a:spcBef>
                <a:spcPts val="0"/>
              </a:spcBef>
              <a:spcAft>
                <a:spcPts val="0"/>
              </a:spcAft>
            </a:pP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r>
              <a:rPr lang="en-US" sz="1100" kern="1200" dirty="0">
                <a:solidFill>
                  <a:srgbClr val="000000"/>
                </a:solidFill>
                <a:effectLst/>
                <a:latin typeface="Courier" pitchFamily="2" charset="0"/>
                <a:ea typeface="Courier" charset="0"/>
                <a:cs typeface="Courier" charset="0"/>
              </a:rPr>
              <a:t>-</a:t>
            </a:r>
            <a:r>
              <a:rPr lang="en-US" sz="1100" dirty="0">
                <a:effectLst/>
                <a:latin typeface="Courier" pitchFamily="2" charset="0"/>
                <a:ea typeface="Times New Roman" charset="0"/>
              </a:rPr>
              <a:t>+</a:t>
            </a:r>
          </a:p>
          <a:p>
            <a:r>
              <a:rPr lang="en-US" sz="1100" dirty="0">
                <a:solidFill>
                  <a:srgbClr val="000000"/>
                </a:solidFill>
                <a:latin typeface="Courier" pitchFamily="2" charset="0"/>
                <a:ea typeface="Courier" charset="0"/>
                <a:cs typeface="Courier" charset="0"/>
              </a:rPr>
              <a:t>|                      Ingress Timestamp                        |</a:t>
            </a:r>
            <a:endParaRPr lang="en-US" sz="1100" dirty="0">
              <a:latin typeface="Courier" pitchFamily="2" charset="0"/>
              <a:ea typeface="Times New Roman" charset="0"/>
            </a:endParaRPr>
          </a:p>
          <a:p>
            <a:r>
              <a:rPr lang="en-US" sz="1100" dirty="0">
                <a:solidFill>
                  <a:srgbClr val="000000"/>
                </a:solidFill>
                <a:latin typeface="Courier" pitchFamily="2" charset="0"/>
                <a:ea typeface="Courier" charset="0"/>
                <a:cs typeface="Courier" charset="0"/>
              </a:rPr>
              <a:t>+-+-+-+-+-+-+-+-+-+-+-+-+-+-+-+-+-+-+-+-+-+-+-+-+-+-+-+-+-+-+-+-+</a:t>
            </a:r>
            <a:endParaRPr lang="en-US" sz="1100" dirty="0">
              <a:latin typeface="Courier" pitchFamily="2" charset="0"/>
              <a:ea typeface="Times New Roman" charset="0"/>
            </a:endParaRPr>
          </a:p>
          <a:p>
            <a:r>
              <a:rPr lang="en-US" sz="1100" dirty="0">
                <a:latin typeface="Courier" pitchFamily="2" charset="0"/>
                <a:ea typeface="Times New Roman" charset="0"/>
              </a:rPr>
              <a:t>|                   </a:t>
            </a:r>
            <a:r>
              <a:rPr lang="en-US" sz="1100" dirty="0">
                <a:solidFill>
                  <a:srgbClr val="000000"/>
                </a:solidFill>
                <a:latin typeface="Courier" pitchFamily="2" charset="0"/>
                <a:ea typeface="Courier" charset="0"/>
                <a:cs typeface="Courier" charset="0"/>
              </a:rPr>
              <a:t>Variable Optional Metadata                  |                      </a:t>
            </a:r>
            <a:endParaRPr lang="en-US" sz="1100" dirty="0">
              <a:latin typeface="Courier" pitchFamily="2" charset="0"/>
              <a:ea typeface="Times New Roman" charset="0"/>
            </a:endParaRPr>
          </a:p>
          <a:p>
            <a:r>
              <a:rPr lang="en-US" sz="1100" dirty="0">
                <a:solidFill>
                  <a:srgbClr val="000000"/>
                </a:solidFill>
                <a:latin typeface="Courier" charset="0"/>
                <a:ea typeface="Courier" charset="0"/>
                <a:cs typeface="Courier" charset="0"/>
              </a:rPr>
              <a:t>+-+-+-+-+-+-+-+-+-+-+-+-+-+-+-+-+-+-+-+-+-+-+-+-+-+-+-+-+-+-+-+-+</a:t>
            </a:r>
            <a:endParaRPr lang="en-US" sz="1100" dirty="0">
              <a:latin typeface="Times New Roman" charset="0"/>
              <a:ea typeface="Times New Roman" charset="0"/>
            </a:endParaRPr>
          </a:p>
          <a:p>
            <a:r>
              <a:rPr lang="en-US" sz="1100" dirty="0">
                <a:solidFill>
                  <a:srgbClr val="000000"/>
                </a:solidFill>
                <a:latin typeface="Courier" charset="0"/>
                <a:ea typeface="Courier" charset="0"/>
                <a:cs typeface="Courier" charset="0"/>
              </a:rPr>
              <a:t>|</a:t>
            </a:r>
            <a:r>
              <a:rPr lang="en-US" sz="1100" b="1" dirty="0">
                <a:solidFill>
                  <a:srgbClr val="FF0000"/>
                </a:solidFill>
                <a:latin typeface="Courier" charset="0"/>
                <a:ea typeface="Courier" charset="0"/>
                <a:cs typeface="Courier" charset="0"/>
              </a:rPr>
              <a:t> </a:t>
            </a:r>
            <a:r>
              <a:rPr lang="en-US" sz="1100" b="1" dirty="0" err="1">
                <a:solidFill>
                  <a:srgbClr val="FF0000"/>
                </a:solidFill>
                <a:latin typeface="Courier" charset="0"/>
                <a:ea typeface="Courier" charset="0"/>
                <a:cs typeface="Courier" charset="0"/>
              </a:rPr>
              <a:t>Nprot</a:t>
            </a:r>
            <a:r>
              <a:rPr lang="en-US" sz="1100" b="1" dirty="0">
                <a:solidFill>
                  <a:srgbClr val="FF0000"/>
                </a:solidFill>
                <a:latin typeface="Courier" charset="0"/>
                <a:ea typeface="Courier" charset="0"/>
                <a:cs typeface="Courier" charset="0"/>
              </a:rPr>
              <a:t> </a:t>
            </a:r>
            <a:r>
              <a:rPr lang="en-US" sz="1100" dirty="0">
                <a:solidFill>
                  <a:srgbClr val="000000"/>
                </a:solidFill>
                <a:latin typeface="Courier" charset="0"/>
                <a:ea typeface="Courier" charset="0"/>
                <a:cs typeface="Courier" charset="0"/>
              </a:rPr>
              <a:t>|   </a:t>
            </a:r>
            <a:r>
              <a:rPr lang="en-US" sz="1100" b="1" dirty="0">
                <a:solidFill>
                  <a:srgbClr val="FF0000"/>
                </a:solidFill>
                <a:latin typeface="Courier" charset="0"/>
                <a:ea typeface="Courier" charset="0"/>
                <a:cs typeface="Courier" charset="0"/>
              </a:rPr>
              <a:t>Extension Length    </a:t>
            </a:r>
            <a:r>
              <a:rPr lang="en-US" sz="1100" dirty="0">
                <a:solidFill>
                  <a:srgbClr val="000000"/>
                </a:solidFill>
                <a:latin typeface="Courier" charset="0"/>
                <a:ea typeface="Courier" charset="0"/>
                <a:cs typeface="Courier" charset="0"/>
              </a:rPr>
              <a:t>|       </a:t>
            </a:r>
            <a:r>
              <a:rPr lang="en-US" sz="1100" b="1" dirty="0">
                <a:solidFill>
                  <a:srgbClr val="FF0000"/>
                </a:solidFill>
                <a:latin typeface="Courier" charset="0"/>
                <a:ea typeface="Courier" charset="0"/>
                <a:cs typeface="Courier" charset="0"/>
              </a:rPr>
              <a:t>Domain Specific ID     </a:t>
            </a:r>
            <a:r>
              <a:rPr lang="en-US" sz="1100" dirty="0">
                <a:solidFill>
                  <a:srgbClr val="000000"/>
                </a:solidFill>
                <a:latin typeface="Courier" charset="0"/>
                <a:ea typeface="Courier" charset="0"/>
                <a:cs typeface="Courier" charset="0"/>
              </a:rPr>
              <a:t> |</a:t>
            </a:r>
            <a:endParaRPr lang="en-US" sz="1100" dirty="0">
              <a:latin typeface="Times New Roman" charset="0"/>
              <a:ea typeface="Times New Roman" charset="0"/>
            </a:endParaRPr>
          </a:p>
          <a:p>
            <a:r>
              <a:rPr lang="en-US" sz="1100" dirty="0">
                <a:solidFill>
                  <a:srgbClr val="000000"/>
                </a:solidFill>
                <a:latin typeface="Courier" charset="0"/>
                <a:ea typeface="Courier" charset="0"/>
                <a:cs typeface="Courier" charset="0"/>
              </a:rPr>
              <a:t>+-+-+-+-+-+-+-+-+-+-+-+-+-+-+-+-+-+-+-+-+-+-+-+-+-+-+-+-+-+-+-+-+</a:t>
            </a:r>
            <a:endParaRPr lang="en-US" sz="1100" dirty="0">
              <a:latin typeface="Times New Roman" charset="0"/>
              <a:ea typeface="Times New Roman" charset="0"/>
            </a:endParaRPr>
          </a:p>
          <a:p>
            <a:r>
              <a:rPr lang="en-US" sz="1100" dirty="0">
                <a:latin typeface="Times New Roman" charset="0"/>
                <a:ea typeface="Times New Roman" charset="0"/>
              </a:rPr>
              <a:t>|                                                          </a:t>
            </a:r>
            <a:r>
              <a:rPr lang="en-US" sz="1100" b="1" dirty="0">
                <a:latin typeface="Times New Roman" charset="0"/>
                <a:ea typeface="Times New Roman" charset="0"/>
              </a:rPr>
              <a:t> </a:t>
            </a:r>
            <a:r>
              <a:rPr lang="en-US" sz="1100" b="1" dirty="0">
                <a:latin typeface="Courier" pitchFamily="2" charset="0"/>
                <a:ea typeface="Times New Roman" charset="0"/>
              </a:rPr>
              <a:t>Extensions </a:t>
            </a:r>
            <a:r>
              <a:rPr lang="en-US" sz="1100" dirty="0">
                <a:solidFill>
                  <a:srgbClr val="000000"/>
                </a:solidFill>
                <a:latin typeface="Courier" pitchFamily="2" charset="0"/>
                <a:ea typeface="Courier" charset="0"/>
                <a:cs typeface="Courier" charset="0"/>
              </a:rPr>
              <a:t>Data</a:t>
            </a:r>
            <a:r>
              <a:rPr lang="en-US" sz="1100" dirty="0">
                <a:solidFill>
                  <a:srgbClr val="000000"/>
                </a:solidFill>
                <a:latin typeface="Courier" charset="0"/>
                <a:ea typeface="Courier" charset="0"/>
                <a:cs typeface="Courier" charset="0"/>
              </a:rPr>
              <a:t>                        |                      </a:t>
            </a:r>
            <a:endParaRPr lang="en-US" sz="1100" dirty="0">
              <a:latin typeface="Times New Roman" charset="0"/>
              <a:ea typeface="Times New Roman" charset="0"/>
            </a:endParaRPr>
          </a:p>
          <a:p>
            <a:r>
              <a:rPr lang="en-US" sz="1100" dirty="0">
                <a:solidFill>
                  <a:srgbClr val="000000"/>
                </a:solidFill>
                <a:latin typeface="Courier" charset="0"/>
                <a:ea typeface="Courier" charset="0"/>
                <a:cs typeface="Courier" charset="0"/>
              </a:rPr>
              <a:t>+-+-+-+-+-+-+-+-+-+-+-+-+-+-+-+-+-+-+-+-+-+-+-+-+-+-+-+-+-+-+-+-+</a:t>
            </a:r>
            <a:endParaRPr lang="en-US" sz="1100" dirty="0">
              <a:latin typeface="Times New Roman" charset="0"/>
              <a:ea typeface="Times New Roman" charset="0"/>
            </a:endParaRPr>
          </a:p>
          <a:p>
            <a:r>
              <a:rPr lang="en-US" sz="1100" dirty="0">
                <a:latin typeface="Times New Roman" charset="0"/>
                <a:ea typeface="Times New Roman" charset="0"/>
              </a:rPr>
              <a:t>|                                                          </a:t>
            </a:r>
            <a:r>
              <a:rPr lang="en-US" sz="1100" b="1" dirty="0">
                <a:latin typeface="Times New Roman" charset="0"/>
                <a:ea typeface="Times New Roman" charset="0"/>
              </a:rPr>
              <a:t> </a:t>
            </a:r>
            <a:r>
              <a:rPr lang="en-US" sz="1100" b="1" dirty="0">
                <a:latin typeface="Courier" pitchFamily="2" charset="0"/>
                <a:ea typeface="Times New Roman" charset="0"/>
              </a:rPr>
              <a:t>Extensions </a:t>
            </a:r>
            <a:r>
              <a:rPr lang="en-US" sz="1100" dirty="0">
                <a:solidFill>
                  <a:srgbClr val="000000"/>
                </a:solidFill>
                <a:latin typeface="Courier" pitchFamily="2" charset="0"/>
                <a:ea typeface="Courier" charset="0"/>
                <a:cs typeface="Courier" charset="0"/>
              </a:rPr>
              <a:t>Data</a:t>
            </a:r>
            <a:r>
              <a:rPr lang="en-US" sz="1100" dirty="0">
                <a:solidFill>
                  <a:srgbClr val="000000"/>
                </a:solidFill>
                <a:latin typeface="Courier" charset="0"/>
                <a:ea typeface="Courier" charset="0"/>
                <a:cs typeface="Courier" charset="0"/>
              </a:rPr>
              <a:t>                        | +-+-+-+-+-+-+-+-+-+-+-+-+-+-+-+-+-+-+-+-+-+-+-+-+-+-+-+-+-+-+-+-+</a:t>
            </a:r>
            <a:endParaRPr lang="en-US" sz="1100" dirty="0">
              <a:latin typeface="Times New Roman" charset="0"/>
              <a:ea typeface="Times New Roman" charset="0"/>
            </a:endParaRPr>
          </a:p>
          <a:p>
            <a:r>
              <a:rPr lang="en-US" sz="1100" dirty="0">
                <a:solidFill>
                  <a:srgbClr val="000000"/>
                </a:solidFill>
                <a:latin typeface="Courier" charset="0"/>
                <a:ea typeface="Courier" charset="0"/>
                <a:cs typeface="Courier" charset="0"/>
              </a:rPr>
              <a:t>|                               .                               |</a:t>
            </a:r>
            <a:endParaRPr lang="en-US" sz="1100" dirty="0">
              <a:latin typeface="Times New Roman" charset="0"/>
              <a:ea typeface="Times New Roman" charset="0"/>
            </a:endParaRPr>
          </a:p>
          <a:p>
            <a:r>
              <a:rPr lang="en-US" sz="1100" dirty="0">
                <a:solidFill>
                  <a:srgbClr val="000000"/>
                </a:solidFill>
                <a:latin typeface="Courier" charset="0"/>
                <a:ea typeface="Courier" charset="0"/>
                <a:cs typeface="Courier" charset="0"/>
              </a:rPr>
              <a:t>+-+-+-+-+-+-+-+-+-+-+-+-+-+-+-+-+-+-+-+-+-+-+-+-+-+-+-+-+-+-+-+-+</a:t>
            </a:r>
            <a:endParaRPr lang="en-US" sz="1100" dirty="0">
              <a:latin typeface="Times New Roman" charset="0"/>
              <a:ea typeface="Times New Roman" charset="0"/>
            </a:endParaRPr>
          </a:p>
          <a:p>
            <a:r>
              <a:rPr lang="en-US" sz="1100" dirty="0">
                <a:solidFill>
                  <a:srgbClr val="000000"/>
                </a:solidFill>
                <a:latin typeface="Courier" charset="0"/>
                <a:ea typeface="Courier" charset="0"/>
                <a:cs typeface="Courier" charset="0"/>
              </a:rPr>
              <a:t>|                               .                       </a:t>
            </a:r>
            <a:endParaRPr lang="en-US" sz="1100" dirty="0">
              <a:latin typeface="Times New Roman" charset="0"/>
              <a:ea typeface="Times New Roman" charset="0"/>
            </a:endParaRPr>
          </a:p>
          <a:p>
            <a:r>
              <a:rPr lang="en-US" sz="1100" dirty="0">
                <a:solidFill>
                  <a:srgbClr val="000000"/>
                </a:solidFill>
                <a:latin typeface="Courier" charset="0"/>
                <a:ea typeface="Courier" charset="0"/>
                <a:cs typeface="Courier" charset="0"/>
              </a:rPr>
              <a:t>+-+-+-+-+-+-+-+-+-+-+-+-+-+-+-+-+-+-+-+-+-+-+-+-+-+-+-+-+-+-+-+-+</a:t>
            </a:r>
            <a:endParaRPr lang="en-US" sz="1100" dirty="0">
              <a:latin typeface="Times New Roman" charset="0"/>
              <a:ea typeface="Times New Roman" charset="0"/>
            </a:endParaRPr>
          </a:p>
          <a:p>
            <a:r>
              <a:rPr lang="en-US" sz="1100" dirty="0">
                <a:solidFill>
                  <a:srgbClr val="000000"/>
                </a:solidFill>
                <a:latin typeface="Courier" charset="0"/>
                <a:ea typeface="Courier" charset="0"/>
                <a:cs typeface="Courier" charset="0"/>
              </a:rPr>
              <a:t>|                               .                               | +-+-+-+-+-+-+-+-+-+-+-+-+-+-+-+-+-+-+-+-+-+-+-+-+-+-+-+-+-+-+-+-+</a:t>
            </a:r>
            <a:endParaRPr lang="en-US" sz="1100" dirty="0">
              <a:latin typeface="Times New Roman" charset="0"/>
              <a:ea typeface="Times New Roman" charset="0"/>
            </a:endParaRPr>
          </a:p>
          <a:p>
            <a:pPr marL="0" marR="0">
              <a:spcBef>
                <a:spcPts val="0"/>
              </a:spcBef>
              <a:spcAft>
                <a:spcPts val="0"/>
              </a:spcAft>
            </a:pPr>
            <a:endParaRPr lang="en-US" sz="1100" dirty="0">
              <a:effectLst/>
              <a:latin typeface="Courier" pitchFamily="2" charset="0"/>
              <a:ea typeface="Times New Roman" charset="0"/>
            </a:endParaRPr>
          </a:p>
        </p:txBody>
      </p:sp>
      <p:sp>
        <p:nvSpPr>
          <p:cNvPr id="8" name="Content Placeholder 4">
            <a:extLst>
              <a:ext uri="{FF2B5EF4-FFF2-40B4-BE49-F238E27FC236}">
                <a16:creationId xmlns:a16="http://schemas.microsoft.com/office/drawing/2014/main" id="{9D893702-E581-8040-8BD6-A3005AD92EB4}"/>
              </a:ext>
            </a:extLst>
          </p:cNvPr>
          <p:cNvSpPr txBox="1">
            <a:spLocks/>
          </p:cNvSpPr>
          <p:nvPr/>
        </p:nvSpPr>
        <p:spPr bwMode="auto">
          <a:xfrm>
            <a:off x="6296629" y="1312505"/>
            <a:ext cx="5641154" cy="6038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187325" indent="-185738" algn="l" rtl="0" eaLnBrk="0" fontAlgn="base" hangingPunct="0">
              <a:lnSpc>
                <a:spcPct val="90000"/>
              </a:lnSpc>
              <a:spcBef>
                <a:spcPts val="1200"/>
              </a:spcBef>
              <a:spcAft>
                <a:spcPct val="0"/>
              </a:spcAft>
              <a:buSzPct val="80000"/>
              <a:buFont typeface="Arial" panose="020B0604020202020204" pitchFamily="34" charset="0"/>
              <a:buChar char="•"/>
              <a:defRPr>
                <a:solidFill>
                  <a:schemeClr val="tx1"/>
                </a:solidFill>
                <a:latin typeface="+mn-lt"/>
                <a:ea typeface="+mn-ea"/>
                <a:cs typeface="+mn-cs"/>
                <a:sym typeface="Arial" panose="020B0604020202020204" pitchFamily="34" charset="0"/>
              </a:defRPr>
            </a:lvl1pPr>
            <a:lvl2pPr marL="385763" indent="-193675" algn="l" rtl="0" eaLnBrk="0" fontAlgn="base" hangingPunct="0">
              <a:lnSpc>
                <a:spcPct val="90000"/>
              </a:lnSpc>
              <a:spcBef>
                <a:spcPts val="400"/>
              </a:spcBef>
              <a:spcAft>
                <a:spcPct val="0"/>
              </a:spcAft>
              <a:buSzPct val="80000"/>
              <a:buFont typeface="Arial" panose="020B0604020202020204" pitchFamily="34" charset="0"/>
              <a:buChar char="•"/>
              <a:defRPr sz="1600">
                <a:solidFill>
                  <a:schemeClr val="tx1"/>
                </a:solidFill>
                <a:latin typeface="+mn-lt"/>
                <a:ea typeface="+mn-ea"/>
                <a:cs typeface="+mn-cs"/>
                <a:sym typeface="Arial" panose="020B0604020202020204" pitchFamily="34" charset="0"/>
              </a:defRPr>
            </a:lvl2pPr>
            <a:lvl3pPr marL="54610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3pPr>
            <a:lvl4pPr marL="70485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4pPr>
            <a:lvl5pPr marL="773113" indent="-66675"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anose="020B0604020202020204"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r>
              <a:rPr lang="en-US" sz="900" b="1" dirty="0">
                <a:latin typeface="Courier" pitchFamily="2" charset="0"/>
              </a:rPr>
              <a:t>Length: </a:t>
            </a:r>
            <a:r>
              <a:rPr lang="en-US" sz="900" dirty="0">
                <a:latin typeface="Courier" pitchFamily="2" charset="0"/>
              </a:rPr>
              <a:t>Indicates length of report header in multiple of 4 octets, including the optional </a:t>
            </a:r>
            <a:r>
              <a:rPr lang="en-US" sz="900" dirty="0" err="1">
                <a:latin typeface="Courier" pitchFamily="2" charset="0"/>
              </a:rPr>
              <a:t>metadata.Extensiop</a:t>
            </a:r>
            <a:endParaRPr lang="en-US" sz="900" dirty="0">
              <a:latin typeface="Courier" pitchFamily="2" charset="0"/>
            </a:endParaRPr>
          </a:p>
          <a:p>
            <a:r>
              <a:rPr lang="en-US" sz="900" b="1" dirty="0" err="1">
                <a:latin typeface="Courier" pitchFamily="2" charset="0"/>
              </a:rPr>
              <a:t>Nproto</a:t>
            </a:r>
            <a:r>
              <a:rPr lang="en-US" sz="900" b="1" dirty="0">
                <a:latin typeface="Courier" pitchFamily="2" charset="0"/>
              </a:rPr>
              <a:t>: Next Protocol </a:t>
            </a:r>
          </a:p>
          <a:p>
            <a:pPr lvl="1"/>
            <a:r>
              <a:rPr lang="en-US" sz="900" b="1" dirty="0">
                <a:solidFill>
                  <a:srgbClr val="FF0000"/>
                </a:solidFill>
                <a:latin typeface="Courier" pitchFamily="2" charset="0"/>
              </a:rPr>
              <a:t>0 </a:t>
            </a:r>
            <a:r>
              <a:rPr lang="mr-IN" sz="900" b="1" dirty="0">
                <a:solidFill>
                  <a:srgbClr val="FF0000"/>
                </a:solidFill>
                <a:latin typeface="Courier" pitchFamily="2" charset="0"/>
              </a:rPr>
              <a:t>–</a:t>
            </a:r>
            <a:r>
              <a:rPr lang="en-US" sz="900" b="1" dirty="0">
                <a:solidFill>
                  <a:srgbClr val="FF0000"/>
                </a:solidFill>
                <a:latin typeface="Courier" pitchFamily="2" charset="0"/>
              </a:rPr>
              <a:t> Ethernet</a:t>
            </a:r>
          </a:p>
          <a:p>
            <a:pPr lvl="1"/>
            <a:r>
              <a:rPr lang="en-US" sz="900" b="1" dirty="0">
                <a:solidFill>
                  <a:srgbClr val="FF0000"/>
                </a:solidFill>
                <a:latin typeface="Courier" pitchFamily="2" charset="0"/>
              </a:rPr>
              <a:t>1 </a:t>
            </a:r>
            <a:r>
              <a:rPr lang="mr-IN" sz="900" b="1" dirty="0">
                <a:solidFill>
                  <a:srgbClr val="FF0000"/>
                </a:solidFill>
                <a:latin typeface="Courier" pitchFamily="2" charset="0"/>
              </a:rPr>
              <a:t>–</a:t>
            </a:r>
            <a:r>
              <a:rPr lang="en-US" sz="900" b="1" dirty="0">
                <a:solidFill>
                  <a:srgbClr val="FF0000"/>
                </a:solidFill>
                <a:latin typeface="Courier" pitchFamily="2" charset="0"/>
              </a:rPr>
              <a:t> IPv4</a:t>
            </a:r>
          </a:p>
          <a:p>
            <a:pPr lvl="1"/>
            <a:r>
              <a:rPr lang="en-US" sz="900" b="1" dirty="0">
                <a:solidFill>
                  <a:srgbClr val="FF0000"/>
                </a:solidFill>
                <a:latin typeface="Courier" pitchFamily="2" charset="0"/>
              </a:rPr>
              <a:t>2 </a:t>
            </a:r>
            <a:r>
              <a:rPr lang="mr-IN" sz="900" b="1" dirty="0">
                <a:solidFill>
                  <a:srgbClr val="FF0000"/>
                </a:solidFill>
                <a:latin typeface="Courier" pitchFamily="2" charset="0"/>
              </a:rPr>
              <a:t>–</a:t>
            </a:r>
            <a:r>
              <a:rPr lang="en-US" sz="900" b="1" dirty="0">
                <a:solidFill>
                  <a:srgbClr val="FF0000"/>
                </a:solidFill>
                <a:latin typeface="Courier" pitchFamily="2" charset="0"/>
              </a:rPr>
              <a:t> IPv6</a:t>
            </a:r>
          </a:p>
          <a:p>
            <a:pPr lvl="1"/>
            <a:r>
              <a:rPr lang="en-US" sz="900" dirty="0">
                <a:latin typeface="Courier" pitchFamily="2" charset="0"/>
              </a:rPr>
              <a:t>3 </a:t>
            </a:r>
            <a:r>
              <a:rPr lang="mr-IN" sz="900" dirty="0">
                <a:latin typeface="Courier" pitchFamily="2" charset="0"/>
              </a:rPr>
              <a:t>–</a:t>
            </a:r>
            <a:r>
              <a:rPr lang="en-US" sz="900" dirty="0">
                <a:latin typeface="Courier" pitchFamily="2" charset="0"/>
              </a:rPr>
              <a:t> </a:t>
            </a:r>
            <a:r>
              <a:rPr lang="en-US" sz="900" dirty="0" err="1">
                <a:latin typeface="Courier" pitchFamily="2" charset="0"/>
              </a:rPr>
              <a:t>Telemtery</a:t>
            </a:r>
            <a:r>
              <a:rPr lang="en-US" sz="900" dirty="0">
                <a:latin typeface="Courier" pitchFamily="2" charset="0"/>
              </a:rPr>
              <a:t> Extension</a:t>
            </a:r>
          </a:p>
        </p:txBody>
      </p:sp>
    </p:spTree>
    <p:extLst>
      <p:ext uri="{BB962C8B-B14F-4D97-AF65-F5344CB8AC3E}">
        <p14:creationId xmlns:p14="http://schemas.microsoft.com/office/powerpoint/2010/main" val="109760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a:xfrm>
            <a:off x="470567" y="77973"/>
            <a:ext cx="11350752" cy="1020576"/>
          </a:xfrm>
        </p:spPr>
        <p:txBody>
          <a:bodyPr/>
          <a:lstStyle/>
          <a:p>
            <a:r>
              <a:rPr lang="de-DE" dirty="0"/>
              <a:t>INT Header </a:t>
            </a:r>
            <a:r>
              <a:rPr lang="de-DE" dirty="0" err="1"/>
              <a:t>Types</a:t>
            </a:r>
            <a:endParaRPr lang="en-US" dirty="0"/>
          </a:p>
        </p:txBody>
      </p:sp>
      <p:sp>
        <p:nvSpPr>
          <p:cNvPr id="2" name="Rectangle 1"/>
          <p:cNvSpPr/>
          <p:nvPr/>
        </p:nvSpPr>
        <p:spPr>
          <a:xfrm>
            <a:off x="555464" y="1352548"/>
            <a:ext cx="10224296" cy="3847207"/>
          </a:xfrm>
          <a:prstGeom prst="rect">
            <a:avLst/>
          </a:prstGeom>
        </p:spPr>
        <p:txBody>
          <a:bodyPr wrap="square">
            <a:spAutoFit/>
          </a:bodyPr>
          <a:lstStyle/>
          <a:p>
            <a:pPr marL="285750" indent="-285750">
              <a:buFont typeface="Wingdings" charset="2"/>
              <a:buChar char="Ø"/>
            </a:pPr>
            <a:r>
              <a:rPr lang="en-US" sz="1800" dirty="0">
                <a:latin typeface="Courier" charset="0"/>
                <a:ea typeface="Courier" charset="0"/>
                <a:cs typeface="Courier" charset="0"/>
              </a:rPr>
              <a:t>Three types of INT Headers</a:t>
            </a:r>
          </a:p>
          <a:p>
            <a:pPr marL="285750" indent="-285750">
              <a:buFont typeface="Wingdings" charset="2"/>
              <a:buChar char="Ø"/>
            </a:pPr>
            <a:endParaRPr lang="en-US" sz="1800" dirty="0">
              <a:latin typeface="Courier" charset="0"/>
              <a:ea typeface="Courier" charset="0"/>
              <a:cs typeface="Courier" charset="0"/>
            </a:endParaRPr>
          </a:p>
          <a:p>
            <a:pPr marL="742905" lvl="1" indent="-285750">
              <a:buFont typeface="Wingdings" charset="2"/>
              <a:buChar char="q"/>
            </a:pPr>
            <a:r>
              <a:rPr lang="en-US" sz="1600" dirty="0">
                <a:latin typeface="Courier" charset="0"/>
                <a:ea typeface="Courier" charset="0"/>
                <a:cs typeface="Courier" charset="0"/>
              </a:rPr>
              <a:t>INT-MD: Hop-by-Hop - Intermediate devices (INT Transit Hops) must process this type of INT Header.</a:t>
            </a:r>
          </a:p>
          <a:p>
            <a:pPr marL="742905" lvl="1" indent="-285750">
              <a:buFont typeface="Wingdings" charset="2"/>
              <a:buChar char="q"/>
            </a:pPr>
            <a:endParaRPr lang="en-US" sz="1600" dirty="0">
              <a:latin typeface="Courier" charset="0"/>
              <a:ea typeface="Courier" charset="0"/>
              <a:cs typeface="Courier" charset="0"/>
            </a:endParaRPr>
          </a:p>
          <a:p>
            <a:pPr marL="742905" lvl="1" indent="-285750">
              <a:buFont typeface="Wingdings" charset="2"/>
              <a:buChar char="q"/>
            </a:pPr>
            <a:r>
              <a:rPr lang="en-US" sz="1600" dirty="0">
                <a:latin typeface="Courier" charset="0"/>
                <a:ea typeface="Courier" charset="0"/>
                <a:cs typeface="Courier" charset="0"/>
              </a:rPr>
              <a:t>INT MD: Destination - Destination headers must only be consumed by the INT Sink; intermediate devices must ignore Destination headers.</a:t>
            </a:r>
          </a:p>
          <a:p>
            <a:pPr marL="742905" lvl="1" indent="-285750">
              <a:buFont typeface="Wingdings" charset="2"/>
              <a:buChar char="q"/>
            </a:pPr>
            <a:endParaRPr lang="en-US" sz="1600" dirty="0">
              <a:latin typeface="Courier" charset="0"/>
              <a:ea typeface="Courier" charset="0"/>
              <a:cs typeface="Courier" charset="0"/>
            </a:endParaRPr>
          </a:p>
          <a:p>
            <a:pPr marL="1200059" lvl="2" indent="-285750">
              <a:buFont typeface="Wingdings" charset="2"/>
              <a:buChar char="v"/>
            </a:pPr>
            <a:r>
              <a:rPr lang="en-US" sz="1400" dirty="0">
                <a:latin typeface="Courier" charset="0"/>
                <a:ea typeface="Courier" charset="0"/>
                <a:cs typeface="Courier" charset="0"/>
              </a:rPr>
              <a:t>To enable communication between INT Source and INT Sink.</a:t>
            </a:r>
          </a:p>
          <a:p>
            <a:pPr marL="1200059" lvl="2" indent="-285750">
              <a:buFont typeface="Wingdings" charset="2"/>
              <a:buChar char="v"/>
            </a:pPr>
            <a:r>
              <a:rPr lang="en-US" sz="1400" dirty="0">
                <a:latin typeface="Courier" charset="0"/>
                <a:ea typeface="Courier" charset="0"/>
                <a:cs typeface="Courier" charset="0"/>
              </a:rPr>
              <a:t>To deliver follow-up INT Packet to the INT Sinks</a:t>
            </a:r>
          </a:p>
          <a:p>
            <a:pPr marL="742905" lvl="1" indent="-285750">
              <a:buFont typeface="Wingdings" pitchFamily="2" charset="2"/>
              <a:buChar char="q"/>
            </a:pPr>
            <a:endParaRPr lang="en-US" sz="1400" dirty="0">
              <a:latin typeface="Courier" charset="0"/>
              <a:ea typeface="Courier" charset="0"/>
              <a:cs typeface="Courier" charset="0"/>
            </a:endParaRPr>
          </a:p>
          <a:p>
            <a:pPr marL="742905" lvl="1" indent="-285750">
              <a:buFont typeface="Wingdings" charset="2"/>
              <a:buChar char="q"/>
            </a:pPr>
            <a:r>
              <a:rPr lang="en-US" sz="1600" dirty="0">
                <a:latin typeface="Courier" charset="0"/>
                <a:ea typeface="Courier" charset="0"/>
                <a:cs typeface="Courier" charset="0"/>
              </a:rPr>
              <a:t>INT-MX: Direct Export – Source devices, Intermediate devices (INT Transit Hops) and Sink devices must process this type of INT Header.</a:t>
            </a:r>
          </a:p>
          <a:p>
            <a:pPr lvl="1"/>
            <a:endParaRPr lang="en-US" sz="1400" dirty="0">
              <a:latin typeface="Courier" charset="0"/>
              <a:ea typeface="Courier" charset="0"/>
              <a:cs typeface="Courier" charset="0"/>
            </a:endParaRPr>
          </a:p>
          <a:p>
            <a:r>
              <a:rPr lang="en-US" sz="1200" dirty="0">
                <a:latin typeface="Courier" charset="0"/>
                <a:ea typeface="Courier" charset="0"/>
                <a:cs typeface="Courier" charset="0"/>
              </a:rPr>
              <a:t> </a:t>
            </a:r>
          </a:p>
          <a:p>
            <a:r>
              <a:rPr lang="en-US" sz="1200" dirty="0">
                <a:latin typeface="Courier" charset="0"/>
                <a:ea typeface="Courier" charset="0"/>
                <a:cs typeface="Courier" charset="0"/>
              </a:rPr>
              <a:t> </a:t>
            </a:r>
          </a:p>
        </p:txBody>
      </p:sp>
    </p:spTree>
    <p:extLst>
      <p:ext uri="{BB962C8B-B14F-4D97-AF65-F5344CB8AC3E}">
        <p14:creationId xmlns:p14="http://schemas.microsoft.com/office/powerpoint/2010/main" val="1454927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latin typeface="Courier" charset="0"/>
                <a:ea typeface="Courier" charset="0"/>
                <a:cs typeface="Courier" charset="0"/>
              </a:rPr>
              <a:t>Correlation of Telemetry Report</a:t>
            </a:r>
            <a:endParaRPr lang="en-US" sz="3600" dirty="0"/>
          </a:p>
        </p:txBody>
      </p:sp>
      <p:sp>
        <p:nvSpPr>
          <p:cNvPr id="6" name="Content Placeholder 4"/>
          <p:cNvSpPr txBox="1">
            <a:spLocks/>
          </p:cNvSpPr>
          <p:nvPr/>
        </p:nvSpPr>
        <p:spPr bwMode="auto">
          <a:xfrm>
            <a:off x="470568" y="1312505"/>
            <a:ext cx="11010232" cy="50781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187325" indent="-185738" algn="l" rtl="0" eaLnBrk="0" fontAlgn="base" hangingPunct="0">
              <a:lnSpc>
                <a:spcPct val="90000"/>
              </a:lnSpc>
              <a:spcBef>
                <a:spcPts val="1200"/>
              </a:spcBef>
              <a:spcAft>
                <a:spcPct val="0"/>
              </a:spcAft>
              <a:buSzPct val="80000"/>
              <a:buFont typeface="Arial" panose="020B0604020202020204" pitchFamily="34" charset="0"/>
              <a:buChar char="•"/>
              <a:defRPr>
                <a:solidFill>
                  <a:schemeClr val="tx1"/>
                </a:solidFill>
                <a:latin typeface="+mn-lt"/>
                <a:ea typeface="+mn-ea"/>
                <a:cs typeface="+mn-cs"/>
                <a:sym typeface="Arial" panose="020B0604020202020204" pitchFamily="34" charset="0"/>
              </a:defRPr>
            </a:lvl1pPr>
            <a:lvl2pPr marL="385763" indent="-193675" algn="l" rtl="0" eaLnBrk="0" fontAlgn="base" hangingPunct="0">
              <a:lnSpc>
                <a:spcPct val="90000"/>
              </a:lnSpc>
              <a:spcBef>
                <a:spcPts val="400"/>
              </a:spcBef>
              <a:spcAft>
                <a:spcPct val="0"/>
              </a:spcAft>
              <a:buSzPct val="80000"/>
              <a:buFont typeface="Arial" panose="020B0604020202020204" pitchFamily="34" charset="0"/>
              <a:buChar char="•"/>
              <a:defRPr sz="1600">
                <a:solidFill>
                  <a:schemeClr val="tx1"/>
                </a:solidFill>
                <a:latin typeface="+mn-lt"/>
                <a:ea typeface="+mn-ea"/>
                <a:cs typeface="+mn-cs"/>
                <a:sym typeface="Arial" panose="020B0604020202020204" pitchFamily="34" charset="0"/>
              </a:defRPr>
            </a:lvl2pPr>
            <a:lvl3pPr marL="54610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3pPr>
            <a:lvl4pPr marL="70485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4pPr>
            <a:lvl5pPr marL="773113" indent="-66675"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anose="020B0604020202020204"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a:buFont typeface="Wingdings" charset="2"/>
              <a:buChar char="Ø"/>
            </a:pPr>
            <a:r>
              <a:rPr lang="en-US" sz="1800" dirty="0">
                <a:latin typeface="Courier" charset="0"/>
                <a:ea typeface="Courier" charset="0"/>
                <a:cs typeface="Courier" charset="0"/>
              </a:rPr>
              <a:t>Monitoring Systems based upon:</a:t>
            </a:r>
          </a:p>
          <a:p>
            <a:pPr lvl="1">
              <a:buFont typeface="Wingdings" charset="2"/>
              <a:buChar char="q"/>
            </a:pPr>
            <a:r>
              <a:rPr lang="en-US" sz="1500" dirty="0">
                <a:latin typeface="Courier" charset="0"/>
                <a:ea typeface="Courier" charset="0"/>
                <a:cs typeface="Courier" charset="0"/>
              </a:rPr>
              <a:t>Original Packet headers.</a:t>
            </a:r>
          </a:p>
          <a:p>
            <a:pPr lvl="1">
              <a:buFont typeface="Wingdings" charset="2"/>
              <a:buChar char="q"/>
            </a:pPr>
            <a:r>
              <a:rPr lang="en-US" sz="1500" dirty="0">
                <a:latin typeface="Courier" charset="0"/>
                <a:ea typeface="Courier" charset="0"/>
                <a:cs typeface="Courier" charset="0"/>
              </a:rPr>
              <a:t>Association Bit for each category.</a:t>
            </a:r>
          </a:p>
          <a:p>
            <a:pPr>
              <a:buFont typeface="Wingdings" charset="2"/>
              <a:buChar char="Ø"/>
            </a:pPr>
            <a:endParaRPr lang="en-US" sz="1800" dirty="0">
              <a:latin typeface="Courier" charset="0"/>
              <a:ea typeface="Courier" charset="0"/>
              <a:cs typeface="Courier" charset="0"/>
            </a:endParaRPr>
          </a:p>
        </p:txBody>
      </p:sp>
    </p:spTree>
    <p:extLst>
      <p:ext uri="{BB962C8B-B14F-4D97-AF65-F5344CB8AC3E}">
        <p14:creationId xmlns:p14="http://schemas.microsoft.com/office/powerpoint/2010/main" val="2602948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bwMode="auto">
          <a:xfrm>
            <a:off x="270934" y="2476501"/>
            <a:ext cx="11275484" cy="9715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nchor="ctr"/>
          <a:lstStyle>
            <a:lvl1pPr marL="6251" indent="-6251" algn="l" rtl="0" eaLnBrk="0" fontAlgn="base" hangingPunct="0">
              <a:lnSpc>
                <a:spcPct val="90000"/>
              </a:lnSpc>
              <a:spcBef>
                <a:spcPct val="0"/>
              </a:spcBef>
              <a:spcAft>
                <a:spcPct val="0"/>
              </a:spcAft>
              <a:defRPr sz="2800" b="0" baseline="0">
                <a:solidFill>
                  <a:schemeClr val="accent1"/>
                </a:solidFill>
                <a:latin typeface="+mj-lt"/>
                <a:ea typeface="+mj-ea"/>
                <a:cs typeface="+mj-cs"/>
                <a:sym typeface="Arial" pitchFamily="34" charset="0"/>
              </a:defRPr>
            </a:lvl1pPr>
            <a:lvl2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marL="8334" indent="-8334" algn="ctr" defTabSz="914377">
              <a:lnSpc>
                <a:spcPct val="150000"/>
              </a:lnSpc>
              <a:defRPr/>
            </a:pPr>
            <a:endParaRPr lang="en-US" sz="4267" kern="0" dirty="0">
              <a:solidFill>
                <a:srgbClr val="FFFFFF"/>
              </a:solidFill>
              <a:latin typeface="CiscoSans Thin"/>
            </a:endParaRPr>
          </a:p>
        </p:txBody>
      </p:sp>
      <p:sp>
        <p:nvSpPr>
          <p:cNvPr id="4" name="Footer Placeholder 3"/>
          <p:cNvSpPr>
            <a:spLocks noGrp="1"/>
          </p:cNvSpPr>
          <p:nvPr>
            <p:ph type="ftr" sz="quarter" idx="3"/>
          </p:nvPr>
        </p:nvSpPr>
        <p:spPr/>
        <p:txBody>
          <a:bodyPr/>
          <a:lstStyle/>
          <a:p>
            <a:pPr defTabSz="814305">
              <a:defRPr/>
            </a:pPr>
            <a:r>
              <a:rPr lang="en-US">
                <a:solidFill>
                  <a:srgbClr val="FFFFFF">
                    <a:alpha val="60000"/>
                  </a:srgbClr>
                </a:solidFill>
                <a:latin typeface="Arial"/>
                <a:ea typeface="ＭＳ Ｐゴシック" charset="0"/>
              </a:rPr>
              <a:t>BRKSDN-2901</a:t>
            </a:r>
            <a:endParaRPr lang="en-US" dirty="0">
              <a:solidFill>
                <a:srgbClr val="FFFFFF">
                  <a:alpha val="60000"/>
                </a:srgbClr>
              </a:solidFill>
              <a:latin typeface="Arial"/>
              <a:ea typeface="ＭＳ Ｐゴシック" charset="0"/>
            </a:endParaRPr>
          </a:p>
        </p:txBody>
      </p:sp>
      <p:sp>
        <p:nvSpPr>
          <p:cNvPr id="7" name="Slide Number Placeholder 6"/>
          <p:cNvSpPr>
            <a:spLocks noGrp="1"/>
          </p:cNvSpPr>
          <p:nvPr>
            <p:ph type="sldNum" sz="quarter" idx="4"/>
          </p:nvPr>
        </p:nvSpPr>
        <p:spPr/>
        <p:txBody>
          <a:bodyPr/>
          <a:lstStyle/>
          <a:p>
            <a:pPr defTabSz="914377">
              <a:defRPr/>
            </a:pPr>
            <a:fld id="{96A97DD0-5BE7-4856-A2A9-C42C6688E607}" type="slidenum">
              <a:rPr lang="en-US">
                <a:solidFill>
                  <a:srgbClr val="FFFFFF">
                    <a:alpha val="60000"/>
                  </a:srgbClr>
                </a:solidFill>
                <a:latin typeface="Arial"/>
              </a:rPr>
              <a:pPr defTabSz="914377">
                <a:defRPr/>
              </a:pPr>
              <a:t>31</a:t>
            </a:fld>
            <a:endParaRPr lang="en-US" dirty="0">
              <a:solidFill>
                <a:srgbClr val="FFFFFF">
                  <a:alpha val="60000"/>
                </a:srgbClr>
              </a:solidFill>
              <a:latin typeface="Arial"/>
            </a:endParaRPr>
          </a:p>
        </p:txBody>
      </p:sp>
      <p:pic>
        <p:nvPicPr>
          <p:cNvPr id="8" name="Picture 6">
            <a:extLst>
              <a:ext uri="{FF2B5EF4-FFF2-40B4-BE49-F238E27FC236}">
                <a16:creationId xmlns:a16="http://schemas.microsoft.com/office/drawing/2014/main" id="{A254D304-854D-AA4A-8772-7301E9555C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4768727" y="2194987"/>
            <a:ext cx="2654548"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5455130"/>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bwMode="auto">
          <a:xfrm>
            <a:off x="270934" y="2476501"/>
            <a:ext cx="11275484" cy="9715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nchor="ctr"/>
          <a:lstStyle>
            <a:lvl1pPr marL="6251" indent="-6251" algn="l" rtl="0" eaLnBrk="0" fontAlgn="base" hangingPunct="0">
              <a:lnSpc>
                <a:spcPct val="90000"/>
              </a:lnSpc>
              <a:spcBef>
                <a:spcPct val="0"/>
              </a:spcBef>
              <a:spcAft>
                <a:spcPct val="0"/>
              </a:spcAft>
              <a:defRPr sz="2800" b="0" baseline="0">
                <a:solidFill>
                  <a:schemeClr val="accent1"/>
                </a:solidFill>
                <a:latin typeface="+mj-lt"/>
                <a:ea typeface="+mj-ea"/>
                <a:cs typeface="+mj-cs"/>
                <a:sym typeface="Arial" pitchFamily="34" charset="0"/>
              </a:defRPr>
            </a:lvl1pPr>
            <a:lvl2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marL="8334" indent="-8334" algn="ctr" defTabSz="914377">
              <a:lnSpc>
                <a:spcPct val="150000"/>
              </a:lnSpc>
              <a:defRPr/>
            </a:pPr>
            <a:endParaRPr lang="en-US" sz="4267" kern="0" dirty="0">
              <a:solidFill>
                <a:srgbClr val="FFFFFF"/>
              </a:solidFill>
              <a:latin typeface="CiscoSans Thin"/>
            </a:endParaRPr>
          </a:p>
        </p:txBody>
      </p:sp>
      <p:sp>
        <p:nvSpPr>
          <p:cNvPr id="4" name="Footer Placeholder 3"/>
          <p:cNvSpPr>
            <a:spLocks noGrp="1"/>
          </p:cNvSpPr>
          <p:nvPr>
            <p:ph type="ftr" sz="quarter" idx="3"/>
          </p:nvPr>
        </p:nvSpPr>
        <p:spPr/>
        <p:txBody>
          <a:bodyPr/>
          <a:lstStyle/>
          <a:p>
            <a:pPr defTabSz="814305">
              <a:defRPr/>
            </a:pPr>
            <a:r>
              <a:rPr lang="en-US">
                <a:solidFill>
                  <a:srgbClr val="FFFFFF">
                    <a:alpha val="60000"/>
                  </a:srgbClr>
                </a:solidFill>
                <a:latin typeface="Arial"/>
                <a:ea typeface="ＭＳ Ｐゴシック" charset="0"/>
              </a:rPr>
              <a:t>BRKSDN-2901</a:t>
            </a:r>
            <a:endParaRPr lang="en-US" dirty="0">
              <a:solidFill>
                <a:srgbClr val="FFFFFF">
                  <a:alpha val="60000"/>
                </a:srgbClr>
              </a:solidFill>
              <a:latin typeface="Arial"/>
              <a:ea typeface="ＭＳ Ｐゴシック" charset="0"/>
            </a:endParaRPr>
          </a:p>
        </p:txBody>
      </p:sp>
      <p:sp>
        <p:nvSpPr>
          <p:cNvPr id="7" name="Slide Number Placeholder 6"/>
          <p:cNvSpPr>
            <a:spLocks noGrp="1"/>
          </p:cNvSpPr>
          <p:nvPr>
            <p:ph type="sldNum" sz="quarter" idx="4"/>
          </p:nvPr>
        </p:nvSpPr>
        <p:spPr/>
        <p:txBody>
          <a:bodyPr/>
          <a:lstStyle/>
          <a:p>
            <a:pPr defTabSz="914377">
              <a:defRPr/>
            </a:pPr>
            <a:fld id="{96A97DD0-5BE7-4856-A2A9-C42C6688E607}" type="slidenum">
              <a:rPr lang="en-US">
                <a:solidFill>
                  <a:srgbClr val="FFFFFF">
                    <a:alpha val="60000"/>
                  </a:srgbClr>
                </a:solidFill>
                <a:latin typeface="Arial"/>
              </a:rPr>
              <a:pPr defTabSz="914377">
                <a:defRPr/>
              </a:pPr>
              <a:t>4</a:t>
            </a:fld>
            <a:endParaRPr lang="en-US" dirty="0">
              <a:solidFill>
                <a:srgbClr val="FFFFFF">
                  <a:alpha val="60000"/>
                </a:srgbClr>
              </a:solidFill>
              <a:latin typeface="Arial"/>
            </a:endParaRPr>
          </a:p>
        </p:txBody>
      </p:sp>
      <p:sp>
        <p:nvSpPr>
          <p:cNvPr id="6" name="Title 1"/>
          <p:cNvSpPr>
            <a:spLocks noGrp="1"/>
          </p:cNvSpPr>
          <p:nvPr>
            <p:ph type="title"/>
          </p:nvPr>
        </p:nvSpPr>
        <p:spPr>
          <a:xfrm>
            <a:off x="448833" y="1985911"/>
            <a:ext cx="11222524" cy="1666011"/>
          </a:xfrm>
        </p:spPr>
        <p:txBody>
          <a:bodyPr/>
          <a:lstStyle/>
          <a:p>
            <a:r>
              <a:rPr lang="en-US" dirty="0"/>
              <a:t>INT-MD Functionality</a:t>
            </a:r>
          </a:p>
        </p:txBody>
      </p:sp>
    </p:spTree>
    <p:extLst>
      <p:ext uri="{BB962C8B-B14F-4D97-AF65-F5344CB8AC3E}">
        <p14:creationId xmlns:p14="http://schemas.microsoft.com/office/powerpoint/2010/main" val="278051225"/>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0567" y="291929"/>
            <a:ext cx="11462932" cy="1020576"/>
          </a:xfrm>
        </p:spPr>
        <p:txBody>
          <a:bodyPr/>
          <a:lstStyle/>
          <a:p>
            <a:r>
              <a:rPr lang="en-US" sz="3600" dirty="0">
                <a:latin typeface="Courier" charset="0"/>
                <a:ea typeface="Courier" charset="0"/>
                <a:cs typeface="Courier" charset="0"/>
              </a:rPr>
              <a:t>INT-MD Metadata Header and Metadata Stack</a:t>
            </a:r>
            <a:br>
              <a:rPr lang="en-US" sz="3600" dirty="0">
                <a:latin typeface="Courier" charset="0"/>
                <a:ea typeface="Courier" charset="0"/>
                <a:cs typeface="Courier" charset="0"/>
              </a:rPr>
            </a:br>
            <a:r>
              <a:rPr lang="en-US" sz="3600" dirty="0">
                <a:latin typeface="Courier" charset="0"/>
                <a:ea typeface="Courier" charset="0"/>
                <a:cs typeface="Courier" charset="0"/>
              </a:rPr>
              <a:t>Version 2.0</a:t>
            </a:r>
            <a:endParaRPr lang="en-US" sz="3600" dirty="0"/>
          </a:p>
        </p:txBody>
      </p:sp>
      <p:sp>
        <p:nvSpPr>
          <p:cNvPr id="5" name="Rectangle 4"/>
          <p:cNvSpPr/>
          <p:nvPr/>
        </p:nvSpPr>
        <p:spPr>
          <a:xfrm>
            <a:off x="1833381" y="1312505"/>
            <a:ext cx="8202456" cy="4216539"/>
          </a:xfrm>
          <a:prstGeom prst="rect">
            <a:avLst/>
          </a:prstGeom>
        </p:spPr>
        <p:txBody>
          <a:bodyPr wrap="square">
            <a:spAutoFit/>
          </a:bodyPr>
          <a:lstStyle/>
          <a:p>
            <a:r>
              <a:rPr lang="en-US" sz="1600" dirty="0">
                <a:latin typeface="Courier" charset="0"/>
                <a:ea typeface="Courier" charset="0"/>
                <a:cs typeface="Courier" charset="0"/>
              </a:rPr>
              <a:t> </a:t>
            </a:r>
          </a:p>
          <a:p>
            <a:r>
              <a:rPr lang="en-US" sz="1600" dirty="0">
                <a:latin typeface="Courier" charset="0"/>
                <a:ea typeface="Courier" charset="0"/>
                <a:cs typeface="Courier" charset="0"/>
              </a:rPr>
              <a:t> 0                   1                   2                   3</a:t>
            </a:r>
          </a:p>
          <a:p>
            <a:r>
              <a:rPr lang="en-US" sz="1600" dirty="0">
                <a:latin typeface="Courier" charset="0"/>
                <a:ea typeface="Courier" charset="0"/>
                <a:cs typeface="Courier" charset="0"/>
              </a:rPr>
              <a:t> 0 1 2 3 4 5 6 7 8 9 0 1 2 3 4 5 6 7 8 9 0 1 2 3 4 5 6 7 8 9 0 1</a:t>
            </a:r>
          </a:p>
          <a:p>
            <a:r>
              <a:rPr lang="en-US" sz="1600" dirty="0">
                <a:latin typeface="Courier" charset="0"/>
                <a:ea typeface="Courier" charset="0"/>
                <a:cs typeface="Courier" charset="0"/>
              </a:rPr>
              <a:t>+-+-+-+-+-+-+-+-+-+-+-+-+-+-+-+-+-+-+-+-+-+-+-+-+-+-+-+-+-+-+-+-+</a:t>
            </a:r>
          </a:p>
          <a:p>
            <a:r>
              <a:rPr lang="en-US" sz="1600" dirty="0">
                <a:latin typeface="Courier" charset="0"/>
                <a:ea typeface="Courier" charset="0"/>
                <a:cs typeface="Courier" charset="0"/>
              </a:rPr>
              <a:t>|Ver = 2|Rep|C|E|M|     Reserved    | Hop ML  |</a:t>
            </a:r>
            <a:r>
              <a:rPr lang="en-US" sz="1600" dirty="0" err="1">
                <a:latin typeface="Courier" charset="0"/>
                <a:ea typeface="Courier" charset="0"/>
                <a:cs typeface="Courier" charset="0"/>
              </a:rPr>
              <a:t>RemainingHop</a:t>
            </a:r>
            <a:r>
              <a:rPr lang="en-US" sz="1600" dirty="0">
                <a:latin typeface="Courier" charset="0"/>
                <a:ea typeface="Courier" charset="0"/>
                <a:cs typeface="Courier" charset="0"/>
              </a:rPr>
              <a:t> </a:t>
            </a:r>
            <a:r>
              <a:rPr lang="en-US" sz="1600" dirty="0" err="1">
                <a:latin typeface="Courier" charset="0"/>
                <a:ea typeface="Courier" charset="0"/>
                <a:cs typeface="Courier" charset="0"/>
              </a:rPr>
              <a:t>Cnt</a:t>
            </a:r>
            <a:r>
              <a:rPr lang="en-US" sz="1600" dirty="0">
                <a:latin typeface="Courier" charset="0"/>
                <a:ea typeface="Courier" charset="0"/>
                <a:cs typeface="Courier" charset="0"/>
              </a:rPr>
              <a:t> |</a:t>
            </a:r>
          </a:p>
          <a:p>
            <a:r>
              <a:rPr lang="en-US" sz="1600" dirty="0">
                <a:latin typeface="Courier" charset="0"/>
                <a:ea typeface="Courier" charset="0"/>
                <a:cs typeface="Courier" charset="0"/>
              </a:rPr>
              <a:t>​+-+-+-+-+-+-+-+-+-+-+-+-+-+-+-+-+-+-+-+-+-+-+-+-+-+-+-+-+-+-+-+-+ </a:t>
            </a:r>
          </a:p>
          <a:p>
            <a:r>
              <a:rPr lang="en-US" sz="1600" dirty="0">
                <a:latin typeface="Courier" charset="0"/>
                <a:ea typeface="Courier" charset="0"/>
                <a:cs typeface="Courier" charset="0"/>
              </a:rPr>
              <a:t>|      Instruction Bitmap       |     </a:t>
            </a:r>
            <a:r>
              <a:rPr lang="en-US" sz="1600" dirty="0">
                <a:solidFill>
                  <a:srgbClr val="FF0000"/>
                </a:solidFill>
                <a:latin typeface="Courier" charset="0"/>
                <a:ea typeface="Courier" charset="0"/>
                <a:cs typeface="Courier" charset="0"/>
              </a:rPr>
              <a:t>Domain Specific ID        |</a:t>
            </a:r>
          </a:p>
          <a:p>
            <a:r>
              <a:rPr lang="en-US" sz="1600" dirty="0">
                <a:latin typeface="Courier" charset="0"/>
                <a:ea typeface="Courier" charset="0"/>
                <a:cs typeface="Courier" charset="0"/>
              </a:rPr>
              <a:t>+-+-+-+-+-+-+-+-+-+-+-+-+-+-+-+-+-+-+-+-+-+-+-+-+-+-+-+-+-+-+-+-+</a:t>
            </a:r>
            <a:r>
              <a:rPr lang="en-US" sz="1600" dirty="0">
                <a:solidFill>
                  <a:srgbClr val="FF0000"/>
                </a:solidFill>
                <a:latin typeface="Courier" charset="0"/>
                <a:ea typeface="Courier" charset="0"/>
                <a:cs typeface="Courier" charset="0"/>
              </a:rPr>
              <a:t> </a:t>
            </a:r>
          </a:p>
          <a:p>
            <a:r>
              <a:rPr lang="en-US" sz="1600" b="1" dirty="0">
                <a:latin typeface="Courier" charset="0"/>
                <a:ea typeface="Courier" charset="0"/>
                <a:cs typeface="Courier" charset="0"/>
              </a:rPr>
              <a:t>|</a:t>
            </a:r>
            <a:r>
              <a:rPr lang="en-US" sz="1600" b="1" dirty="0">
                <a:solidFill>
                  <a:srgbClr val="FF0000"/>
                </a:solidFill>
                <a:latin typeface="Courier" charset="0"/>
                <a:ea typeface="Courier" charset="0"/>
                <a:cs typeface="Courier" charset="0"/>
              </a:rPr>
              <a:t>            DS Instruction     |            DS Flags           </a:t>
            </a:r>
            <a:r>
              <a:rPr lang="en-US" sz="1600" dirty="0">
                <a:latin typeface="Courier" charset="0"/>
                <a:ea typeface="Courier" charset="0"/>
                <a:cs typeface="Courier" charset="0"/>
              </a:rPr>
              <a:t>|</a:t>
            </a:r>
          </a:p>
          <a:p>
            <a:r>
              <a:rPr lang="en-US" sz="1600" dirty="0">
                <a:latin typeface="Courier" charset="0"/>
                <a:ea typeface="Courier" charset="0"/>
                <a:cs typeface="Courier" charset="0"/>
              </a:rPr>
              <a:t>+-+-+-+-+-+-+-+-+-+-+-+-+-+-+-+-+-+-+-+-+-+-+-+-+-+-+-+-+-+-+-+-+</a:t>
            </a:r>
          </a:p>
          <a:p>
            <a:r>
              <a:rPr lang="en-US" sz="1600" dirty="0">
                <a:latin typeface="Courier" charset="0"/>
                <a:ea typeface="Courier" charset="0"/>
                <a:cs typeface="Courier" charset="0"/>
              </a:rPr>
              <a:t>| INT Metadata Stack (</a:t>
            </a:r>
            <a:r>
              <a:rPr lang="en-US" sz="1600" b="1" dirty="0">
                <a:latin typeface="Courier" charset="0"/>
                <a:ea typeface="Courier" charset="0"/>
                <a:cs typeface="Courier" charset="0"/>
              </a:rPr>
              <a:t>Each hop inserts HOP ML * 4B of metadata</a:t>
            </a:r>
            <a:r>
              <a:rPr lang="en-US" sz="1600" dirty="0">
                <a:latin typeface="Courier" charset="0"/>
                <a:ea typeface="Courier" charset="0"/>
                <a:cs typeface="Courier" charset="0"/>
              </a:rPr>
              <a:t>) |</a:t>
            </a:r>
          </a:p>
          <a:p>
            <a:r>
              <a:rPr lang="en-US" sz="1600" dirty="0">
                <a:latin typeface="Courier" charset="0"/>
                <a:ea typeface="Courier" charset="0"/>
                <a:cs typeface="Courier" charset="0"/>
              </a:rPr>
              <a:t>+-+-+-+-+-+-+-+-+-+-+-+-+-+-+-+-+-+-+-+-+-+-+-+-+-+-+-+-+-+-+-+-+</a:t>
            </a:r>
          </a:p>
          <a:p>
            <a:r>
              <a:rPr lang="en-US" sz="1600" dirty="0">
                <a:latin typeface="Courier" charset="0"/>
                <a:ea typeface="Courier" charset="0"/>
                <a:cs typeface="Courier" charset="0"/>
              </a:rPr>
              <a:t>|                              . . .                            |</a:t>
            </a:r>
          </a:p>
          <a:p>
            <a:r>
              <a:rPr lang="en-US" sz="1600" dirty="0">
                <a:latin typeface="Courier" charset="0"/>
                <a:ea typeface="Courier" charset="0"/>
                <a:cs typeface="Courier" charset="0"/>
              </a:rPr>
              <a:t>+-+-+-+-+-+-+-+-+-+-+-+-+-+-+-+-+-+-+-+-+-+-+-+-+-+-+-+-+-+-+-+-+</a:t>
            </a:r>
          </a:p>
          <a:p>
            <a:r>
              <a:rPr lang="en-US" sz="1600" dirty="0">
                <a:latin typeface="Courier" charset="0"/>
                <a:ea typeface="Courier" charset="0"/>
                <a:cs typeface="Courier" charset="0"/>
              </a:rPr>
              <a:t>|                      Last INT Metadata                        |</a:t>
            </a:r>
          </a:p>
          <a:p>
            <a:r>
              <a:rPr lang="en-US" sz="1600" dirty="0">
                <a:latin typeface="Courier" charset="0"/>
                <a:ea typeface="Courier" charset="0"/>
                <a:cs typeface="Courier" charset="0"/>
              </a:rPr>
              <a:t>+-+-+-+-+-+-+-+-+-+-+-+-+-+-+-+-+-+-+-+-+-+-+-+-+-+-+-+-+-+-+-+-+</a:t>
            </a:r>
          </a:p>
          <a:p>
            <a:r>
              <a:rPr lang="en-US" sz="1200" dirty="0">
                <a:latin typeface="Courier" charset="0"/>
                <a:ea typeface="Courier" charset="0"/>
                <a:cs typeface="Courier" charset="0"/>
              </a:rPr>
              <a:t> </a:t>
            </a:r>
          </a:p>
        </p:txBody>
      </p:sp>
    </p:spTree>
    <p:extLst>
      <p:ext uri="{BB962C8B-B14F-4D97-AF65-F5344CB8AC3E}">
        <p14:creationId xmlns:p14="http://schemas.microsoft.com/office/powerpoint/2010/main" val="1563208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0567" y="291929"/>
            <a:ext cx="11350752" cy="856152"/>
          </a:xfrm>
        </p:spPr>
        <p:txBody>
          <a:bodyPr/>
          <a:lstStyle/>
          <a:p>
            <a:r>
              <a:rPr lang="en-US" sz="3600" dirty="0">
                <a:latin typeface="Courier" charset="0"/>
                <a:ea typeface="Courier" charset="0"/>
                <a:cs typeface="Courier" charset="0"/>
              </a:rPr>
              <a:t>INT Metadata Header (Ver 2.0)</a:t>
            </a:r>
            <a:endParaRPr lang="en-US" sz="3600" dirty="0"/>
          </a:p>
        </p:txBody>
      </p:sp>
      <p:sp>
        <p:nvSpPr>
          <p:cNvPr id="7" name="Content Placeholder 4">
            <a:extLst>
              <a:ext uri="{FF2B5EF4-FFF2-40B4-BE49-F238E27FC236}">
                <a16:creationId xmlns:a16="http://schemas.microsoft.com/office/drawing/2014/main" id="{CEDF1A33-ABF3-8741-AFDF-44C032BEB68F}"/>
              </a:ext>
            </a:extLst>
          </p:cNvPr>
          <p:cNvSpPr txBox="1">
            <a:spLocks/>
          </p:cNvSpPr>
          <p:nvPr/>
        </p:nvSpPr>
        <p:spPr bwMode="auto">
          <a:xfrm>
            <a:off x="470567" y="1164830"/>
            <a:ext cx="4707075" cy="53180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187325" indent="-185738" algn="l" rtl="0" eaLnBrk="0" fontAlgn="base" hangingPunct="0">
              <a:lnSpc>
                <a:spcPct val="90000"/>
              </a:lnSpc>
              <a:spcBef>
                <a:spcPts val="1200"/>
              </a:spcBef>
              <a:spcAft>
                <a:spcPct val="0"/>
              </a:spcAft>
              <a:buSzPct val="80000"/>
              <a:buFont typeface="Arial" panose="020B0604020202020204" pitchFamily="34" charset="0"/>
              <a:buChar char="•"/>
              <a:defRPr>
                <a:solidFill>
                  <a:schemeClr val="tx1"/>
                </a:solidFill>
                <a:latin typeface="+mn-lt"/>
                <a:ea typeface="+mn-ea"/>
                <a:cs typeface="+mn-cs"/>
                <a:sym typeface="Arial" panose="020B0604020202020204" pitchFamily="34" charset="0"/>
              </a:defRPr>
            </a:lvl1pPr>
            <a:lvl2pPr marL="385763" indent="-193675" algn="l" rtl="0" eaLnBrk="0" fontAlgn="base" hangingPunct="0">
              <a:lnSpc>
                <a:spcPct val="90000"/>
              </a:lnSpc>
              <a:spcBef>
                <a:spcPts val="400"/>
              </a:spcBef>
              <a:spcAft>
                <a:spcPct val="0"/>
              </a:spcAft>
              <a:buSzPct val="80000"/>
              <a:buFont typeface="Arial" panose="020B0604020202020204" pitchFamily="34" charset="0"/>
              <a:buChar char="•"/>
              <a:defRPr sz="1600">
                <a:solidFill>
                  <a:schemeClr val="tx1"/>
                </a:solidFill>
                <a:latin typeface="+mn-lt"/>
                <a:ea typeface="+mn-ea"/>
                <a:cs typeface="+mn-cs"/>
                <a:sym typeface="Arial" panose="020B0604020202020204" pitchFamily="34" charset="0"/>
              </a:defRPr>
            </a:lvl2pPr>
            <a:lvl3pPr marL="54610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3pPr>
            <a:lvl4pPr marL="70485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4pPr>
            <a:lvl5pPr marL="773113" indent="-66675"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anose="020B0604020202020204"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r>
              <a:rPr lang="en-US" sz="1200" b="1" dirty="0" err="1">
                <a:latin typeface="Courier" charset="0"/>
                <a:ea typeface="Courier" charset="0"/>
                <a:cs typeface="Courier" charset="0"/>
              </a:rPr>
              <a:t>Ver</a:t>
            </a:r>
            <a:r>
              <a:rPr lang="en-US" sz="1200" b="1" dirty="0">
                <a:latin typeface="Courier" charset="0"/>
                <a:ea typeface="Courier" charset="0"/>
                <a:cs typeface="Courier" charset="0"/>
              </a:rPr>
              <a:t> (4b)</a:t>
            </a:r>
            <a:r>
              <a:rPr lang="en-US" sz="1200" dirty="0">
                <a:latin typeface="Courier" charset="0"/>
                <a:ea typeface="Courier" charset="0"/>
                <a:cs typeface="Courier" charset="0"/>
              </a:rPr>
              <a:t>: INT Metadata header version. Should be 2 for this version.</a:t>
            </a:r>
          </a:p>
          <a:p>
            <a:r>
              <a:rPr lang="en-US" sz="1200" b="1" dirty="0">
                <a:latin typeface="Courier" charset="0"/>
                <a:ea typeface="Courier" charset="0"/>
                <a:cs typeface="Courier" charset="0"/>
              </a:rPr>
              <a:t>Rep</a:t>
            </a:r>
            <a:r>
              <a:rPr lang="en-US" sz="1200" dirty="0">
                <a:latin typeface="Courier" charset="0"/>
                <a:ea typeface="Courier" charset="0"/>
                <a:cs typeface="Courier" charset="0"/>
              </a:rPr>
              <a:t> </a:t>
            </a:r>
            <a:r>
              <a:rPr lang="en-US" sz="1200" b="1" dirty="0">
                <a:latin typeface="Courier" charset="0"/>
                <a:ea typeface="Courier" charset="0"/>
                <a:cs typeface="Courier" charset="0"/>
              </a:rPr>
              <a:t>(2b): </a:t>
            </a:r>
            <a:r>
              <a:rPr lang="en-US" sz="1200" dirty="0">
                <a:latin typeface="Courier" charset="0"/>
                <a:ea typeface="Courier" charset="0"/>
                <a:cs typeface="Courier" charset="0"/>
              </a:rPr>
              <a:t>Replication Requested. Support is optional. Useful to explore all the valid physical forwarding paths (ECMP, LAG).</a:t>
            </a:r>
          </a:p>
          <a:p>
            <a:r>
              <a:rPr lang="en-US" sz="1200" b="1" dirty="0">
                <a:latin typeface="Courier" charset="0"/>
                <a:ea typeface="Courier" charset="0"/>
                <a:cs typeface="Courier" charset="0"/>
              </a:rPr>
              <a:t>C (1b</a:t>
            </a:r>
            <a:r>
              <a:rPr lang="en-US" sz="1200" b="1" dirty="0">
                <a:latin typeface="Courier" charset="0"/>
                <a:ea typeface="Courier" charset="0"/>
                <a:cs typeface="Courier" charset="0"/>
                <a:sym typeface="Wingdings" pitchFamily="2" charset="2"/>
              </a:rPr>
              <a:t>): </a:t>
            </a:r>
            <a:r>
              <a:rPr lang="en-US" sz="1200" dirty="0">
                <a:latin typeface="Courier" charset="0"/>
                <a:ea typeface="Courier" charset="0"/>
                <a:cs typeface="Courier" charset="0"/>
                <a:sym typeface="Wingdings" pitchFamily="2" charset="2"/>
              </a:rPr>
              <a:t>Copy. If replication requested for data packets, the INT sink must be able to distinguish original packets from replicas.</a:t>
            </a:r>
          </a:p>
          <a:p>
            <a:r>
              <a:rPr lang="en-US" sz="1200" b="1" dirty="0">
                <a:latin typeface="Courier" charset="0"/>
                <a:ea typeface="Courier" charset="0"/>
                <a:cs typeface="Courier" charset="0"/>
                <a:sym typeface="Wingdings" pitchFamily="2" charset="2"/>
              </a:rPr>
              <a:t>E (1b): </a:t>
            </a:r>
            <a:r>
              <a:rPr lang="en-US" sz="1200" dirty="0">
                <a:latin typeface="Courier" charset="0"/>
                <a:ea typeface="Courier" charset="0"/>
                <a:cs typeface="Courier" charset="0"/>
                <a:sym typeface="Wingdings" pitchFamily="2" charset="2"/>
              </a:rPr>
              <a:t>Max Hop Count Exceeded. This flag is set if a device cannot prepend its own metadata due to Remaining Hop Count reaching zero.</a:t>
            </a:r>
          </a:p>
          <a:p>
            <a:r>
              <a:rPr lang="en-US" sz="1200" b="1" dirty="0">
                <a:latin typeface="Courier" charset="0"/>
                <a:ea typeface="Courier" charset="0"/>
                <a:cs typeface="Courier" charset="0"/>
                <a:sym typeface="Wingdings" pitchFamily="2" charset="2"/>
              </a:rPr>
              <a:t>M (1b): </a:t>
            </a:r>
            <a:r>
              <a:rPr lang="en-US" sz="1200" dirty="0">
                <a:latin typeface="Courier" charset="0"/>
                <a:ea typeface="Courier" charset="0"/>
                <a:cs typeface="Courier" charset="0"/>
                <a:sym typeface="Wingdings" pitchFamily="2" charset="2"/>
              </a:rPr>
              <a:t>MTU Exceed. This flag must be set if a device cannot add all of the requested metadata because doing so will cause the packet length to exceed egress link MTU.</a:t>
            </a:r>
          </a:p>
          <a:p>
            <a:r>
              <a:rPr lang="en-US" sz="1200" b="1" dirty="0">
                <a:latin typeface="Courier" charset="0"/>
                <a:ea typeface="Courier" charset="0"/>
                <a:cs typeface="Courier" charset="0"/>
                <a:sym typeface="Wingdings" pitchFamily="2" charset="2"/>
              </a:rPr>
              <a:t>R (10b): </a:t>
            </a:r>
            <a:r>
              <a:rPr lang="en-US" sz="1200" dirty="0">
                <a:latin typeface="Courier" charset="0"/>
                <a:ea typeface="Courier" charset="0"/>
                <a:cs typeface="Courier" charset="0"/>
                <a:sym typeface="Wingdings" pitchFamily="2" charset="2"/>
              </a:rPr>
              <a:t>Reserved.</a:t>
            </a:r>
            <a:endParaRPr lang="en-US" sz="1200" dirty="0">
              <a:latin typeface="Courier" charset="0"/>
              <a:ea typeface="Courier" charset="0"/>
              <a:cs typeface="Courier" charset="0"/>
            </a:endParaRPr>
          </a:p>
          <a:p>
            <a:r>
              <a:rPr lang="en-US" sz="1200" b="1" dirty="0">
                <a:latin typeface="Courier" charset="0"/>
                <a:ea typeface="Courier" charset="0"/>
                <a:cs typeface="Courier" charset="0"/>
                <a:sym typeface="Wingdings" pitchFamily="2" charset="2"/>
              </a:rPr>
              <a:t>Hop ML (5b): </a:t>
            </a:r>
            <a:r>
              <a:rPr lang="en-US" sz="1200" dirty="0">
                <a:latin typeface="Courier" charset="0"/>
                <a:ea typeface="Courier" charset="0"/>
                <a:cs typeface="Courier" charset="0"/>
                <a:sym typeface="Wingdings" pitchFamily="2" charset="2"/>
              </a:rPr>
              <a:t>Per-hop Metadata Length, the length of metadata in 4-Byte words to be inserted at each INT hop.</a:t>
            </a:r>
          </a:p>
          <a:p>
            <a:r>
              <a:rPr lang="en-US" sz="1200" b="1" dirty="0" err="1">
                <a:latin typeface="Courier" charset="0"/>
                <a:ea typeface="Courier" charset="0"/>
                <a:cs typeface="Courier" charset="0"/>
                <a:sym typeface="Wingdings" pitchFamily="2" charset="2"/>
              </a:rPr>
              <a:t>RemainingHopCnt</a:t>
            </a:r>
            <a:r>
              <a:rPr lang="en-US" sz="1200" b="1" dirty="0">
                <a:latin typeface="Courier" charset="0"/>
                <a:ea typeface="Courier" charset="0"/>
                <a:cs typeface="Courier" charset="0"/>
                <a:sym typeface="Wingdings" pitchFamily="2" charset="2"/>
              </a:rPr>
              <a:t> (8b): </a:t>
            </a:r>
            <a:r>
              <a:rPr lang="en-US" sz="1200" dirty="0">
                <a:latin typeface="Courier" charset="0"/>
                <a:ea typeface="Courier" charset="0"/>
                <a:cs typeface="Courier" charset="0"/>
                <a:sym typeface="Wingdings" pitchFamily="2" charset="2"/>
              </a:rPr>
              <a:t>The remaining number of hops that allowed to add their metadata to the packet.</a:t>
            </a:r>
          </a:p>
          <a:p>
            <a:endParaRPr lang="en-US" sz="1200" dirty="0">
              <a:latin typeface="Courier" charset="0"/>
              <a:ea typeface="Courier" charset="0"/>
              <a:cs typeface="Courier" charset="0"/>
              <a:sym typeface="Wingdings" pitchFamily="2" charset="2"/>
            </a:endParaRPr>
          </a:p>
        </p:txBody>
      </p:sp>
      <p:sp>
        <p:nvSpPr>
          <p:cNvPr id="8" name="Oval 7">
            <a:extLst>
              <a:ext uri="{FF2B5EF4-FFF2-40B4-BE49-F238E27FC236}">
                <a16:creationId xmlns:a16="http://schemas.microsoft.com/office/drawing/2014/main" id="{3D114E0D-0956-3E4E-AF83-D5DA217CE661}"/>
              </a:ext>
            </a:extLst>
          </p:cNvPr>
          <p:cNvSpPr/>
          <p:nvPr/>
        </p:nvSpPr>
        <p:spPr>
          <a:xfrm>
            <a:off x="5749051" y="1935942"/>
            <a:ext cx="5902960" cy="426720"/>
          </a:xfrm>
          <a:prstGeom prst="ellipse">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348A339-C990-4F4E-9AA0-A9AD7A45021F}"/>
              </a:ext>
            </a:extLst>
          </p:cNvPr>
          <p:cNvSpPr/>
          <p:nvPr/>
        </p:nvSpPr>
        <p:spPr>
          <a:xfrm>
            <a:off x="5848785" y="1367924"/>
            <a:ext cx="5703492" cy="2970044"/>
          </a:xfrm>
          <a:prstGeom prst="rect">
            <a:avLst/>
          </a:prstGeom>
        </p:spPr>
        <p:txBody>
          <a:bodyPr wrap="square">
            <a:spAutoFit/>
          </a:bodyPr>
          <a:lstStyle/>
          <a:p>
            <a:r>
              <a:rPr lang="en-US" sz="1100" dirty="0">
                <a:latin typeface="Courier" charset="0"/>
                <a:ea typeface="Courier" charset="0"/>
                <a:cs typeface="Courier" charset="0"/>
              </a:rPr>
              <a:t> </a:t>
            </a:r>
          </a:p>
          <a:p>
            <a:r>
              <a:rPr lang="en-US" sz="1100" dirty="0">
                <a:latin typeface="Courier" charset="0"/>
                <a:ea typeface="Courier" charset="0"/>
                <a:cs typeface="Courier" charset="0"/>
              </a:rPr>
              <a:t> 0                   1                   2                   3</a:t>
            </a:r>
          </a:p>
          <a:p>
            <a:r>
              <a:rPr lang="en-US" sz="1100" dirty="0">
                <a:latin typeface="Courier" charset="0"/>
                <a:ea typeface="Courier" charset="0"/>
                <a:cs typeface="Courier" charset="0"/>
              </a:rPr>
              <a:t> 0 1 2 3 4 5 6 7 8 9 0 1 2 3 4 5 6 7 8 9 0 1 2 3 4 5 6 7 8 9 0 1</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Ver = 2|Rep|C|E|M|     Reserved    | Hop ML  |</a:t>
            </a:r>
            <a:r>
              <a:rPr lang="en-US" sz="1100" dirty="0" err="1">
                <a:latin typeface="Courier" charset="0"/>
                <a:ea typeface="Courier" charset="0"/>
                <a:cs typeface="Courier" charset="0"/>
              </a:rPr>
              <a:t>RemainingHop</a:t>
            </a:r>
            <a:r>
              <a:rPr lang="en-US" sz="1100" dirty="0">
                <a:latin typeface="Courier" charset="0"/>
                <a:ea typeface="Courier" charset="0"/>
                <a:cs typeface="Courier" charset="0"/>
              </a:rPr>
              <a:t> </a:t>
            </a:r>
            <a:r>
              <a:rPr lang="en-US" sz="1100" dirty="0" err="1">
                <a:latin typeface="Courier" charset="0"/>
                <a:ea typeface="Courier" charset="0"/>
                <a:cs typeface="Courier" charset="0"/>
              </a:rPr>
              <a:t>Cnt</a:t>
            </a:r>
            <a:r>
              <a:rPr lang="en-US" sz="1100" dirty="0">
                <a:latin typeface="Courier" charset="0"/>
                <a:ea typeface="Courier" charset="0"/>
                <a:cs typeface="Courier" charset="0"/>
              </a:rPr>
              <a:t> |</a:t>
            </a:r>
          </a:p>
          <a:p>
            <a:r>
              <a:rPr lang="en-US" sz="1100" dirty="0">
                <a:latin typeface="Courier" charset="0"/>
                <a:ea typeface="Courier" charset="0"/>
                <a:cs typeface="Courier" charset="0"/>
              </a:rPr>
              <a:t>​+-+-+-+-+-+-+-+-+-+-+-+-+-+-+-+-+-+-+-+-+-+-+-+-+-+-+-+-+-+-+-+-+ </a:t>
            </a:r>
          </a:p>
          <a:p>
            <a:r>
              <a:rPr lang="en-US" sz="1100" dirty="0">
                <a:latin typeface="Courier" charset="0"/>
                <a:ea typeface="Courier" charset="0"/>
                <a:cs typeface="Courier" charset="0"/>
              </a:rPr>
              <a:t>|      Instruction Bitmap       |     </a:t>
            </a:r>
            <a:r>
              <a:rPr lang="en-US" sz="1100" b="1" dirty="0">
                <a:solidFill>
                  <a:srgbClr val="FF0000"/>
                </a:solidFill>
                <a:latin typeface="Courier" charset="0"/>
                <a:ea typeface="Courier" charset="0"/>
                <a:cs typeface="Courier" charset="0"/>
              </a:rPr>
              <a:t>Domain Specific ID        </a:t>
            </a:r>
            <a:r>
              <a:rPr lang="en-US" sz="1100" dirty="0">
                <a:solidFill>
                  <a:srgbClr val="FF0000"/>
                </a:solidFill>
                <a:latin typeface="Courier" charset="0"/>
                <a:ea typeface="Courier" charset="0"/>
                <a:cs typeface="Courier" charset="0"/>
              </a:rPr>
              <a:t>|</a:t>
            </a:r>
          </a:p>
          <a:p>
            <a:r>
              <a:rPr lang="en-US" sz="1100" dirty="0">
                <a:latin typeface="Courier" charset="0"/>
                <a:ea typeface="Courier" charset="0"/>
                <a:cs typeface="Courier" charset="0"/>
              </a:rPr>
              <a:t>+-+-+-+-+-+-+-+-+-+-+-+-+-+-+-+-+-+-+-+-+-+-+-+-+-+-+-+-+-+-+-+-+</a:t>
            </a:r>
            <a:r>
              <a:rPr lang="en-US" sz="1100" dirty="0">
                <a:solidFill>
                  <a:srgbClr val="FF0000"/>
                </a:solidFill>
                <a:latin typeface="Courier" charset="0"/>
                <a:ea typeface="Courier" charset="0"/>
                <a:cs typeface="Courier" charset="0"/>
              </a:rPr>
              <a:t> </a:t>
            </a:r>
          </a:p>
          <a:p>
            <a:r>
              <a:rPr lang="en-US" sz="1100" b="1" dirty="0">
                <a:latin typeface="Courier" charset="0"/>
                <a:ea typeface="Courier" charset="0"/>
                <a:cs typeface="Courier" charset="0"/>
              </a:rPr>
              <a:t>|</a:t>
            </a:r>
            <a:r>
              <a:rPr lang="en-US" sz="1100" b="1" dirty="0">
                <a:solidFill>
                  <a:srgbClr val="FF0000"/>
                </a:solidFill>
                <a:latin typeface="Courier" charset="0"/>
                <a:ea typeface="Courier" charset="0"/>
                <a:cs typeface="Courier" charset="0"/>
              </a:rPr>
              <a:t>            DS Instruction     |            DS Flags           </a:t>
            </a:r>
            <a:r>
              <a:rPr lang="en-US" sz="1100" dirty="0">
                <a:latin typeface="Courier" charset="0"/>
                <a:ea typeface="Courier" charset="0"/>
                <a:cs typeface="Courier" charset="0"/>
              </a:rPr>
              <a:t>|</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INT Metadata Stack (</a:t>
            </a:r>
            <a:r>
              <a:rPr lang="en-US" sz="1100" b="1" dirty="0">
                <a:latin typeface="Courier" charset="0"/>
                <a:ea typeface="Courier" charset="0"/>
                <a:cs typeface="Courier" charset="0"/>
              </a:rPr>
              <a:t>Each hop inserts HOP ML * 4B of metadata</a:t>
            </a:r>
            <a:r>
              <a:rPr lang="en-US" sz="1100" dirty="0">
                <a:latin typeface="Courier" charset="0"/>
                <a:ea typeface="Courier" charset="0"/>
                <a:cs typeface="Courier" charset="0"/>
              </a:rPr>
              <a:t>) |</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 . .                            |</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Last INT Metadata                        |</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a:t>
            </a:r>
          </a:p>
        </p:txBody>
      </p:sp>
    </p:spTree>
    <p:extLst>
      <p:ext uri="{BB962C8B-B14F-4D97-AF65-F5344CB8AC3E}">
        <p14:creationId xmlns:p14="http://schemas.microsoft.com/office/powerpoint/2010/main" val="1859329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latin typeface="Courier" charset="0"/>
                <a:ea typeface="Courier" charset="0"/>
                <a:cs typeface="Courier" charset="0"/>
              </a:rPr>
              <a:t>INT Metadata Header </a:t>
            </a:r>
            <a:r>
              <a:rPr lang="mr-IN" sz="3600" dirty="0">
                <a:latin typeface="Courier" charset="0"/>
                <a:ea typeface="Courier" charset="0"/>
                <a:cs typeface="Courier" charset="0"/>
              </a:rPr>
              <a:t>–</a:t>
            </a:r>
            <a:r>
              <a:rPr lang="en-US" sz="3600" dirty="0">
                <a:latin typeface="Courier" charset="0"/>
                <a:ea typeface="Courier" charset="0"/>
                <a:cs typeface="Courier" charset="0"/>
              </a:rPr>
              <a:t> Instruction Bitmap</a:t>
            </a:r>
            <a:endParaRPr lang="en-US" sz="3600" dirty="0"/>
          </a:p>
        </p:txBody>
      </p:sp>
      <p:sp>
        <p:nvSpPr>
          <p:cNvPr id="3" name="Oval 2"/>
          <p:cNvSpPr/>
          <p:nvPr/>
        </p:nvSpPr>
        <p:spPr>
          <a:xfrm>
            <a:off x="5649317" y="2268451"/>
            <a:ext cx="3037483" cy="426720"/>
          </a:xfrm>
          <a:prstGeom prst="ellipse">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Content Placeholder 4"/>
          <p:cNvSpPr txBox="1">
            <a:spLocks/>
          </p:cNvSpPr>
          <p:nvPr/>
        </p:nvSpPr>
        <p:spPr bwMode="auto">
          <a:xfrm>
            <a:off x="687356" y="1470311"/>
            <a:ext cx="4521518" cy="47919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187325" indent="-185738" algn="l" rtl="0" eaLnBrk="0" fontAlgn="base" hangingPunct="0">
              <a:lnSpc>
                <a:spcPct val="90000"/>
              </a:lnSpc>
              <a:spcBef>
                <a:spcPts val="1200"/>
              </a:spcBef>
              <a:spcAft>
                <a:spcPct val="0"/>
              </a:spcAft>
              <a:buSzPct val="80000"/>
              <a:buFont typeface="Arial" panose="020B0604020202020204" pitchFamily="34" charset="0"/>
              <a:buChar char="•"/>
              <a:defRPr>
                <a:solidFill>
                  <a:schemeClr val="tx1"/>
                </a:solidFill>
                <a:latin typeface="+mn-lt"/>
                <a:ea typeface="+mn-ea"/>
                <a:cs typeface="+mn-cs"/>
                <a:sym typeface="Arial" panose="020B0604020202020204" pitchFamily="34" charset="0"/>
              </a:defRPr>
            </a:lvl1pPr>
            <a:lvl2pPr marL="385763" indent="-193675" algn="l" rtl="0" eaLnBrk="0" fontAlgn="base" hangingPunct="0">
              <a:lnSpc>
                <a:spcPct val="90000"/>
              </a:lnSpc>
              <a:spcBef>
                <a:spcPts val="400"/>
              </a:spcBef>
              <a:spcAft>
                <a:spcPct val="0"/>
              </a:spcAft>
              <a:buSzPct val="80000"/>
              <a:buFont typeface="Arial" panose="020B0604020202020204" pitchFamily="34" charset="0"/>
              <a:buChar char="•"/>
              <a:defRPr sz="1600">
                <a:solidFill>
                  <a:schemeClr val="tx1"/>
                </a:solidFill>
                <a:latin typeface="+mn-lt"/>
                <a:ea typeface="+mn-ea"/>
                <a:cs typeface="+mn-cs"/>
                <a:sym typeface="Arial" panose="020B0604020202020204" pitchFamily="34" charset="0"/>
              </a:defRPr>
            </a:lvl2pPr>
            <a:lvl3pPr marL="54610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3pPr>
            <a:lvl4pPr marL="70485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4pPr>
            <a:lvl5pPr marL="773113" indent="-66675"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anose="020B0604020202020204"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marL="1587" indent="0">
              <a:buNone/>
            </a:pPr>
            <a:r>
              <a:rPr lang="en-US" sz="1400" dirty="0">
                <a:latin typeface="Courier" charset="0"/>
                <a:ea typeface="Courier" charset="0"/>
                <a:cs typeface="Courier" charset="0"/>
              </a:rPr>
              <a:t>INT instructions are encoded as a bitmap in the 16­ bit INT Instruction field: each bit corresponds to a specific standard metadata.</a:t>
            </a:r>
          </a:p>
          <a:p>
            <a:pPr marL="1587" indent="0">
              <a:buNone/>
            </a:pPr>
            <a:endParaRPr lang="en-US" sz="1400" dirty="0">
              <a:latin typeface="Courier" charset="0"/>
              <a:ea typeface="Courier" charset="0"/>
              <a:cs typeface="Courier" charset="0"/>
            </a:endParaRPr>
          </a:p>
          <a:p>
            <a:pPr marL="371475" lvl="1" indent="-171450">
              <a:buFont typeface="Arial" charset="0"/>
              <a:buChar char="•"/>
            </a:pPr>
            <a:r>
              <a:rPr lang="en-US" sz="1400" dirty="0">
                <a:latin typeface="Courier" charset="0"/>
                <a:ea typeface="Courier" charset="0"/>
                <a:cs typeface="Courier" charset="0"/>
              </a:rPr>
              <a:t>bit0 (MSB): Switch ID</a:t>
            </a:r>
          </a:p>
          <a:p>
            <a:pPr marL="371475" lvl="1" indent="-171450">
              <a:buFont typeface="Arial" charset="0"/>
              <a:buChar char="•"/>
            </a:pPr>
            <a:r>
              <a:rPr lang="en-US" sz="1400" dirty="0">
                <a:latin typeface="Courier" charset="0"/>
                <a:ea typeface="Courier" charset="0"/>
                <a:cs typeface="Courier" charset="0"/>
              </a:rPr>
              <a:t>bit1: Level 1 Ingress port ID (16     bits) + Egress Port ID (16 bits)</a:t>
            </a:r>
          </a:p>
          <a:p>
            <a:pPr marL="371475" lvl="1" indent="-171450">
              <a:buFont typeface="Arial" charset="0"/>
              <a:buChar char="•"/>
            </a:pPr>
            <a:r>
              <a:rPr lang="en-US" sz="1400" dirty="0">
                <a:latin typeface="Courier" charset="0"/>
                <a:ea typeface="Courier" charset="0"/>
                <a:cs typeface="Courier" charset="0"/>
              </a:rPr>
              <a:t>bit2: Hop latency</a:t>
            </a:r>
          </a:p>
          <a:p>
            <a:pPr marL="371475" lvl="1" indent="-171450">
              <a:buFont typeface="Arial" charset="0"/>
              <a:buChar char="•"/>
            </a:pPr>
            <a:r>
              <a:rPr lang="en-US" sz="1400" dirty="0">
                <a:latin typeface="Courier" charset="0"/>
                <a:ea typeface="Courier" charset="0"/>
                <a:cs typeface="Courier" charset="0"/>
              </a:rPr>
              <a:t>bit3: Queue ID (8 bits) + Queue occupancy (24 bits)</a:t>
            </a:r>
          </a:p>
          <a:p>
            <a:pPr marL="371475" lvl="1" indent="-171450">
              <a:buFont typeface="Arial" charset="0"/>
              <a:buChar char="•"/>
            </a:pPr>
            <a:r>
              <a:rPr lang="en-US" sz="1400" dirty="0">
                <a:latin typeface="Courier" charset="0"/>
                <a:ea typeface="Courier" charset="0"/>
                <a:cs typeface="Courier" charset="0"/>
              </a:rPr>
              <a:t>bit4: Ingress timestamp</a:t>
            </a:r>
          </a:p>
          <a:p>
            <a:pPr marL="371475" lvl="1" indent="-171450">
              <a:buFont typeface="Arial" charset="0"/>
              <a:buChar char="•"/>
            </a:pPr>
            <a:r>
              <a:rPr lang="en-US" sz="1400" dirty="0">
                <a:latin typeface="Courier" charset="0"/>
                <a:ea typeface="Courier" charset="0"/>
                <a:cs typeface="Courier" charset="0"/>
              </a:rPr>
              <a:t>bit5: Egress timestamp</a:t>
            </a:r>
          </a:p>
          <a:p>
            <a:pPr marL="371475" lvl="1" indent="-171450">
              <a:buFont typeface="Arial" charset="0"/>
              <a:buChar char="•"/>
            </a:pPr>
            <a:r>
              <a:rPr lang="en-US" sz="1400" dirty="0">
                <a:latin typeface="Courier" charset="0"/>
                <a:ea typeface="Courier" charset="0"/>
                <a:cs typeface="Courier" charset="0"/>
              </a:rPr>
              <a:t>bit6: Level 2 Ingress port ID (32     bits) + Egress Port ID (32 bits)</a:t>
            </a:r>
          </a:p>
          <a:p>
            <a:pPr marL="371475" lvl="1" indent="-171450">
              <a:buFont typeface="Arial" charset="0"/>
              <a:buChar char="•"/>
            </a:pPr>
            <a:r>
              <a:rPr lang="en-US" sz="1400" dirty="0">
                <a:latin typeface="Courier" charset="0"/>
                <a:ea typeface="Courier" charset="0"/>
                <a:cs typeface="Courier" charset="0"/>
              </a:rPr>
              <a:t>bit7: Egress port TX utilization</a:t>
            </a:r>
          </a:p>
          <a:p>
            <a:pPr marL="371475" lvl="1" indent="-171450">
              <a:buFont typeface="Arial" charset="0"/>
              <a:buChar char="•"/>
            </a:pPr>
            <a:r>
              <a:rPr lang="en-US" sz="1400" dirty="0">
                <a:latin typeface="Courier" charset="0"/>
                <a:ea typeface="Courier" charset="0"/>
                <a:cs typeface="Courier" charset="0"/>
              </a:rPr>
              <a:t>Bit8: Buffer Occupancy (32 bits)</a:t>
            </a:r>
          </a:p>
          <a:p>
            <a:pPr marL="371475" lvl="1" indent="-171450">
              <a:buFont typeface="Arial" charset="0"/>
              <a:buChar char="•"/>
            </a:pPr>
            <a:r>
              <a:rPr lang="en-US" sz="1400" dirty="0">
                <a:solidFill>
                  <a:srgbClr val="FF0000"/>
                </a:solidFill>
                <a:latin typeface="Courier" charset="0"/>
                <a:ea typeface="Courier" charset="0"/>
                <a:cs typeface="Courier" charset="0"/>
              </a:rPr>
              <a:t>Bit 14: Domain Specific Instruction</a:t>
            </a:r>
          </a:p>
          <a:p>
            <a:pPr marL="371475" lvl="1" indent="-171450">
              <a:buFont typeface="Arial" charset="0"/>
              <a:buChar char="•"/>
            </a:pPr>
            <a:r>
              <a:rPr lang="en-US" sz="1400" dirty="0">
                <a:latin typeface="Courier" charset="0"/>
                <a:ea typeface="Courier" charset="0"/>
                <a:cs typeface="Courier" charset="0"/>
              </a:rPr>
              <a:t>bit15: Checksum Complement</a:t>
            </a:r>
          </a:p>
          <a:p>
            <a:pPr marL="371475" lvl="1" indent="-171450">
              <a:buFont typeface="Arial" charset="0"/>
              <a:buChar char="•"/>
            </a:pPr>
            <a:r>
              <a:rPr lang="en-US" sz="1400" dirty="0">
                <a:latin typeface="Courier" charset="0"/>
                <a:ea typeface="Courier" charset="0"/>
                <a:cs typeface="Courier" charset="0"/>
              </a:rPr>
              <a:t>The remaining bits are reserved</a:t>
            </a:r>
          </a:p>
          <a:p>
            <a:pPr marL="1587" indent="0">
              <a:buNone/>
            </a:pPr>
            <a:endParaRPr lang="en-US" sz="1400" dirty="0">
              <a:latin typeface="Courier" charset="0"/>
              <a:ea typeface="Courier" charset="0"/>
              <a:cs typeface="Courier" charset="0"/>
            </a:endParaRPr>
          </a:p>
        </p:txBody>
      </p:sp>
      <p:sp>
        <p:nvSpPr>
          <p:cNvPr id="9" name="Rectangle 8">
            <a:extLst>
              <a:ext uri="{FF2B5EF4-FFF2-40B4-BE49-F238E27FC236}">
                <a16:creationId xmlns:a16="http://schemas.microsoft.com/office/drawing/2014/main" id="{90C50857-077B-9945-BD03-F899DED73DB2}"/>
              </a:ext>
            </a:extLst>
          </p:cNvPr>
          <p:cNvSpPr/>
          <p:nvPr/>
        </p:nvSpPr>
        <p:spPr>
          <a:xfrm>
            <a:off x="5848785" y="1367924"/>
            <a:ext cx="5703492" cy="2970044"/>
          </a:xfrm>
          <a:prstGeom prst="rect">
            <a:avLst/>
          </a:prstGeom>
        </p:spPr>
        <p:txBody>
          <a:bodyPr wrap="square">
            <a:spAutoFit/>
          </a:bodyPr>
          <a:lstStyle/>
          <a:p>
            <a:r>
              <a:rPr lang="en-US" sz="1100" dirty="0">
                <a:latin typeface="Courier" charset="0"/>
                <a:ea typeface="Courier" charset="0"/>
                <a:cs typeface="Courier" charset="0"/>
              </a:rPr>
              <a:t> </a:t>
            </a:r>
          </a:p>
          <a:p>
            <a:r>
              <a:rPr lang="en-US" sz="1100" dirty="0">
                <a:latin typeface="Courier" charset="0"/>
                <a:ea typeface="Courier" charset="0"/>
                <a:cs typeface="Courier" charset="0"/>
              </a:rPr>
              <a:t> 0                   1                   2                   3</a:t>
            </a:r>
          </a:p>
          <a:p>
            <a:r>
              <a:rPr lang="en-US" sz="1100" dirty="0">
                <a:latin typeface="Courier" charset="0"/>
                <a:ea typeface="Courier" charset="0"/>
                <a:cs typeface="Courier" charset="0"/>
              </a:rPr>
              <a:t> 0 1 2 3 4 5 6 7 8 9 0 1 2 3 4 5 6 7 8 9 0 1 2 3 4 5 6 7 8 9 0 1</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Ver = 2|Rep|C|E|M|     Reserved    | Hop ML  |</a:t>
            </a:r>
            <a:r>
              <a:rPr lang="en-US" sz="1100" dirty="0" err="1">
                <a:latin typeface="Courier" charset="0"/>
                <a:ea typeface="Courier" charset="0"/>
                <a:cs typeface="Courier" charset="0"/>
              </a:rPr>
              <a:t>RemainingHop</a:t>
            </a:r>
            <a:r>
              <a:rPr lang="en-US" sz="1100" dirty="0">
                <a:latin typeface="Courier" charset="0"/>
                <a:ea typeface="Courier" charset="0"/>
                <a:cs typeface="Courier" charset="0"/>
              </a:rPr>
              <a:t> </a:t>
            </a:r>
            <a:r>
              <a:rPr lang="en-US" sz="1100" dirty="0" err="1">
                <a:latin typeface="Courier" charset="0"/>
                <a:ea typeface="Courier" charset="0"/>
                <a:cs typeface="Courier" charset="0"/>
              </a:rPr>
              <a:t>Cnt</a:t>
            </a:r>
            <a:r>
              <a:rPr lang="en-US" sz="1100" dirty="0">
                <a:latin typeface="Courier" charset="0"/>
                <a:ea typeface="Courier" charset="0"/>
                <a:cs typeface="Courier" charset="0"/>
              </a:rPr>
              <a:t> |</a:t>
            </a:r>
          </a:p>
          <a:p>
            <a:r>
              <a:rPr lang="en-US" sz="1100" dirty="0">
                <a:latin typeface="Courier" charset="0"/>
                <a:ea typeface="Courier" charset="0"/>
                <a:cs typeface="Courier" charset="0"/>
              </a:rPr>
              <a:t>​+-+-+-+-+-+-+-+-+-+-+-+-+-+-+-+-+-+-+-+-+-+-+-+-+-+-+-+-+-+-+-+-+ </a:t>
            </a:r>
          </a:p>
          <a:p>
            <a:r>
              <a:rPr lang="en-US" sz="1100" dirty="0">
                <a:latin typeface="Courier" charset="0"/>
                <a:ea typeface="Courier" charset="0"/>
                <a:cs typeface="Courier" charset="0"/>
              </a:rPr>
              <a:t>|      Instruction Bitmap       |     </a:t>
            </a:r>
            <a:r>
              <a:rPr lang="en-US" sz="1100" b="1" dirty="0">
                <a:solidFill>
                  <a:srgbClr val="FF0000"/>
                </a:solidFill>
                <a:latin typeface="Courier" charset="0"/>
                <a:ea typeface="Courier" charset="0"/>
                <a:cs typeface="Courier" charset="0"/>
              </a:rPr>
              <a:t>Domain Specific ID        </a:t>
            </a:r>
            <a:r>
              <a:rPr lang="en-US" sz="1100" dirty="0">
                <a:solidFill>
                  <a:srgbClr val="FF0000"/>
                </a:solidFill>
                <a:latin typeface="Courier" charset="0"/>
                <a:ea typeface="Courier" charset="0"/>
                <a:cs typeface="Courier" charset="0"/>
              </a:rPr>
              <a:t>|</a:t>
            </a:r>
          </a:p>
          <a:p>
            <a:r>
              <a:rPr lang="en-US" sz="1100" dirty="0">
                <a:latin typeface="Courier" charset="0"/>
                <a:ea typeface="Courier" charset="0"/>
                <a:cs typeface="Courier" charset="0"/>
              </a:rPr>
              <a:t>+-+-+-+-+-+-+-+-+-+-+-+-+-+-+-+-+-+-+-+-+-+-+-+-+-+-+-+-+-+-+-+-+</a:t>
            </a:r>
            <a:r>
              <a:rPr lang="en-US" sz="1100" dirty="0">
                <a:solidFill>
                  <a:srgbClr val="FF0000"/>
                </a:solidFill>
                <a:latin typeface="Courier" charset="0"/>
                <a:ea typeface="Courier" charset="0"/>
                <a:cs typeface="Courier" charset="0"/>
              </a:rPr>
              <a:t> </a:t>
            </a:r>
          </a:p>
          <a:p>
            <a:r>
              <a:rPr lang="en-US" sz="1100" b="1" dirty="0">
                <a:latin typeface="Courier" charset="0"/>
                <a:ea typeface="Courier" charset="0"/>
                <a:cs typeface="Courier" charset="0"/>
              </a:rPr>
              <a:t>|</a:t>
            </a:r>
            <a:r>
              <a:rPr lang="en-US" sz="1100" b="1" dirty="0">
                <a:solidFill>
                  <a:srgbClr val="FF0000"/>
                </a:solidFill>
                <a:latin typeface="Courier" charset="0"/>
                <a:ea typeface="Courier" charset="0"/>
                <a:cs typeface="Courier" charset="0"/>
              </a:rPr>
              <a:t>            DS Instruction     |            DS Flags           </a:t>
            </a:r>
            <a:r>
              <a:rPr lang="en-US" sz="1100" dirty="0">
                <a:latin typeface="Courier" charset="0"/>
                <a:ea typeface="Courier" charset="0"/>
                <a:cs typeface="Courier" charset="0"/>
              </a:rPr>
              <a:t>|</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INT Metadata Stack (</a:t>
            </a:r>
            <a:r>
              <a:rPr lang="en-US" sz="1100" b="1" dirty="0">
                <a:latin typeface="Courier" charset="0"/>
                <a:ea typeface="Courier" charset="0"/>
                <a:cs typeface="Courier" charset="0"/>
              </a:rPr>
              <a:t>Each hop inserts HOP ML * 4B of metadata</a:t>
            </a:r>
            <a:r>
              <a:rPr lang="en-US" sz="1100" dirty="0">
                <a:latin typeface="Courier" charset="0"/>
                <a:ea typeface="Courier" charset="0"/>
                <a:cs typeface="Courier" charset="0"/>
              </a:rPr>
              <a:t>) |</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 . .                            |</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Last INT Metadata                        |</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a:t>
            </a:r>
          </a:p>
        </p:txBody>
      </p:sp>
    </p:spTree>
    <p:extLst>
      <p:ext uri="{BB962C8B-B14F-4D97-AF65-F5344CB8AC3E}">
        <p14:creationId xmlns:p14="http://schemas.microsoft.com/office/powerpoint/2010/main" val="116770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latin typeface="Courier" charset="0"/>
                <a:ea typeface="Courier" charset="0"/>
                <a:cs typeface="Courier" charset="0"/>
              </a:rPr>
              <a:t>INT Metadata Header </a:t>
            </a:r>
            <a:r>
              <a:rPr lang="mr-IN" sz="3600" dirty="0">
                <a:latin typeface="Courier" charset="0"/>
                <a:ea typeface="Courier" charset="0"/>
                <a:cs typeface="Courier" charset="0"/>
              </a:rPr>
              <a:t>–</a:t>
            </a:r>
            <a:r>
              <a:rPr lang="en-US" sz="3600" dirty="0">
                <a:latin typeface="Courier" charset="0"/>
                <a:ea typeface="Courier" charset="0"/>
                <a:cs typeface="Courier" charset="0"/>
              </a:rPr>
              <a:t> Instruction Bitmap</a:t>
            </a:r>
            <a:endParaRPr lang="en-US" sz="3600" dirty="0"/>
          </a:p>
        </p:txBody>
      </p:sp>
      <p:sp>
        <p:nvSpPr>
          <p:cNvPr id="3" name="Oval 2"/>
          <p:cNvSpPr/>
          <p:nvPr/>
        </p:nvSpPr>
        <p:spPr>
          <a:xfrm>
            <a:off x="5749051" y="2639586"/>
            <a:ext cx="5902960" cy="426720"/>
          </a:xfrm>
          <a:prstGeom prst="ellipse">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Content Placeholder 4"/>
          <p:cNvSpPr txBox="1">
            <a:spLocks/>
          </p:cNvSpPr>
          <p:nvPr/>
        </p:nvSpPr>
        <p:spPr bwMode="auto">
          <a:xfrm>
            <a:off x="687356" y="1470311"/>
            <a:ext cx="4521518" cy="49027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187325" indent="-185738" algn="l" rtl="0" eaLnBrk="0" fontAlgn="base" hangingPunct="0">
              <a:lnSpc>
                <a:spcPct val="90000"/>
              </a:lnSpc>
              <a:spcBef>
                <a:spcPts val="1200"/>
              </a:spcBef>
              <a:spcAft>
                <a:spcPct val="0"/>
              </a:spcAft>
              <a:buSzPct val="80000"/>
              <a:buFont typeface="Arial" panose="020B0604020202020204" pitchFamily="34" charset="0"/>
              <a:buChar char="•"/>
              <a:defRPr>
                <a:solidFill>
                  <a:schemeClr val="tx1"/>
                </a:solidFill>
                <a:latin typeface="+mn-lt"/>
                <a:ea typeface="+mn-ea"/>
                <a:cs typeface="+mn-cs"/>
                <a:sym typeface="Arial" panose="020B0604020202020204" pitchFamily="34" charset="0"/>
              </a:defRPr>
            </a:lvl1pPr>
            <a:lvl2pPr marL="385763" indent="-193675" algn="l" rtl="0" eaLnBrk="0" fontAlgn="base" hangingPunct="0">
              <a:lnSpc>
                <a:spcPct val="90000"/>
              </a:lnSpc>
              <a:spcBef>
                <a:spcPts val="400"/>
              </a:spcBef>
              <a:spcAft>
                <a:spcPct val="0"/>
              </a:spcAft>
              <a:buSzPct val="80000"/>
              <a:buFont typeface="Arial" panose="020B0604020202020204" pitchFamily="34" charset="0"/>
              <a:buChar char="•"/>
              <a:defRPr sz="1600">
                <a:solidFill>
                  <a:schemeClr val="tx1"/>
                </a:solidFill>
                <a:latin typeface="+mn-lt"/>
                <a:ea typeface="+mn-ea"/>
                <a:cs typeface="+mn-cs"/>
                <a:sym typeface="Arial" panose="020B0604020202020204" pitchFamily="34" charset="0"/>
              </a:defRPr>
            </a:lvl2pPr>
            <a:lvl3pPr marL="54610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3pPr>
            <a:lvl4pPr marL="70485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4pPr>
            <a:lvl5pPr marL="773113" indent="-66675"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anose="020B0604020202020204"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r>
              <a:rPr lang="en-US" sz="1400" b="1" dirty="0">
                <a:solidFill>
                  <a:srgbClr val="FF0000"/>
                </a:solidFill>
                <a:latin typeface="Courier" charset="0"/>
                <a:ea typeface="Courier" charset="0"/>
                <a:cs typeface="Courier" charset="0"/>
                <a:sym typeface="Wingdings" pitchFamily="2" charset="2"/>
              </a:rPr>
              <a:t>Domain Specific ID (16b): Domain Specific ID, the unique ID of the INT Domain.</a:t>
            </a:r>
          </a:p>
          <a:p>
            <a:r>
              <a:rPr lang="en-US" sz="1400" b="1" dirty="0">
                <a:solidFill>
                  <a:srgbClr val="FF0000"/>
                </a:solidFill>
                <a:latin typeface="Courier" charset="0"/>
                <a:ea typeface="Courier" charset="0"/>
                <a:cs typeface="Courier" charset="0"/>
                <a:sym typeface="Wingdings" pitchFamily="2" charset="2"/>
              </a:rPr>
              <a:t>DS Flags (16b): Flags relevant to the INT domain identified by the Domain Specific ID.</a:t>
            </a:r>
          </a:p>
          <a:p>
            <a:r>
              <a:rPr lang="en-US" sz="1400" b="1" dirty="0">
                <a:solidFill>
                  <a:srgbClr val="FF0000"/>
                </a:solidFill>
                <a:latin typeface="Courier" charset="0"/>
                <a:ea typeface="Courier" charset="0"/>
                <a:cs typeface="Courier" charset="0"/>
                <a:sym typeface="Wingdings" pitchFamily="2" charset="2"/>
              </a:rPr>
              <a:t>DS Instruction (16b): Instruction bit map specific to the INT domain identified by the Domain Specific ID.</a:t>
            </a:r>
          </a:p>
          <a:p>
            <a:pPr marL="1587" indent="0">
              <a:buNone/>
            </a:pPr>
            <a:r>
              <a:rPr lang="en-US" sz="1400" dirty="0">
                <a:latin typeface="Courier" charset="0"/>
                <a:ea typeface="Courier" charset="0"/>
                <a:cs typeface="Courier" charset="0"/>
              </a:rPr>
              <a:t>Domain Specific INT instructions are encoded as a bitmap in the 16­ bit DS Instruction field: each bit corresponds to a specific domain specific metadata.</a:t>
            </a:r>
          </a:p>
          <a:p>
            <a:pPr marL="1587" indent="0">
              <a:buNone/>
            </a:pPr>
            <a:endParaRPr lang="en-US" sz="1400" dirty="0">
              <a:latin typeface="Courier" charset="0"/>
              <a:ea typeface="Courier" charset="0"/>
              <a:cs typeface="Courier" charset="0"/>
            </a:endParaRPr>
          </a:p>
          <a:p>
            <a:pPr marL="371475" lvl="1" indent="-171450">
              <a:buFont typeface="Arial" charset="0"/>
              <a:buChar char="•"/>
            </a:pPr>
            <a:r>
              <a:rPr lang="en-US" sz="1400" dirty="0">
                <a:latin typeface="Courier" charset="0"/>
                <a:ea typeface="Courier" charset="0"/>
                <a:cs typeface="Courier" charset="0"/>
              </a:rPr>
              <a:t>bit0 (MSB): Aggregated Metadata</a:t>
            </a:r>
          </a:p>
          <a:p>
            <a:pPr marL="371475" lvl="1" indent="-171450">
              <a:buFont typeface="Arial" charset="0"/>
              <a:buChar char="•"/>
            </a:pPr>
            <a:r>
              <a:rPr lang="en-US" sz="1400" dirty="0">
                <a:latin typeface="Courier" charset="0"/>
                <a:ea typeface="Courier" charset="0"/>
                <a:cs typeface="Courier" charset="0"/>
              </a:rPr>
              <a:t>bit1: Threshold Exceeded</a:t>
            </a:r>
          </a:p>
          <a:p>
            <a:pPr marL="371475" lvl="1" indent="-171450">
              <a:buFont typeface="Arial" charset="0"/>
              <a:buChar char="•"/>
            </a:pPr>
            <a:r>
              <a:rPr lang="en-US" sz="1400" dirty="0">
                <a:latin typeface="Courier" charset="0"/>
                <a:ea typeface="Courier" charset="0"/>
                <a:cs typeface="Courier" charset="0"/>
              </a:rPr>
              <a:t>The remaining bits are reserved</a:t>
            </a:r>
          </a:p>
          <a:p>
            <a:endParaRPr lang="en-US" sz="1400" dirty="0">
              <a:latin typeface="Courier" charset="0"/>
              <a:ea typeface="Courier" charset="0"/>
              <a:cs typeface="Courier" charset="0"/>
            </a:endParaRPr>
          </a:p>
          <a:p>
            <a:pPr marL="1587" indent="0">
              <a:buNone/>
            </a:pPr>
            <a:endParaRPr lang="en-US" sz="1400" dirty="0">
              <a:latin typeface="Courier" charset="0"/>
              <a:ea typeface="Courier" charset="0"/>
              <a:cs typeface="Courier" charset="0"/>
            </a:endParaRPr>
          </a:p>
        </p:txBody>
      </p:sp>
      <p:sp>
        <p:nvSpPr>
          <p:cNvPr id="7" name="Rectangle 6">
            <a:extLst>
              <a:ext uri="{FF2B5EF4-FFF2-40B4-BE49-F238E27FC236}">
                <a16:creationId xmlns:a16="http://schemas.microsoft.com/office/drawing/2014/main" id="{237823B5-60F8-2347-A28A-B3DDB18AE047}"/>
              </a:ext>
            </a:extLst>
          </p:cNvPr>
          <p:cNvSpPr/>
          <p:nvPr/>
        </p:nvSpPr>
        <p:spPr>
          <a:xfrm>
            <a:off x="5848785" y="1367924"/>
            <a:ext cx="5703492" cy="2970044"/>
          </a:xfrm>
          <a:prstGeom prst="rect">
            <a:avLst/>
          </a:prstGeom>
        </p:spPr>
        <p:txBody>
          <a:bodyPr wrap="square">
            <a:spAutoFit/>
          </a:bodyPr>
          <a:lstStyle/>
          <a:p>
            <a:r>
              <a:rPr lang="en-US" sz="1100" dirty="0">
                <a:latin typeface="Courier" charset="0"/>
                <a:ea typeface="Courier" charset="0"/>
                <a:cs typeface="Courier" charset="0"/>
              </a:rPr>
              <a:t> </a:t>
            </a:r>
          </a:p>
          <a:p>
            <a:r>
              <a:rPr lang="en-US" sz="1100" dirty="0">
                <a:latin typeface="Courier" charset="0"/>
                <a:ea typeface="Courier" charset="0"/>
                <a:cs typeface="Courier" charset="0"/>
              </a:rPr>
              <a:t> 0                   1                   2                   3</a:t>
            </a:r>
          </a:p>
          <a:p>
            <a:r>
              <a:rPr lang="en-US" sz="1100" dirty="0">
                <a:latin typeface="Courier" charset="0"/>
                <a:ea typeface="Courier" charset="0"/>
                <a:cs typeface="Courier" charset="0"/>
              </a:rPr>
              <a:t> 0 1 2 3 4 5 6 7 8 9 0 1 2 3 4 5 6 7 8 9 0 1 2 3 4 5 6 7 8 9 0 1</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Ver = 2|Rep|C|E|M|     Reserved    | Hop ML  |</a:t>
            </a:r>
            <a:r>
              <a:rPr lang="en-US" sz="1100" dirty="0" err="1">
                <a:latin typeface="Courier" charset="0"/>
                <a:ea typeface="Courier" charset="0"/>
                <a:cs typeface="Courier" charset="0"/>
              </a:rPr>
              <a:t>RemainingHop</a:t>
            </a:r>
            <a:r>
              <a:rPr lang="en-US" sz="1100" dirty="0">
                <a:latin typeface="Courier" charset="0"/>
                <a:ea typeface="Courier" charset="0"/>
                <a:cs typeface="Courier" charset="0"/>
              </a:rPr>
              <a:t> </a:t>
            </a:r>
            <a:r>
              <a:rPr lang="en-US" sz="1100" dirty="0" err="1">
                <a:latin typeface="Courier" charset="0"/>
                <a:ea typeface="Courier" charset="0"/>
                <a:cs typeface="Courier" charset="0"/>
              </a:rPr>
              <a:t>Cnt</a:t>
            </a:r>
            <a:r>
              <a:rPr lang="en-US" sz="1100" dirty="0">
                <a:latin typeface="Courier" charset="0"/>
                <a:ea typeface="Courier" charset="0"/>
                <a:cs typeface="Courier" charset="0"/>
              </a:rPr>
              <a:t> |</a:t>
            </a:r>
          </a:p>
          <a:p>
            <a:r>
              <a:rPr lang="en-US" sz="1100" dirty="0">
                <a:latin typeface="Courier" charset="0"/>
                <a:ea typeface="Courier" charset="0"/>
                <a:cs typeface="Courier" charset="0"/>
              </a:rPr>
              <a:t>​+-+-+-+-+-+-+-+-+-+-+-+-+-+-+-+-+-+-+-+-+-+-+-+-+-+-+-+-+-+-+-+-+ </a:t>
            </a:r>
          </a:p>
          <a:p>
            <a:r>
              <a:rPr lang="en-US" sz="1100" dirty="0">
                <a:latin typeface="Courier" charset="0"/>
                <a:ea typeface="Courier" charset="0"/>
                <a:cs typeface="Courier" charset="0"/>
              </a:rPr>
              <a:t>|      Instruction Bitmap       |     </a:t>
            </a:r>
            <a:r>
              <a:rPr lang="en-US" sz="1100" b="1" dirty="0">
                <a:solidFill>
                  <a:srgbClr val="FF0000"/>
                </a:solidFill>
                <a:latin typeface="Courier" charset="0"/>
                <a:ea typeface="Courier" charset="0"/>
                <a:cs typeface="Courier" charset="0"/>
              </a:rPr>
              <a:t>Domain Specific ID        </a:t>
            </a:r>
            <a:r>
              <a:rPr lang="en-US" sz="1100" dirty="0">
                <a:solidFill>
                  <a:srgbClr val="FF0000"/>
                </a:solidFill>
                <a:latin typeface="Courier" charset="0"/>
                <a:ea typeface="Courier" charset="0"/>
                <a:cs typeface="Courier" charset="0"/>
              </a:rPr>
              <a:t>|</a:t>
            </a:r>
          </a:p>
          <a:p>
            <a:r>
              <a:rPr lang="en-US" sz="1100" dirty="0">
                <a:latin typeface="Courier" charset="0"/>
                <a:ea typeface="Courier" charset="0"/>
                <a:cs typeface="Courier" charset="0"/>
              </a:rPr>
              <a:t>+-+-+-+-+-+-+-+-+-+-+-+-+-+-+-+-+-+-+-+-+-+-+-+-+-+-+-+-+-+-+-+-+</a:t>
            </a:r>
            <a:r>
              <a:rPr lang="en-US" sz="1100" dirty="0">
                <a:solidFill>
                  <a:srgbClr val="FF0000"/>
                </a:solidFill>
                <a:latin typeface="Courier" charset="0"/>
                <a:ea typeface="Courier" charset="0"/>
                <a:cs typeface="Courier" charset="0"/>
              </a:rPr>
              <a:t> </a:t>
            </a:r>
          </a:p>
          <a:p>
            <a:r>
              <a:rPr lang="en-US" sz="1100" b="1" dirty="0">
                <a:latin typeface="Courier" charset="0"/>
                <a:ea typeface="Courier" charset="0"/>
                <a:cs typeface="Courier" charset="0"/>
              </a:rPr>
              <a:t>|</a:t>
            </a:r>
            <a:r>
              <a:rPr lang="en-US" sz="1100" b="1" dirty="0">
                <a:solidFill>
                  <a:srgbClr val="FF0000"/>
                </a:solidFill>
                <a:latin typeface="Courier" charset="0"/>
                <a:ea typeface="Courier" charset="0"/>
                <a:cs typeface="Courier" charset="0"/>
              </a:rPr>
              <a:t>            DS Instruction     |            DS Flags           </a:t>
            </a:r>
            <a:r>
              <a:rPr lang="en-US" sz="1100" dirty="0">
                <a:latin typeface="Courier" charset="0"/>
                <a:ea typeface="Courier" charset="0"/>
                <a:cs typeface="Courier" charset="0"/>
              </a:rPr>
              <a:t>|</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INT Metadata Stack (</a:t>
            </a:r>
            <a:r>
              <a:rPr lang="en-US" sz="1100" b="1" dirty="0">
                <a:latin typeface="Courier" charset="0"/>
                <a:ea typeface="Courier" charset="0"/>
                <a:cs typeface="Courier" charset="0"/>
              </a:rPr>
              <a:t>Each hop inserts HOP ML * 4B of metadata</a:t>
            </a:r>
            <a:r>
              <a:rPr lang="en-US" sz="1100" dirty="0">
                <a:latin typeface="Courier" charset="0"/>
                <a:ea typeface="Courier" charset="0"/>
                <a:cs typeface="Courier" charset="0"/>
              </a:rPr>
              <a:t>) |</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 . .                            |</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Last INT Metadata                        |</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a:t>
            </a:r>
          </a:p>
        </p:txBody>
      </p:sp>
      <p:sp>
        <p:nvSpPr>
          <p:cNvPr id="8" name="Oval 7">
            <a:extLst>
              <a:ext uri="{FF2B5EF4-FFF2-40B4-BE49-F238E27FC236}">
                <a16:creationId xmlns:a16="http://schemas.microsoft.com/office/drawing/2014/main" id="{0EAD1BCD-2EBF-4443-A8B6-D8333ED659A5}"/>
              </a:ext>
            </a:extLst>
          </p:cNvPr>
          <p:cNvSpPr/>
          <p:nvPr/>
        </p:nvSpPr>
        <p:spPr>
          <a:xfrm>
            <a:off x="8564661" y="2301904"/>
            <a:ext cx="3037483" cy="426720"/>
          </a:xfrm>
          <a:prstGeom prst="ellipse">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03340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latin typeface="Courier" charset="0"/>
                <a:ea typeface="Courier" charset="0"/>
                <a:cs typeface="Courier" charset="0"/>
              </a:rPr>
              <a:t>INT Instruction Handling</a:t>
            </a:r>
            <a:endParaRPr lang="en-US" sz="3600" dirty="0"/>
          </a:p>
        </p:txBody>
      </p:sp>
      <p:sp>
        <p:nvSpPr>
          <p:cNvPr id="6" name="Content Placeholder 4"/>
          <p:cNvSpPr txBox="1">
            <a:spLocks/>
          </p:cNvSpPr>
          <p:nvPr/>
        </p:nvSpPr>
        <p:spPr bwMode="auto">
          <a:xfrm>
            <a:off x="470567" y="1312505"/>
            <a:ext cx="10146632" cy="26233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187325" indent="-185738" algn="l" rtl="0" eaLnBrk="0" fontAlgn="base" hangingPunct="0">
              <a:lnSpc>
                <a:spcPct val="90000"/>
              </a:lnSpc>
              <a:spcBef>
                <a:spcPts val="1200"/>
              </a:spcBef>
              <a:spcAft>
                <a:spcPct val="0"/>
              </a:spcAft>
              <a:buSzPct val="80000"/>
              <a:buFont typeface="Arial" panose="020B0604020202020204" pitchFamily="34" charset="0"/>
              <a:buChar char="•"/>
              <a:defRPr>
                <a:solidFill>
                  <a:schemeClr val="tx1"/>
                </a:solidFill>
                <a:latin typeface="+mn-lt"/>
                <a:ea typeface="+mn-ea"/>
                <a:cs typeface="+mn-cs"/>
                <a:sym typeface="Arial" panose="020B0604020202020204" pitchFamily="34" charset="0"/>
              </a:defRPr>
            </a:lvl1pPr>
            <a:lvl2pPr marL="385763" indent="-193675" algn="l" rtl="0" eaLnBrk="0" fontAlgn="base" hangingPunct="0">
              <a:lnSpc>
                <a:spcPct val="90000"/>
              </a:lnSpc>
              <a:spcBef>
                <a:spcPts val="400"/>
              </a:spcBef>
              <a:spcAft>
                <a:spcPct val="0"/>
              </a:spcAft>
              <a:buSzPct val="80000"/>
              <a:buFont typeface="Arial" panose="020B0604020202020204" pitchFamily="34" charset="0"/>
              <a:buChar char="•"/>
              <a:defRPr sz="1600">
                <a:solidFill>
                  <a:schemeClr val="tx1"/>
                </a:solidFill>
                <a:latin typeface="+mn-lt"/>
                <a:ea typeface="+mn-ea"/>
                <a:cs typeface="+mn-cs"/>
                <a:sym typeface="Arial" panose="020B0604020202020204" pitchFamily="34" charset="0"/>
              </a:defRPr>
            </a:lvl2pPr>
            <a:lvl3pPr marL="54610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3pPr>
            <a:lvl4pPr marL="704850" indent="-158750" algn="l" rtl="0" eaLnBrk="0" fontAlgn="base" hangingPunct="0">
              <a:lnSpc>
                <a:spcPct val="90000"/>
              </a:lnSpc>
              <a:spcBef>
                <a:spcPts val="200"/>
              </a:spcBef>
              <a:spcAft>
                <a:spcPct val="0"/>
              </a:spcAft>
              <a:buSzPct val="80000"/>
              <a:buFont typeface="Arial" panose="020B0604020202020204" pitchFamily="34" charset="0"/>
              <a:buChar char="•"/>
              <a:defRPr sz="1400">
                <a:solidFill>
                  <a:schemeClr val="tx1"/>
                </a:solidFill>
                <a:latin typeface="+mn-lt"/>
                <a:ea typeface="+mn-ea"/>
                <a:cs typeface="+mn-cs"/>
                <a:sym typeface="Arial" panose="020B0604020202020204" pitchFamily="34" charset="0"/>
              </a:defRPr>
            </a:lvl4pPr>
            <a:lvl5pPr marL="773113" indent="-66675"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anose="020B0604020202020204"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a:buFont typeface="Wingdings" charset="2"/>
              <a:buChar char="Ø"/>
            </a:pPr>
            <a:r>
              <a:rPr lang="en-US" sz="1400" dirty="0">
                <a:latin typeface="Courier" charset="0"/>
                <a:ea typeface="Courier" charset="0"/>
                <a:cs typeface="Courier" charset="0"/>
              </a:rPr>
              <a:t>Each INT Transit device adds its own metadata values as specified in Instruction Bitmap. If the Domain Specific ID doesn’t match any of its configured Domains Specific ID(s), then ignore the Domain Specific Instructions.</a:t>
            </a:r>
          </a:p>
          <a:p>
            <a:pPr>
              <a:buFont typeface="Wingdings" charset="2"/>
              <a:buChar char="Ø"/>
            </a:pPr>
            <a:endParaRPr lang="en-US" sz="1400" dirty="0">
              <a:latin typeface="Courier" charset="0"/>
              <a:ea typeface="Courier" charset="0"/>
              <a:cs typeface="Courier" charset="0"/>
            </a:endParaRPr>
          </a:p>
          <a:p>
            <a:pPr lvl="1">
              <a:buFont typeface="Wingdings" charset="2"/>
              <a:buChar char="q"/>
            </a:pPr>
            <a:r>
              <a:rPr lang="en-US" sz="1400" dirty="0">
                <a:latin typeface="Courier" charset="0"/>
                <a:ea typeface="Courier" charset="0"/>
                <a:cs typeface="Courier" charset="0"/>
              </a:rPr>
              <a:t>Each instruction metadata is 4 bytes.</a:t>
            </a:r>
          </a:p>
          <a:p>
            <a:pPr lvl="1">
              <a:buFont typeface="Wingdings" charset="2"/>
              <a:buChar char="q"/>
            </a:pPr>
            <a:r>
              <a:rPr lang="en-US" sz="1400" dirty="0">
                <a:latin typeface="Courier" charset="0"/>
                <a:ea typeface="Courier" charset="0"/>
                <a:cs typeface="Courier" charset="0"/>
              </a:rPr>
              <a:t>Metadata size  = Instruction Count * 4 bytes.</a:t>
            </a:r>
          </a:p>
          <a:p>
            <a:pPr lvl="1">
              <a:buFont typeface="Wingdings" charset="2"/>
              <a:buChar char="q"/>
            </a:pPr>
            <a:r>
              <a:rPr lang="en-US" sz="1400" dirty="0">
                <a:latin typeface="Courier" charset="0"/>
                <a:ea typeface="Courier" charset="0"/>
                <a:cs typeface="Courier" charset="0"/>
              </a:rPr>
              <a:t>Metadata prepended at the top of the Metadata Stack.</a:t>
            </a:r>
          </a:p>
          <a:p>
            <a:pPr lvl="1">
              <a:buFont typeface="Wingdings" charset="2"/>
              <a:buChar char="q"/>
            </a:pPr>
            <a:r>
              <a:rPr lang="en-US" sz="1400" dirty="0">
                <a:latin typeface="Courier" charset="0"/>
                <a:ea typeface="Courier" charset="0"/>
                <a:cs typeface="Courier" charset="0"/>
              </a:rPr>
              <a:t>If unable to provide metadata specified in instruction bitmap, indicate  invalid metadata (reserved value 0xFFFF_FFFF).</a:t>
            </a:r>
          </a:p>
          <a:p>
            <a:pPr lvl="1">
              <a:buFont typeface="Wingdings" charset="2"/>
              <a:buChar char="q"/>
            </a:pPr>
            <a:r>
              <a:rPr lang="en-US" sz="1400" dirty="0">
                <a:latin typeface="Courier" charset="0"/>
                <a:ea typeface="Courier" charset="0"/>
                <a:cs typeface="Courier" charset="0"/>
              </a:rPr>
              <a:t>If Metadata size cannot be prepended, skip INT handling.</a:t>
            </a:r>
          </a:p>
          <a:p>
            <a:pPr>
              <a:buFont typeface="Wingdings" charset="2"/>
              <a:buChar char="Ø"/>
            </a:pPr>
            <a:endParaRPr lang="en-US" sz="1400" dirty="0">
              <a:latin typeface="Courier" charset="0"/>
              <a:ea typeface="Courier" charset="0"/>
              <a:cs typeface="Courier" charset="0"/>
            </a:endParaRPr>
          </a:p>
          <a:p>
            <a:pPr>
              <a:buFont typeface="Wingdings" charset="2"/>
              <a:buChar char="Ø"/>
            </a:pPr>
            <a:endParaRPr lang="en-US" sz="1400" dirty="0">
              <a:latin typeface="Courier" charset="0"/>
              <a:ea typeface="Courier" charset="0"/>
              <a:cs typeface="Courier" charset="0"/>
            </a:endParaRPr>
          </a:p>
        </p:txBody>
      </p:sp>
      <p:sp>
        <p:nvSpPr>
          <p:cNvPr id="4" name="Rectangle 3"/>
          <p:cNvSpPr/>
          <p:nvPr/>
        </p:nvSpPr>
        <p:spPr>
          <a:xfrm>
            <a:off x="1440206" y="3935896"/>
            <a:ext cx="5712948" cy="2970044"/>
          </a:xfrm>
          <a:prstGeom prst="rect">
            <a:avLst/>
          </a:prstGeom>
        </p:spPr>
        <p:txBody>
          <a:bodyPr wrap="square">
            <a:spAutoFit/>
          </a:bodyPr>
          <a:lstStyle/>
          <a:p>
            <a:r>
              <a:rPr lang="en-US" sz="1100" dirty="0">
                <a:latin typeface="Courier" charset="0"/>
                <a:ea typeface="Courier" charset="0"/>
                <a:cs typeface="Courier" charset="0"/>
              </a:rPr>
              <a:t> </a:t>
            </a:r>
          </a:p>
          <a:p>
            <a:r>
              <a:rPr lang="en-US" sz="1100" dirty="0">
                <a:latin typeface="Courier" charset="0"/>
                <a:ea typeface="Courier" charset="0"/>
                <a:cs typeface="Courier" charset="0"/>
              </a:rPr>
              <a:t> 0                   1                   2                   3</a:t>
            </a:r>
          </a:p>
          <a:p>
            <a:r>
              <a:rPr lang="en-US" sz="1100" dirty="0">
                <a:latin typeface="Courier" charset="0"/>
                <a:ea typeface="Courier" charset="0"/>
                <a:cs typeface="Courier" charset="0"/>
              </a:rPr>
              <a:t> 0 1 2 3 4 5 6 7 8 9 0 1 2 3 4 5 6 7 8 9 0 1 2 3 4 5 6 7 8 9 0 1</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Ver  |</a:t>
            </a:r>
            <a:r>
              <a:rPr lang="en-US" sz="1100" dirty="0" err="1">
                <a:latin typeface="Courier" charset="0"/>
                <a:ea typeface="Courier" charset="0"/>
                <a:cs typeface="Courier" charset="0"/>
              </a:rPr>
              <a:t>Rep|C|E|M</a:t>
            </a:r>
            <a:r>
              <a:rPr lang="en-US" sz="1100" dirty="0">
                <a:latin typeface="Courier" charset="0"/>
                <a:ea typeface="Courier" charset="0"/>
                <a:cs typeface="Courier" charset="0"/>
              </a:rPr>
              <a:t>|      Reserved   | Hop ML  |</a:t>
            </a:r>
            <a:r>
              <a:rPr lang="en-US" sz="1100" dirty="0" err="1">
                <a:latin typeface="Courier" charset="0"/>
                <a:ea typeface="Courier" charset="0"/>
                <a:cs typeface="Courier" charset="0"/>
              </a:rPr>
              <a:t>RemainingHop</a:t>
            </a:r>
            <a:r>
              <a:rPr lang="en-US" sz="1100" dirty="0">
                <a:latin typeface="Courier" charset="0"/>
                <a:ea typeface="Courier" charset="0"/>
                <a:cs typeface="Courier" charset="0"/>
              </a:rPr>
              <a:t> </a:t>
            </a:r>
            <a:r>
              <a:rPr lang="en-US" sz="1100" dirty="0" err="1">
                <a:latin typeface="Courier" charset="0"/>
                <a:ea typeface="Courier" charset="0"/>
                <a:cs typeface="Courier" charset="0"/>
              </a:rPr>
              <a:t>Cnt</a:t>
            </a:r>
            <a:r>
              <a:rPr lang="en-US" sz="1100" dirty="0">
                <a:latin typeface="Courier" charset="0"/>
                <a:ea typeface="Courier" charset="0"/>
                <a:cs typeface="Courier" charset="0"/>
              </a:rPr>
              <a:t> |</a:t>
            </a:r>
          </a:p>
          <a:p>
            <a:r>
              <a:rPr lang="en-US" sz="1100" dirty="0">
                <a:latin typeface="Courier" charset="0"/>
                <a:ea typeface="Courier" charset="0"/>
                <a:cs typeface="Courier" charset="0"/>
              </a:rPr>
              <a:t>​+-+-+-+-+-+-+-+-+-+-+-+-+-+-+-+-+-+-+-+-+-+-+-+-+-+-+-+-+-+-+-+-+ </a:t>
            </a:r>
          </a:p>
          <a:p>
            <a:r>
              <a:rPr lang="en-US" sz="1100" dirty="0">
                <a:latin typeface="Courier" charset="0"/>
                <a:ea typeface="Courier" charset="0"/>
                <a:cs typeface="Courier" charset="0"/>
              </a:rPr>
              <a:t>|      Instruction Bitmap       |     Domain Specific ID        |</a:t>
            </a:r>
          </a:p>
          <a:p>
            <a:r>
              <a:rPr lang="en-US" sz="1100" dirty="0">
                <a:latin typeface="Courier" charset="0"/>
                <a:ea typeface="Courier" charset="0"/>
                <a:cs typeface="Courier" charset="0"/>
              </a:rPr>
              <a:t>+-+-+-+-+-+-+-+-+-+-+-+-+-+-+-+-+-+-+-+-+-+-+-+-+-+-+-+-+-+-+-+-+ </a:t>
            </a:r>
          </a:p>
          <a:p>
            <a:r>
              <a:rPr lang="en-US" sz="1100" dirty="0">
                <a:latin typeface="Courier" charset="0"/>
                <a:ea typeface="Courier" charset="0"/>
                <a:cs typeface="Courier" charset="0"/>
              </a:rPr>
              <a:t>|            DS Instruction     |            DS Flags       </a:t>
            </a:r>
            <a:r>
              <a:rPr lang="en-US" sz="1100" b="1" dirty="0">
                <a:latin typeface="Courier" charset="0"/>
                <a:ea typeface="Courier" charset="0"/>
                <a:cs typeface="Courier" charset="0"/>
              </a:rPr>
              <a:t>    </a:t>
            </a:r>
            <a:r>
              <a:rPr lang="en-US" sz="1100" dirty="0">
                <a:latin typeface="Courier" charset="0"/>
                <a:ea typeface="Courier" charset="0"/>
                <a:cs typeface="Courier" charset="0"/>
              </a:rPr>
              <a:t>|</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INT Metadata Stack (Each hop inserts HOP ML * 4B of metadata) |</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 . .                            |</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Last INT Metadata                        |</a:t>
            </a:r>
          </a:p>
          <a:p>
            <a:r>
              <a:rPr lang="en-US" sz="1100" dirty="0">
                <a:latin typeface="Courier" charset="0"/>
                <a:ea typeface="Courier" charset="0"/>
                <a:cs typeface="Courier" charset="0"/>
              </a:rPr>
              <a:t>+-+-+-+-+-+-+-+-+-+-+-+-+-+-+-+-+-+-+-+-+-+-+-+-+-+-+-+-+-+-+-+-+</a:t>
            </a:r>
          </a:p>
          <a:p>
            <a:r>
              <a:rPr lang="en-US" sz="1100" dirty="0">
                <a:latin typeface="Courier" charset="0"/>
                <a:ea typeface="Courier" charset="0"/>
                <a:cs typeface="Courier" charset="0"/>
              </a:rPr>
              <a:t> </a:t>
            </a:r>
          </a:p>
        </p:txBody>
      </p:sp>
    </p:spTree>
    <p:extLst>
      <p:ext uri="{BB962C8B-B14F-4D97-AF65-F5344CB8AC3E}">
        <p14:creationId xmlns:p14="http://schemas.microsoft.com/office/powerpoint/2010/main" val="1828898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5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lue theme 2015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CPDM_Commit Decks_FY15_Q2">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_CPDM_Commit Decks_FY15_Q2">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Blue theme 2014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2_Blue theme 2015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Blue theme 2016 16x9">
  <a:themeElements>
    <a:clrScheme name="Blue Theme 2016 Colors">
      <a:dk1>
        <a:srgbClr val="58585B"/>
      </a:dk1>
      <a:lt1>
        <a:srgbClr val="FFFFFF"/>
      </a:lt1>
      <a:dk2>
        <a:srgbClr val="58585B"/>
      </a:dk2>
      <a:lt2>
        <a:srgbClr val="049FD9"/>
      </a:lt2>
      <a:accent1>
        <a:srgbClr val="004BAF"/>
      </a:accent1>
      <a:accent2>
        <a:srgbClr val="64BBE3"/>
      </a:accent2>
      <a:accent3>
        <a:srgbClr val="E8EBF1"/>
      </a:accent3>
      <a:accent4>
        <a:srgbClr val="9E9EA2"/>
      </a:accent4>
      <a:accent5>
        <a:srgbClr val="049FD9"/>
      </a:accent5>
      <a:accent6>
        <a:srgbClr val="ABC233"/>
      </a:accent6>
      <a:hlink>
        <a:srgbClr val="049FD9"/>
      </a:hlink>
      <a:folHlink>
        <a:srgbClr val="004B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DC503DE1-91F3-4E06-9D47-79C2309E909B}" vid="{C266BCD2-BF24-49DE-B4C0-2E591CE22960}"/>
    </a:ext>
  </a:extLst>
</a:theme>
</file>

<file path=ppt/theme/theme8.xml><?xml version="1.0" encoding="utf-8"?>
<a:theme xmlns:a="http://schemas.openxmlformats.org/drawingml/2006/main" name="3_Blue theme 2015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Latest PPT Template - palette to match Digital Color_Updated">
  <a:themeElements>
    <a:clrScheme name="Blue Theme 2016 Updated">
      <a:dk1>
        <a:srgbClr val="39393B"/>
      </a:dk1>
      <a:lt1>
        <a:srgbClr val="FFFFFF"/>
      </a:lt1>
      <a:dk2>
        <a:srgbClr val="555558"/>
      </a:dk2>
      <a:lt2>
        <a:srgbClr val="049CD4"/>
      </a:lt2>
      <a:accent1>
        <a:srgbClr val="014093"/>
      </a:accent1>
      <a:accent2>
        <a:srgbClr val="0498D1"/>
      </a:accent2>
      <a:accent3>
        <a:srgbClr val="CACCD2"/>
      </a:accent3>
      <a:accent4>
        <a:srgbClr val="ABC333"/>
      </a:accent4>
      <a:accent5>
        <a:srgbClr val="64BAE2"/>
      </a:accent5>
      <a:accent6>
        <a:srgbClr val="0B6B75"/>
      </a:accent6>
      <a:hlink>
        <a:srgbClr val="049BD3"/>
      </a:hlink>
      <a:folHlink>
        <a:srgbClr val="01449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DC503DE1-91F3-4E06-9D47-79C2309E909B}" vid="{C266BCD2-BF24-49DE-B4C0-2E591CE22960}"/>
    </a:ext>
  </a:extLst>
</a:theme>
</file>

<file path=docProps/app.xml><?xml version="1.0" encoding="utf-8"?>
<Properties xmlns="http://schemas.openxmlformats.org/officeDocument/2006/extended-properties" xmlns:vt="http://schemas.openxmlformats.org/officeDocument/2006/docPropsVTypes">
  <Template>Blue theme 2015 16x9</Template>
  <TotalTime>396677</TotalTime>
  <Words>3161</Words>
  <Application>Microsoft Macintosh PowerPoint</Application>
  <PresentationFormat>Widescreen</PresentationFormat>
  <Paragraphs>577</Paragraphs>
  <Slides>31</Slides>
  <Notes>10</Notes>
  <HiddenSlides>0</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31</vt:i4>
      </vt:variant>
    </vt:vector>
  </HeadingPairs>
  <TitlesOfParts>
    <vt:vector size="51" baseType="lpstr">
      <vt:lpstr>Arial</vt:lpstr>
      <vt:lpstr>Calibri</vt:lpstr>
      <vt:lpstr>Ciscolight</vt:lpstr>
      <vt:lpstr>CiscoSans</vt:lpstr>
      <vt:lpstr>CiscoSans ExtraLight</vt:lpstr>
      <vt:lpstr>CiscoSans Thin</vt:lpstr>
      <vt:lpstr>Courier</vt:lpstr>
      <vt:lpstr>Franklin Gothic Book</vt:lpstr>
      <vt:lpstr>Times New Roman</vt:lpstr>
      <vt:lpstr>Wingdings</vt:lpstr>
      <vt:lpstr>Blue theme 2015 16x9</vt:lpstr>
      <vt:lpstr>1_Blue theme 2015 16x9</vt:lpstr>
      <vt:lpstr>CPDM_Commit Decks_FY15_Q2</vt:lpstr>
      <vt:lpstr>1_CPDM_Commit Decks_FY15_Q2</vt:lpstr>
      <vt:lpstr>Blue theme 2014 16x9</vt:lpstr>
      <vt:lpstr>2_Blue theme 2015 16x9</vt:lpstr>
      <vt:lpstr>Blue theme 2016 16x9</vt:lpstr>
      <vt:lpstr>3_Blue theme 2015 16x9</vt:lpstr>
      <vt:lpstr>Latest PPT Template - palette to match Digital Color_Updated</vt:lpstr>
      <vt:lpstr>think-cell Slide</vt:lpstr>
      <vt:lpstr>Inband Network Telemetry (INT) Version 2.0</vt:lpstr>
      <vt:lpstr>INT Ver 2.0 Functionality</vt:lpstr>
      <vt:lpstr>INT Header Types</vt:lpstr>
      <vt:lpstr>INT-MD Functionality</vt:lpstr>
      <vt:lpstr>INT-MD Metadata Header and Metadata Stack Version 2.0</vt:lpstr>
      <vt:lpstr>INT Metadata Header (Ver 2.0)</vt:lpstr>
      <vt:lpstr>INT Metadata Header – Instruction Bitmap</vt:lpstr>
      <vt:lpstr>INT Metadata Header – Instruction Bitmap</vt:lpstr>
      <vt:lpstr>INT Instruction Handling</vt:lpstr>
      <vt:lpstr>INT Domain Specific Instruction Handling</vt:lpstr>
      <vt:lpstr>INT-MX Functionality</vt:lpstr>
      <vt:lpstr>INT-MX Metadata Header</vt:lpstr>
      <vt:lpstr>INT-MX Metadata Header</vt:lpstr>
      <vt:lpstr>INT-MX Metadata Header – Instruction Bitmap</vt:lpstr>
      <vt:lpstr>INT-MX Metadata Header – Instruction Bitmap</vt:lpstr>
      <vt:lpstr>INT Transport Options - INT in IPv4 (GRE)</vt:lpstr>
      <vt:lpstr>INT in IPv4 (GRE)</vt:lpstr>
      <vt:lpstr>INT in IPv4 (GRE)</vt:lpstr>
      <vt:lpstr>INT in IPv4 (GRE) – Delivery Header</vt:lpstr>
      <vt:lpstr>INT in IPv4 (GRE) – GRE Header</vt:lpstr>
      <vt:lpstr>INT- MD (Ver 2.0) in IPv4 (GRE)</vt:lpstr>
      <vt:lpstr>INT- MX (Ver 2.0) in IPv4 (GRE)</vt:lpstr>
      <vt:lpstr>INT - Telemetry Report Export</vt:lpstr>
      <vt:lpstr>Telemetry Report</vt:lpstr>
      <vt:lpstr>Telemetry Report – INT-MD Mode</vt:lpstr>
      <vt:lpstr>Telemetry Report – INT-MX Mode</vt:lpstr>
      <vt:lpstr>Transport of Telemetry Reports</vt:lpstr>
      <vt:lpstr>Telemetry Report Header – Ver 2.0</vt:lpstr>
      <vt:lpstr>Telemetry Report Header – Ver 2.0 (contd.)</vt:lpstr>
      <vt:lpstr>Correlation of Telemetry Report</vt:lpstr>
      <vt:lpstr>PowerPoint Presentation</vt:lpstr>
    </vt:vector>
  </TitlesOfParts>
  <Company>Cisco System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xander Langlais -X (alanglai - BASIC SOLUTIONS CORP at Cisco)</dc:creator>
  <cp:lastModifiedBy>Ramesh Sivakolundu (sramesh)</cp:lastModifiedBy>
  <cp:revision>1386</cp:revision>
  <cp:lastPrinted>2018-08-21T19:25:03Z</cp:lastPrinted>
  <dcterms:created xsi:type="dcterms:W3CDTF">2015-06-24T14:05:50Z</dcterms:created>
  <dcterms:modified xsi:type="dcterms:W3CDTF">2019-10-22T20:3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sync_UpdateToken">
    <vt:lpwstr>1</vt:lpwstr>
  </property>
  <property fmtid="{D5CDD505-2E9C-101B-9397-08002B2CF9AE}" pid="3" name="Offisync_ProviderInitializationData">
    <vt:lpwstr>https://cisco.jiveon.com</vt:lpwstr>
  </property>
  <property fmtid="{D5CDD505-2E9C-101B-9397-08002B2CF9AE}" pid="4" name="Offisync_ServerID">
    <vt:lpwstr>07841bbc-cd3c-4a76-827f-75a2226890f4</vt:lpwstr>
  </property>
  <property fmtid="{D5CDD505-2E9C-101B-9397-08002B2CF9AE}" pid="5" name="Jive_VersionGuid">
    <vt:lpwstr>538d1985-e191-4928-a363-d4aeec42c7d7</vt:lpwstr>
  </property>
  <property fmtid="{D5CDD505-2E9C-101B-9397-08002B2CF9AE}" pid="6" name="Offisync_UniqueId">
    <vt:lpwstr>1516009</vt:lpwstr>
  </property>
  <property fmtid="{D5CDD505-2E9C-101B-9397-08002B2CF9AE}" pid="7" name="Jive_LatestUserAccountName">
    <vt:lpwstr>vviswesw</vt:lpwstr>
  </property>
</Properties>
</file>